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1.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88" r:id="rId4"/>
    <p:sldMasterId id="2147483714" r:id="rId5"/>
  </p:sldMasterIdLst>
  <p:notesMasterIdLst>
    <p:notesMasterId r:id="rId30"/>
  </p:notesMasterIdLst>
  <p:sldIdLst>
    <p:sldId id="265" r:id="rId6"/>
    <p:sldId id="256" r:id="rId7"/>
    <p:sldId id="294" r:id="rId8"/>
    <p:sldId id="295" r:id="rId9"/>
    <p:sldId id="296" r:id="rId10"/>
    <p:sldId id="297" r:id="rId11"/>
    <p:sldId id="263" r:id="rId12"/>
    <p:sldId id="266" r:id="rId13"/>
    <p:sldId id="285" r:id="rId14"/>
    <p:sldId id="267" r:id="rId15"/>
    <p:sldId id="288" r:id="rId16"/>
    <p:sldId id="268" r:id="rId17"/>
    <p:sldId id="289" r:id="rId18"/>
    <p:sldId id="293" r:id="rId19"/>
    <p:sldId id="264" r:id="rId20"/>
    <p:sldId id="271" r:id="rId21"/>
    <p:sldId id="272" r:id="rId22"/>
    <p:sldId id="276" r:id="rId23"/>
    <p:sldId id="277" r:id="rId24"/>
    <p:sldId id="273" r:id="rId25"/>
    <p:sldId id="274" r:id="rId26"/>
    <p:sldId id="275" r:id="rId27"/>
    <p:sldId id="292" r:id="rId28"/>
    <p:sldId id="298"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 the history of visualisation (5 mins)" id="{9C14BBD0-BF04-4E0C-AF15-A65CF0933FFA}">
          <p14:sldIdLst>
            <p14:sldId id="265"/>
            <p14:sldId id="256"/>
            <p14:sldId id="294"/>
            <p14:sldId id="295"/>
            <p14:sldId id="296"/>
            <p14:sldId id="297"/>
          </p14:sldIdLst>
        </p14:section>
        <p14:section name="High Level Services - Power BI (10 mins)" id="{FE90251D-04F4-450A-9D43-AA6D36F0A990}">
          <p14:sldIdLst>
            <p14:sldId id="263"/>
          </p14:sldIdLst>
        </p14:section>
        <p14:section name="PowerBI.com (10 mins)" id="{42B354ED-0382-46B9-88C0-358963E82074}">
          <p14:sldIdLst>
            <p14:sldId id="266"/>
            <p14:sldId id="285"/>
          </p14:sldIdLst>
        </p14:section>
        <p14:section name="PowerBI Desktop (10 mins)" id="{312D5DC1-63A9-48A6-8642-6E6EC3BBF30C}">
          <p14:sldIdLst>
            <p14:sldId id="267"/>
            <p14:sldId id="288"/>
          </p14:sldIdLst>
        </p14:section>
        <p14:section name="PowerBI REST APIs: Real Time options (5 mins)" id="{F1760479-55A1-4A8C-81B7-8D649B42D59A}">
          <p14:sldIdLst>
            <p14:sldId id="268"/>
            <p14:sldId id="289"/>
            <p14:sldId id="293"/>
          </p14:sldIdLst>
        </p14:section>
        <p14:section name="PowerBI Embedded (10 mins)" id="{E5BF4A44-F5AA-4CD8-84AC-5E2934F37594}">
          <p14:sldIdLst>
            <p14:sldId id="264"/>
            <p14:sldId id="271"/>
            <p14:sldId id="272"/>
            <p14:sldId id="276"/>
            <p14:sldId id="277"/>
            <p14:sldId id="273"/>
            <p14:sldId id="274"/>
            <p14:sldId id="275"/>
          </p14:sldIdLst>
        </p14:section>
        <p14:section name="Whats Next &amp; Resources (5 mins)" id="{83C4E711-D773-41B6-98EB-D9B3304F8CF6}">
          <p14:sldIdLst>
            <p14:sldId id="292"/>
            <p14:sldId id="29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420" autoAdjust="0"/>
    <p:restoredTop sz="61580" autoAdjust="0"/>
  </p:normalViewPr>
  <p:slideViewPr>
    <p:cSldViewPr snapToGrid="0">
      <p:cViewPr varScale="1">
        <p:scale>
          <a:sx n="62" d="100"/>
          <a:sy n="62" d="100"/>
        </p:scale>
        <p:origin x="832"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818C3F-29EA-4B90-BE94-4941366A15CC}" type="datetimeFigureOut">
              <a:rPr lang="en-GB" smtClean="0"/>
              <a:t>09/11/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0E4FCF-B895-4189-BC99-D67F8E0DE1B8}" type="slidenum">
              <a:rPr lang="en-GB" smtClean="0"/>
              <a:t>‹#›</a:t>
            </a:fld>
            <a:endParaRPr lang="en-GB"/>
          </a:p>
        </p:txBody>
      </p:sp>
    </p:spTree>
    <p:extLst>
      <p:ext uri="{BB962C8B-B14F-4D97-AF65-F5344CB8AC3E}">
        <p14:creationId xmlns:p14="http://schemas.microsoft.com/office/powerpoint/2010/main" val="660078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URCE: https://en.wikipedia.org/wiki/Cave_painting</a:t>
            </a:r>
          </a:p>
        </p:txBody>
      </p:sp>
      <p:sp>
        <p:nvSpPr>
          <p:cNvPr id="4" name="Slide Number Placeholder 3"/>
          <p:cNvSpPr>
            <a:spLocks noGrp="1"/>
          </p:cNvSpPr>
          <p:nvPr>
            <p:ph type="sldNum" sz="quarter" idx="10"/>
          </p:nvPr>
        </p:nvSpPr>
        <p:spPr/>
        <p:txBody>
          <a:bodyPr/>
          <a:lstStyle/>
          <a:p>
            <a:fld id="{3E0E4FCF-B895-4189-BC99-D67F8E0DE1B8}" type="slidenum">
              <a:rPr lang="en-GB" smtClean="0"/>
              <a:t>2</a:t>
            </a:fld>
            <a:endParaRPr lang="en-GB"/>
          </a:p>
        </p:txBody>
      </p:sp>
    </p:spTree>
    <p:extLst>
      <p:ext uri="{BB962C8B-B14F-4D97-AF65-F5344CB8AC3E}">
        <p14:creationId xmlns:p14="http://schemas.microsoft.com/office/powerpoint/2010/main" val="41803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the slide an introduce this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386647E-C23D-4E5B-8C33-F362DBBE7FB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502092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1474104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E0E4FCF-B895-4189-BC99-D67F8E0DE1B8}" type="slidenum">
              <a:rPr lang="en-GB" smtClean="0"/>
              <a:t>24</a:t>
            </a:fld>
            <a:endParaRPr lang="en-GB"/>
          </a:p>
        </p:txBody>
      </p:sp>
    </p:spTree>
    <p:extLst>
      <p:ext uri="{BB962C8B-B14F-4D97-AF65-F5344CB8AC3E}">
        <p14:creationId xmlns:p14="http://schemas.microsoft.com/office/powerpoint/2010/main" val="20219822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URCE:</a:t>
            </a:r>
            <a:r>
              <a:rPr lang="en-GB" baseline="0" dirty="0"/>
              <a:t> </a:t>
            </a:r>
            <a:r>
              <a:rPr lang="en-GB" dirty="0"/>
              <a:t>https://en.wikipedia.org/wiki/William_Playfair </a:t>
            </a:r>
          </a:p>
        </p:txBody>
      </p:sp>
      <p:sp>
        <p:nvSpPr>
          <p:cNvPr id="4" name="Slide Number Placeholder 3"/>
          <p:cNvSpPr>
            <a:spLocks noGrp="1"/>
          </p:cNvSpPr>
          <p:nvPr>
            <p:ph type="sldNum" sz="quarter" idx="10"/>
          </p:nvPr>
        </p:nvSpPr>
        <p:spPr/>
        <p:txBody>
          <a:bodyPr/>
          <a:lstStyle/>
          <a:p>
            <a:fld id="{3E0E4FCF-B895-4189-BC99-D67F8E0DE1B8}" type="slidenum">
              <a:rPr lang="en-GB" smtClean="0"/>
              <a:t>3</a:t>
            </a:fld>
            <a:endParaRPr lang="en-GB"/>
          </a:p>
        </p:txBody>
      </p:sp>
    </p:spTree>
    <p:extLst>
      <p:ext uri="{BB962C8B-B14F-4D97-AF65-F5344CB8AC3E}">
        <p14:creationId xmlns:p14="http://schemas.microsoft.com/office/powerpoint/2010/main" val="1585647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URCE: https://en.wikipedia.org/wiki/Gaussian_function</a:t>
            </a:r>
          </a:p>
        </p:txBody>
      </p:sp>
      <p:sp>
        <p:nvSpPr>
          <p:cNvPr id="4" name="Slide Number Placeholder 3"/>
          <p:cNvSpPr>
            <a:spLocks noGrp="1"/>
          </p:cNvSpPr>
          <p:nvPr>
            <p:ph type="sldNum" sz="quarter" idx="10"/>
          </p:nvPr>
        </p:nvSpPr>
        <p:spPr/>
        <p:txBody>
          <a:bodyPr/>
          <a:lstStyle/>
          <a:p>
            <a:fld id="{3E0E4FCF-B895-4189-BC99-D67F8E0DE1B8}" type="slidenum">
              <a:rPr lang="en-GB" smtClean="0"/>
              <a:t>4</a:t>
            </a:fld>
            <a:endParaRPr lang="en-GB"/>
          </a:p>
        </p:txBody>
      </p:sp>
    </p:spTree>
    <p:extLst>
      <p:ext uri="{BB962C8B-B14F-4D97-AF65-F5344CB8AC3E}">
        <p14:creationId xmlns:p14="http://schemas.microsoft.com/office/powerpoint/2010/main" val="780606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chemeClr val="tx2"/>
                </a:solidFill>
              </a:rPr>
              <a:t>Acquire and </a:t>
            </a:r>
            <a:r>
              <a:rPr lang="en-GB" sz="1200" i="1" dirty="0">
                <a:solidFill>
                  <a:schemeClr val="tx2"/>
                </a:solidFill>
              </a:rPr>
              <a:t>prepare</a:t>
            </a:r>
            <a:r>
              <a:rPr lang="en-GB" sz="1200" dirty="0">
                <a:solidFill>
                  <a:schemeClr val="tx2"/>
                </a:solidFill>
              </a:rPr>
              <a:t> data using extensive query capabilities</a:t>
            </a:r>
          </a:p>
          <a:p>
            <a:pPr marL="628650" lvl="1"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628650" lvl="1" indent="-171450">
              <a:buFont typeface="Arial" panose="020B0604020202020204" pitchFamily="34" charset="0"/>
              <a:buChar char="•"/>
            </a:pPr>
            <a:r>
              <a:rPr lang="en-GB" sz="1200" dirty="0">
                <a:solidFill>
                  <a:schemeClr val="tx2"/>
                </a:solidFill>
              </a:rPr>
              <a:t>Visualize and </a:t>
            </a:r>
            <a:r>
              <a:rPr lang="en-GB" sz="1200" i="1" dirty="0">
                <a:solidFill>
                  <a:schemeClr val="tx2"/>
                </a:solidFill>
              </a:rPr>
              <a:t>explore</a:t>
            </a:r>
            <a:r>
              <a:rPr lang="en-GB" sz="1200" dirty="0">
                <a:solidFill>
                  <a:schemeClr val="tx2"/>
                </a:solidFill>
              </a:rPr>
              <a:t> your data in new ways </a:t>
            </a:r>
            <a:r>
              <a:rPr lang="en-US" sz="1200" dirty="0">
                <a:solidFill>
                  <a:schemeClr val="tx2"/>
                </a:solidFill>
              </a:rPr>
              <a:t>through a freeform drag-and-drop canvas</a:t>
            </a:r>
            <a:endParaRPr lang="en-GB" sz="1200" dirty="0">
              <a:solidFill>
                <a:schemeClr val="tx2"/>
              </a:solidFill>
            </a:endParaRPr>
          </a:p>
          <a:p>
            <a:pPr marL="628650" lvl="1" indent="-171450">
              <a:buFont typeface="Arial" panose="020B0604020202020204" pitchFamily="34" charset="0"/>
              <a:buChar char="•"/>
            </a:pPr>
            <a:r>
              <a:rPr lang="en-US" sz="1200" dirty="0">
                <a:solidFill>
                  <a:schemeClr val="tx2"/>
                </a:solidFill>
              </a:rPr>
              <a:t>Author </a:t>
            </a:r>
            <a:r>
              <a:rPr lang="en-US" sz="1200" i="1" dirty="0">
                <a:solidFill>
                  <a:schemeClr val="tx2"/>
                </a:solidFill>
              </a:rPr>
              <a:t>reports</a:t>
            </a:r>
            <a:r>
              <a:rPr lang="en-US" sz="1200" dirty="0">
                <a:solidFill>
                  <a:schemeClr val="tx2"/>
                </a:solidFill>
              </a:rPr>
              <a:t> with a broad range of modern data visualizations</a:t>
            </a:r>
          </a:p>
          <a:p>
            <a:pPr marL="628650" lvl="1"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628650" lvl="1" indent="-171450">
              <a:buFont typeface="Arial" panose="020B0604020202020204" pitchFamily="34" charset="0"/>
              <a:buChar char="•"/>
            </a:pPr>
            <a:r>
              <a:rPr lang="en-US" sz="1200" dirty="0">
                <a:solidFill>
                  <a:schemeClr val="tx2"/>
                </a:solidFill>
              </a:rPr>
              <a:t>Securely </a:t>
            </a:r>
            <a:r>
              <a:rPr lang="en-US" sz="1200" i="1" dirty="0">
                <a:solidFill>
                  <a:schemeClr val="tx2"/>
                </a:solidFill>
              </a:rPr>
              <a:t>share</a:t>
            </a:r>
            <a:r>
              <a:rPr lang="en-US" sz="1200" dirty="0">
                <a:solidFill>
                  <a:schemeClr val="tx2"/>
                </a:solidFill>
              </a:rPr>
              <a:t> reports through unique, curated content library approach</a:t>
            </a:r>
            <a:endParaRPr lang="en-US" sz="1400" dirty="0">
              <a:solidFill>
                <a:schemeClr val="tx2"/>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REST API library </a:t>
            </a:r>
            <a:r>
              <a:rPr lang="en-US" dirty="0"/>
              <a:t>allows you to customize nearly every aspect of Power BI, including</a:t>
            </a:r>
            <a:r>
              <a:rPr lang="en-US" baseline="0" dirty="0"/>
              <a:t> connecting to </a:t>
            </a:r>
            <a:r>
              <a:rPr lang="en-US" dirty="0"/>
              <a:t>custom data sources</a:t>
            </a:r>
            <a:r>
              <a:rPr lang="en-US" baseline="0" dirty="0"/>
              <a:t>, enabling real-time data streaming from your data source to Power BI, and integrating other applications with Power BI</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98C02C0-98AB-4661-8FF3-2C79CAD8CBF9}" type="slidenum">
              <a:rPr kumimoji="0" lang="en-US" sz="1800" b="0" i="0" u="none" strike="noStrike" kern="0" cap="none" spc="0" normalizeH="0" baseline="0" noProof="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515892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4208307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REST APIs allow developers to extend Power BI to deliver exactly what an organization nee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You can add Power BI to existing application workflow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endParaRPr lang="en-US" sz="120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69312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2917">
                      <a:schemeClr val="tx1"/>
                    </a:gs>
                    <a:gs pos="30000">
                      <a:schemeClr val="tx1"/>
                    </a:gs>
                  </a:gsLst>
                  <a:lin ang="5400000" scaled="0"/>
                </a:gra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Power</a:t>
            </a:r>
            <a:r>
              <a:rPr lang="en-US" sz="1200" baseline="0" dirty="0">
                <a:gradFill>
                  <a:gsLst>
                    <a:gs pos="2917">
                      <a:schemeClr val="tx1"/>
                    </a:gs>
                    <a:gs pos="30000">
                      <a:schemeClr val="tx1"/>
                    </a:gs>
                  </a:gsLst>
                  <a:lin ang="5400000" scaled="0"/>
                </a:gradFill>
              </a:rPr>
              <a:t> BI REST APIs allow developers to extend Power BI to deliver exactly what an organization nee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gradFill>
                  <a:gsLst>
                    <a:gs pos="2917">
                      <a:schemeClr val="tx1"/>
                    </a:gs>
                    <a:gs pos="30000">
                      <a:schemeClr val="tx1"/>
                    </a:gs>
                  </a:gsLst>
                  <a:lin ang="5400000" scaled="0"/>
                </a:gradFill>
              </a:rPr>
              <a:t>Talking poi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gradFill>
                  <a:gsLst>
                    <a:gs pos="2917">
                      <a:schemeClr val="tx1"/>
                    </a:gs>
                    <a:gs pos="30000">
                      <a:schemeClr val="tx1"/>
                    </a:gs>
                  </a:gsLst>
                  <a:lin ang="5400000" scaled="0"/>
                </a:gradFill>
              </a:rPr>
              <a:t>Here are some of the important uses of API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data directly from another application into Power BI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Push not only static data, but also real-time data, into Power BI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Just as Azure Stream Analytics can push data directly into Power BI, you can enable other applications to do the same thing for real time visi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This enables users to manage and monitor real-time cont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You can add Power BI to existing application workflow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As discussed earlier, you can create custom connectors and content packs for unique data sources that Power BI doesn’t support as a defaul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gradFill>
                  <a:gsLst>
                    <a:gs pos="2917">
                      <a:schemeClr val="tx1"/>
                    </a:gs>
                    <a:gs pos="30000">
                      <a:schemeClr val="tx1"/>
                    </a:gs>
                  </a:gsLst>
                  <a:lin ang="5400000" scaled="0"/>
                </a:gradFill>
              </a:rPr>
              <a:t>Manage authentication using Azure Active Directory integration</a:t>
            </a:r>
            <a:endParaRPr lang="en-US" sz="1200" dirty="0">
              <a:gradFill>
                <a:gsLst>
                  <a:gs pos="2917">
                    <a:schemeClr val="tx1"/>
                  </a:gs>
                  <a:gs pos="30000">
                    <a:schemeClr val="tx1"/>
                  </a:gs>
                </a:gsLst>
                <a:lin ang="5400000" scaled="0"/>
              </a:gra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75C3270-D5B6-4AE0-BFEC-3BB548CBAE0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985243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E0E4FCF-B895-4189-BC99-D67F8E0DE1B8}" type="slidenum">
              <a:rPr lang="en-GB" smtClean="0"/>
              <a:t>15</a:t>
            </a:fld>
            <a:endParaRPr lang="en-GB"/>
          </a:p>
        </p:txBody>
      </p:sp>
    </p:spTree>
    <p:extLst>
      <p:ext uri="{BB962C8B-B14F-4D97-AF65-F5344CB8AC3E}">
        <p14:creationId xmlns:p14="http://schemas.microsoft.com/office/powerpoint/2010/main" val="1847149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so asked the end</a:t>
            </a:r>
            <a:r>
              <a:rPr lang="en-US" baseline="0" dirty="0"/>
              <a:t> users of enterprises about their expectations from software that  they work with. Intelligent applications till a few years back meant static charts within the application screens. There was not element of free flow exploration. They we had “export to Excel” era . Where an ISV allowed analysts to extract data out of an app and do offline analytics and feed the intelligence back in the business process offline. This process it too slow in today’s real-time decision making era. Conventional ERP and CRM applications led the era of parameterized on-demand reporting. Today’s application users across the enterprise are more keen to do free-flow exploration in an easy and intuitive way. They want to get analytical insights that they think is relevant for the task they accomplish.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2016 6:45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7792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09/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1017840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09/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1533540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09/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9245407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t="3484" r="1970" b="13303"/>
          <a:stretch/>
        </p:blipFill>
        <p:spPr>
          <a:xfrm>
            <a:off x="1" y="0"/>
            <a:ext cx="12192000" cy="689421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 Deck</a:t>
            </a:r>
          </a:p>
        </p:txBody>
      </p:sp>
    </p:spTree>
    <p:extLst>
      <p:ext uri="{BB962C8B-B14F-4D97-AF65-F5344CB8AC3E}">
        <p14:creationId xmlns:p14="http://schemas.microsoft.com/office/powerpoint/2010/main" val="242664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b="16523"/>
          <a:stretch/>
        </p:blipFill>
        <p:spPr>
          <a:xfrm>
            <a:off x="0" y="0"/>
            <a:ext cx="12382500" cy="6885709"/>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0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410561" y="221672"/>
            <a:ext cx="6233021" cy="3404174"/>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500438" y="322397"/>
            <a:ext cx="6053269" cy="11818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36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 Technical Reference Deck</a:t>
            </a:r>
          </a:p>
        </p:txBody>
      </p:sp>
      <p:sp>
        <p:nvSpPr>
          <p:cNvPr id="3" name="Subtitle 2"/>
          <p:cNvSpPr>
            <a:spLocks noGrp="1"/>
          </p:cNvSpPr>
          <p:nvPr userDrawn="1">
            <p:ph type="subTitle" idx="1" hasCustomPrompt="1"/>
          </p:nvPr>
        </p:nvSpPr>
        <p:spPr>
          <a:xfrm>
            <a:off x="741111" y="2532576"/>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741111" y="1768344"/>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evel 300 Deck</a:t>
            </a:r>
          </a:p>
        </p:txBody>
      </p:sp>
    </p:spTree>
    <p:extLst>
      <p:ext uri="{BB962C8B-B14F-4D97-AF65-F5344CB8AC3E}">
        <p14:creationId xmlns:p14="http://schemas.microsoft.com/office/powerpoint/2010/main" val="318704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2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a:t>L200 Deck</a:t>
            </a:r>
          </a:p>
        </p:txBody>
      </p:sp>
    </p:spTree>
    <p:extLst>
      <p:ext uri="{BB962C8B-B14F-4D97-AF65-F5344CB8AC3E}">
        <p14:creationId xmlns:p14="http://schemas.microsoft.com/office/powerpoint/2010/main" val="402717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5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725033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40274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38487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4849" y="0"/>
            <a:ext cx="9217150" cy="688489"/>
          </a:xfrm>
        </p:spPr>
        <p:txBody>
          <a:bodyPr/>
          <a:lstStyle>
            <a:lvl1pPr>
              <a:defRPr sz="3600" baseline="0"/>
            </a:lvl1pPr>
          </a:lstStyle>
          <a:p>
            <a:r>
              <a:rPr lang="en-US" dirty="0"/>
              <a:t>Click to edit Master title style: header</a:t>
            </a:r>
          </a:p>
        </p:txBody>
      </p:sp>
      <p:sp>
        <p:nvSpPr>
          <p:cNvPr id="7" name="Text Placeholder 5"/>
          <p:cNvSpPr>
            <a:spLocks noGrp="1"/>
          </p:cNvSpPr>
          <p:nvPr>
            <p:ph type="body" sz="quarter" idx="10"/>
          </p:nvPr>
        </p:nvSpPr>
        <p:spPr>
          <a:xfrm>
            <a:off x="2974849" y="915928"/>
            <a:ext cx="4969616" cy="5614181"/>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915928"/>
            <a:ext cx="3833954" cy="5614181"/>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296401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dirty="0"/>
              <a:t>Subtitle</a:t>
            </a:r>
          </a:p>
        </p:txBody>
      </p:sp>
    </p:spTree>
    <p:extLst>
      <p:ext uri="{BB962C8B-B14F-4D97-AF65-F5344CB8AC3E}">
        <p14:creationId xmlns:p14="http://schemas.microsoft.com/office/powerpoint/2010/main" val="138285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A589DF-5954-4820-A977-C2A38F5C5F4B}" type="datetimeFigureOut">
              <a:rPr lang="en-GB" smtClean="0"/>
              <a:t>09/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9749183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303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180104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4560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t>11/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251663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1/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3569659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E21EFD8-0A7B-44AE-BC7B-4868FDA83592}" type="datetimeFigureOut">
              <a:rPr lang="en-US" smtClean="0"/>
              <a:t>11/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457053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E21EFD8-0A7B-44AE-BC7B-4868FDA83592}" type="datetimeFigureOut">
              <a:rPr lang="en-US" smtClean="0"/>
              <a:t>11/9/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8547264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E21EFD8-0A7B-44AE-BC7B-4868FDA83592}" type="datetimeFigureOut">
              <a:rPr lang="en-US" smtClean="0"/>
              <a:t>11/9/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438947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21EFD8-0A7B-44AE-BC7B-4868FDA83592}" type="datetimeFigureOut">
              <a:rPr lang="en-US" smtClean="0"/>
              <a:t>11/9/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3081276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21EFD8-0A7B-44AE-BC7B-4868FDA83592}" type="datetimeFigureOut">
              <a:rPr lang="en-US" smtClean="0"/>
              <a:t>11/9/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736130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A589DF-5954-4820-A977-C2A38F5C5F4B}" type="datetimeFigureOut">
              <a:rPr lang="en-GB" smtClean="0"/>
              <a:t>09/11/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618810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0"/>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29632932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ft black">
    <p:bg>
      <p:bgRef idx="1001">
        <a:schemeClr val="bg2"/>
      </p:bgRef>
    </p:bg>
    <p:spTree>
      <p:nvGrpSpPr>
        <p:cNvPr id="1" name=""/>
        <p:cNvGrpSpPr/>
        <p:nvPr/>
      </p:nvGrpSpPr>
      <p:grpSpPr>
        <a:xfrm>
          <a:off x="0" y="0"/>
          <a:ext cx="0" cy="0"/>
          <a:chOff x="0" y="0"/>
          <a:chExt cx="0" cy="0"/>
        </a:xfrm>
      </p:grpSpPr>
      <p:sp>
        <p:nvSpPr>
          <p:cNvPr id="9" name="Rectangle 8"/>
          <p:cNvSpPr/>
          <p:nvPr userDrawn="1"/>
        </p:nvSpPr>
        <p:spPr>
          <a:xfrm>
            <a:off x="0" y="0"/>
            <a:ext cx="5052060" cy="6858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182880" rIns="457200" rtlCol="0" anchor="t"/>
          <a:lstStyle/>
          <a:p>
            <a:endParaRPr lang="en-US" sz="2600" dirty="0">
              <a:solidFill>
                <a:srgbClr val="EDC30D"/>
              </a:solidFill>
              <a:latin typeface="Segoe UI Light" panose="020B0502040204020203" pitchFamily="34" charset="0"/>
              <a:cs typeface="Segoe UI Light" panose="020B0502040204020203" pitchFamily="34" charset="0"/>
            </a:endParaRPr>
          </a:p>
        </p:txBody>
      </p:sp>
      <p:sp>
        <p:nvSpPr>
          <p:cNvPr id="11" name="Text Placeholder 10"/>
          <p:cNvSpPr>
            <a:spLocks noGrp="1"/>
          </p:cNvSpPr>
          <p:nvPr>
            <p:ph type="body" sz="quarter" idx="10"/>
          </p:nvPr>
        </p:nvSpPr>
        <p:spPr>
          <a:xfrm>
            <a:off x="356896" y="2600635"/>
            <a:ext cx="4320544" cy="3785652"/>
          </a:xfrm>
        </p:spPr>
        <p:txBody>
          <a:bodyPr anchor="b">
            <a:noAutofit/>
          </a:bodyPr>
          <a:lstStyle>
            <a:lvl1pPr>
              <a:defRPr sz="2000">
                <a:solidFill>
                  <a:schemeClr val="accent1"/>
                </a:solidFill>
                <a:latin typeface="+mj-lt"/>
              </a:defRPr>
            </a:lvl1pPr>
            <a:lvl2pPr>
              <a:defRPr sz="1800">
                <a:solidFill>
                  <a:schemeClr val="accent1"/>
                </a:solidFill>
                <a:latin typeface="+mj-lt"/>
              </a:defRPr>
            </a:lvl2pPr>
            <a:lvl3pPr>
              <a:defRPr sz="1600">
                <a:solidFill>
                  <a:schemeClr val="accent1"/>
                </a:solidFill>
                <a:latin typeface="+mj-lt"/>
              </a:defRPr>
            </a:lvl3pPr>
            <a:lvl4pPr>
              <a:defRPr sz="1400">
                <a:solidFill>
                  <a:schemeClr val="accent1"/>
                </a:solidFill>
                <a:latin typeface="+mj-lt"/>
              </a:defRPr>
            </a:lvl4pPr>
            <a:lvl5pPr>
              <a:defRPr sz="1400">
                <a:solidFill>
                  <a:schemeClr val="accent1"/>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p:nvPr>
        </p:nvSpPr>
        <p:spPr>
          <a:xfrm>
            <a:off x="364602" y="592633"/>
            <a:ext cx="4643916" cy="1089529"/>
          </a:xfrm>
        </p:spPr>
        <p:txBody>
          <a:bodyPr anchor="t" anchorCtr="0">
            <a:spAutoFit/>
          </a:bodyPr>
          <a:lstStyle>
            <a:lvl1pPr>
              <a:defRPr sz="36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599956955"/>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21EFD8-0A7B-44AE-BC7B-4868FDA83592}" type="datetimeFigureOut">
              <a:rPr lang="en-US" smtClean="0"/>
              <a:t>11/9/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7093236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E21EFD8-0A7B-44AE-BC7B-4868FDA83592}" type="datetimeFigureOut">
              <a:rPr lang="en-US" smtClean="0"/>
              <a:t>11/9/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18209479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1/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1606657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21EFD8-0A7B-44AE-BC7B-4868FDA83592}" type="datetimeFigureOut">
              <a:rPr lang="en-US" smtClean="0"/>
              <a:t>11/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B46A10-5272-42DB-956B-2A12568BF81B}" type="slidenum">
              <a:rPr lang="en-US" smtClean="0"/>
              <a:t>‹#›</a:t>
            </a:fld>
            <a:endParaRPr lang="en-US"/>
          </a:p>
        </p:txBody>
      </p:sp>
    </p:spTree>
    <p:extLst>
      <p:ext uri="{BB962C8B-B14F-4D97-AF65-F5344CB8AC3E}">
        <p14:creationId xmlns:p14="http://schemas.microsoft.com/office/powerpoint/2010/main" val="37370324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48280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6"/>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8" name="Freeform 17"/>
          <p:cNvSpPr>
            <a:spLocks/>
          </p:cNvSpPr>
          <p:nvPr userDrawn="1"/>
        </p:nvSpPr>
        <p:spPr bwMode="auto">
          <a:xfrm>
            <a:off x="5395669"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9" name="Freeform 18"/>
          <p:cNvSpPr>
            <a:spLocks/>
          </p:cNvSpPr>
          <p:nvPr userDrawn="1"/>
        </p:nvSpPr>
        <p:spPr bwMode="auto">
          <a:xfrm flipH="1">
            <a:off x="8466235"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lvl="0"/>
            <a:endParaRPr lang="en-US" sz="1765"/>
          </a:p>
        </p:txBody>
      </p:sp>
      <p:sp>
        <p:nvSpPr>
          <p:cNvPr id="91" name="Freeform 20"/>
          <p:cNvSpPr>
            <a:spLocks noEditPoints="1"/>
          </p:cNvSpPr>
          <p:nvPr userDrawn="1"/>
        </p:nvSpPr>
        <p:spPr bwMode="auto">
          <a:xfrm>
            <a:off x="8105463" y="303197"/>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 name="Freeform 6"/>
          <p:cNvSpPr>
            <a:spLocks/>
          </p:cNvSpPr>
          <p:nvPr userDrawn="1"/>
        </p:nvSpPr>
        <p:spPr bwMode="auto">
          <a:xfrm>
            <a:off x="8433553"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Freeform 19"/>
          <p:cNvSpPr>
            <a:spLocks/>
          </p:cNvSpPr>
          <p:nvPr userDrawn="1"/>
        </p:nvSpPr>
        <p:spPr bwMode="auto">
          <a:xfrm>
            <a:off x="8402428" y="562679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nvGrpSpPr>
          <p:cNvPr id="103" name="Group 102"/>
          <p:cNvGrpSpPr/>
          <p:nvPr userDrawn="1"/>
        </p:nvGrpSpPr>
        <p:grpSpPr>
          <a:xfrm>
            <a:off x="0" y="4244614"/>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8"/>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grpSp>
      </p:grpSp>
      <p:sp>
        <p:nvSpPr>
          <p:cNvPr id="3" name="TextBox 2"/>
          <p:cNvSpPr txBox="1"/>
          <p:nvPr userDrawn="1"/>
        </p:nvSpPr>
        <p:spPr>
          <a:xfrm>
            <a:off x="10418150" y="5950485"/>
            <a:ext cx="1504547" cy="615609"/>
          </a:xfrm>
          <a:prstGeom prst="rect">
            <a:avLst/>
          </a:prstGeom>
          <a:noFill/>
        </p:spPr>
        <p:txBody>
          <a:bodyPr wrap="none" lIns="179285" tIns="143428" rIns="179285" bIns="143428"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32252873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2"/>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5" y="299807"/>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12969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69443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A589DF-5954-4820-A977-C2A38F5C5F4B}" type="datetimeFigureOut">
              <a:rPr lang="en-GB" smtClean="0"/>
              <a:t>09/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9887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6019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30054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47241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0440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7970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6431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4882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9711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75002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auto">
          <a:xfrm>
            <a:off x="5198020" y="0"/>
            <a:ext cx="6993116"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a:lnSpc>
                <a:spcPct val="90000"/>
              </a:lnSpc>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85765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A589DF-5954-4820-A977-C2A38F5C5F4B}" type="datetimeFigureOut">
              <a:rPr lang="en-GB" smtClean="0"/>
              <a:t>09/11/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28965015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97995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3465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721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Tree>
    <p:extLst>
      <p:ext uri="{BB962C8B-B14F-4D97-AF65-F5344CB8AC3E}">
        <p14:creationId xmlns:p14="http://schemas.microsoft.com/office/powerpoint/2010/main" val="2080015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771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818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41579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857949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66663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defTabSz="914367">
              <a:defRPr/>
            </a:pPr>
            <a:r>
              <a:rPr lang="en-US" sz="882"/>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lgn="r">
              <a:defRPr/>
            </a:pPr>
            <a:fld id="{F8A0AC42-AA1D-4944-8D96-660DE70C7E1B}" type="slidenum">
              <a:rPr lang="en-US" sz="882" smtClean="0"/>
              <a:pPr algn="r">
                <a:defRPr/>
              </a:pPr>
              <a:t>‹#›</a:t>
            </a:fld>
            <a:endParaRPr lang="en-US" sz="882" dirty="0"/>
          </a:p>
        </p:txBody>
      </p:sp>
    </p:spTree>
    <p:extLst>
      <p:ext uri="{BB962C8B-B14F-4D97-AF65-F5344CB8AC3E}">
        <p14:creationId xmlns:p14="http://schemas.microsoft.com/office/powerpoint/2010/main" val="8844114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A589DF-5954-4820-A977-C2A38F5C5F4B}" type="datetimeFigureOut">
              <a:rPr lang="en-GB" smtClean="0"/>
              <a:t>09/11/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31992815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21EFD8-0A7B-44AE-BC7B-4868FDA83592}" type="datetimeFigureOut">
              <a:rPr lang="en-US" smtClean="0">
                <a:solidFill>
                  <a:prstClr val="black">
                    <a:tint val="75000"/>
                  </a:prstClr>
                </a:solidFill>
              </a:rPr>
              <a:pPr/>
              <a:t>11/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FB46A10-5272-42DB-956B-2A12568BF81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116376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ck title">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0" y="1"/>
            <a:ext cx="12192000" cy="2618152"/>
          </a:xfr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rIns="457200" bIns="91440" rtlCol="0" anchor="ctr"/>
          <a:lstStyle>
            <a:lvl1pPr>
              <a:defRPr lang="en-US" sz="4800">
                <a:solidFill>
                  <a:srgbClr val="EDC30D"/>
                </a:solidFill>
                <a:latin typeface="+mj-lt"/>
                <a:ea typeface="Segoe UI Black" panose="020B0A02040204020203" pitchFamily="34" charset="0"/>
                <a:cs typeface="Segoe UI Black" panose="020B0A02040204020203" pitchFamily="34" charset="0"/>
              </a:defRPr>
            </a:lvl1pPr>
          </a:lstStyle>
          <a:p>
            <a:pPr marL="0" lvl="0"/>
            <a:r>
              <a:rPr lang="en-US" dirty="0"/>
              <a:t>Click to edit Master title style</a:t>
            </a:r>
          </a:p>
        </p:txBody>
      </p:sp>
    </p:spTree>
    <p:extLst>
      <p:ext uri="{BB962C8B-B14F-4D97-AF65-F5344CB8AC3E}">
        <p14:creationId xmlns:p14="http://schemas.microsoft.com/office/powerpoint/2010/main" val="110721422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326768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3949692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240650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848629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4890466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5799606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118413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28969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A589DF-5954-4820-A977-C2A38F5C5F4B}" type="datetimeFigureOut">
              <a:rPr lang="en-GB" smtClean="0"/>
              <a:t>09/11/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7749358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491598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95200063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2668595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569109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38776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54195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648566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161982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499755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826392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A589DF-5954-4820-A977-C2A38F5C5F4B}" type="datetimeFigureOut">
              <a:rPr lang="en-GB" smtClean="0"/>
              <a:t>09/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26591966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53654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416754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081269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36378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199250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79081709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4168142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25308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A589DF-5954-4820-A977-C2A38F5C5F4B}" type="datetimeFigureOut">
              <a:rPr lang="en-GB" smtClean="0"/>
              <a:t>09/11/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DC47057-24C4-4E0D-BBFE-B2B0C2B405CB}" type="slidenum">
              <a:rPr lang="en-GB" smtClean="0"/>
              <a:t>‹#›</a:t>
            </a:fld>
            <a:endParaRPr lang="en-GB"/>
          </a:p>
        </p:txBody>
      </p:sp>
    </p:spTree>
    <p:extLst>
      <p:ext uri="{BB962C8B-B14F-4D97-AF65-F5344CB8AC3E}">
        <p14:creationId xmlns:p14="http://schemas.microsoft.com/office/powerpoint/2010/main" val="4215333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3.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heme" Target="../theme/theme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image" Target="../media/image8.png"/><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A589DF-5954-4820-A977-C2A38F5C5F4B}" type="datetimeFigureOut">
              <a:rPr lang="en-GB" smtClean="0"/>
              <a:t>09/11/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C47057-24C4-4E0D-BBFE-B2B0C2B405CB}" type="slidenum">
              <a:rPr lang="en-GB" smtClean="0"/>
              <a:t>‹#›</a:t>
            </a:fld>
            <a:endParaRPr lang="en-GB"/>
          </a:p>
        </p:txBody>
      </p:sp>
    </p:spTree>
    <p:extLst>
      <p:ext uri="{BB962C8B-B14F-4D97-AF65-F5344CB8AC3E}">
        <p14:creationId xmlns:p14="http://schemas.microsoft.com/office/powerpoint/2010/main" val="6782976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57" name="think-cell Slide" r:id="rId15" imgW="270" imgH="270" progId="TCLayout.ActiveDocument.1">
                  <p:embed/>
                </p:oleObj>
              </mc:Choice>
              <mc:Fallback>
                <p:oleObj name="think-cell Slide" r:id="rId15" imgW="270" imgH="270" progId="TCLayout.ActiveDocument.1">
                  <p:embed/>
                  <p:pic>
                    <p:nvPicPr>
                      <p:cNvPr id="6" name="Object 5" hidden="1"/>
                      <p:cNvPicPr/>
                      <p:nvPr/>
                    </p:nvPicPr>
                    <p:blipFill>
                      <a:blip r:embed="rId1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38687414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21EFD8-0A7B-44AE-BC7B-4868FDA83592}" type="datetimeFigureOut">
              <a:rPr lang="en-US" smtClean="0"/>
              <a:t>11/9/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B46A10-5272-42DB-956B-2A12568BF81B}" type="slidenum">
              <a:rPr lang="en-US" smtClean="0"/>
              <a:t>‹#›</a:t>
            </a:fld>
            <a:endParaRPr lang="en-US"/>
          </a:p>
        </p:txBody>
      </p:sp>
    </p:spTree>
    <p:extLst>
      <p:ext uri="{BB962C8B-B14F-4D97-AF65-F5344CB8AC3E}">
        <p14:creationId xmlns:p14="http://schemas.microsoft.com/office/powerpoint/2010/main" val="261065087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239639450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05056927"/>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1" r:id="rId26"/>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38.png"/><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17.xml"/><Relationship Id="rId5" Type="http://schemas.openxmlformats.org/officeDocument/2006/relationships/hyperlink" Target="http://docs.powerbi.apiary.io/" TargetMode="External"/><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notesSlide" Target="../notesSlides/notesSlide10.xml"/><Relationship Id="rId7" Type="http://schemas.openxmlformats.org/officeDocument/2006/relationships/image" Target="../media/image45.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slideLayout" Target="../slideLayouts/slideLayout24.xml"/><Relationship Id="rId16" Type="http://schemas.openxmlformats.org/officeDocument/2006/relationships/image" Target="../media/image53.png"/><Relationship Id="rId1" Type="http://schemas.openxmlformats.org/officeDocument/2006/relationships/themeOverride" Target="../theme/themeOverride1.xml"/><Relationship Id="rId6" Type="http://schemas.openxmlformats.org/officeDocument/2006/relationships/image" Target="../media/image44.png"/><Relationship Id="rId11" Type="http://schemas.openxmlformats.org/officeDocument/2006/relationships/hyperlink" Target="https://powerbi.microsoft.com/en-us/industries/airline" TargetMode="External"/><Relationship Id="rId5" Type="http://schemas.openxmlformats.org/officeDocument/2006/relationships/image" Target="../media/image43.png"/><Relationship Id="rId15" Type="http://schemas.openxmlformats.org/officeDocument/2006/relationships/image" Target="../media/image52.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1.png"/></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8" Type="http://schemas.openxmlformats.org/officeDocument/2006/relationships/hyperlink" Target="https://github.com/dxuk/AzureWorkshops/tree/master/Azure-Workshop-10th-Nov-2016" TargetMode="External"/><Relationship Id="rId3" Type="http://schemas.openxmlformats.org/officeDocument/2006/relationships/image" Target="../media/image56.png"/><Relationship Id="rId7" Type="http://schemas.openxmlformats.org/officeDocument/2006/relationships/hyperlink" Target="https://powerbi.microsoft.com/en-us/blog/" TargetMode="External"/><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hyperlink" Target="https://powerbi.microsoft.com/en-us/desktop/" TargetMode="External"/><Relationship Id="rId5" Type="http://schemas.openxmlformats.org/officeDocument/2006/relationships/hyperlink" Target="https://powerbi.microsoft.com/" TargetMode="External"/><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7.jp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4.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microsoft.com/office/2007/relationships/hdphoto" Target="../media/hdphoto1.wdp"/><Relationship Id="rId11" Type="http://schemas.openxmlformats.org/officeDocument/2006/relationships/image" Target="../media/image31.png"/><Relationship Id="rId5" Type="http://schemas.openxmlformats.org/officeDocument/2006/relationships/image" Target="../media/image26.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9.png"/><Relationship Id="rId14" Type="http://schemas.openxmlformats.org/officeDocument/2006/relationships/image" Target="../media/image34.png"/></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345650" y="2070551"/>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345650" y="4550226"/>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11" name="Freeform 8"/>
          <p:cNvSpPr>
            <a:spLocks noChangeAspect="1"/>
          </p:cNvSpPr>
          <p:nvPr/>
        </p:nvSpPr>
        <p:spPr bwMode="auto">
          <a:xfrm>
            <a:off x="8584496" y="206097"/>
            <a:ext cx="3406138" cy="360000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45293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Desktop</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16001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9060" y="0"/>
            <a:ext cx="9342940" cy="1280656"/>
          </a:xfrm>
          <a:solidFill>
            <a:schemeClr val="bg1"/>
          </a:solidFill>
        </p:spPr>
        <p:txBody>
          <a:bodyPr/>
          <a:lstStyle/>
          <a:p>
            <a:r>
              <a:rPr lang="en-US" sz="3600" dirty="0">
                <a:solidFill>
                  <a:schemeClr val="tx1"/>
                </a:solidFill>
              </a:rPr>
              <a:t>Prepare, Explore, Report and Collaborate </a:t>
            </a:r>
            <a:br>
              <a:rPr lang="en-US" sz="3600" dirty="0">
                <a:solidFill>
                  <a:schemeClr val="tx1"/>
                </a:solidFill>
              </a:rPr>
            </a:br>
            <a:r>
              <a:rPr lang="en-US" sz="3600" dirty="0">
                <a:solidFill>
                  <a:schemeClr val="tx1"/>
                </a:solidFill>
              </a:rPr>
              <a:t>with Power BI Desktop</a:t>
            </a:r>
          </a:p>
        </p:txBody>
      </p:sp>
      <p:sp>
        <p:nvSpPr>
          <p:cNvPr id="24" name="Rectangle 23"/>
          <p:cNvSpPr/>
          <p:nvPr/>
        </p:nvSpPr>
        <p:spPr>
          <a:xfrm>
            <a:off x="2998839" y="6071163"/>
            <a:ext cx="8961318" cy="58477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srgbClr val="000000"/>
                </a:solidFill>
                <a:effectLst/>
                <a:uLnTx/>
                <a:uFillTx/>
              </a:rPr>
              <a:t>Available as a free, downloadable desktop companion to the Power BI servic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0000"/>
                </a:solidFill>
                <a:effectLst/>
                <a:uLnTx/>
                <a:uFillTx/>
              </a:rPr>
              <a:t>Power BI Desktop is a visual data exploration and reporting tool</a:t>
            </a:r>
            <a:endParaRPr kumimoji="0" lang="en-US" sz="1600" b="0" i="1" u="none" strike="noStrike" kern="0" cap="none" spc="0" normalizeH="0" baseline="0" noProof="0" dirty="0">
              <a:ln>
                <a:noFill/>
              </a:ln>
              <a:solidFill>
                <a:srgbClr val="000000"/>
              </a:solidFill>
              <a:effectLst/>
              <a:uLnTx/>
              <a:uFillTx/>
            </a:endParaRPr>
          </a:p>
        </p:txBody>
      </p:sp>
      <p:sp>
        <p:nvSpPr>
          <p:cNvPr id="41" name="Rectangle 4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Share &amp;</a:t>
            </a:r>
          </a:p>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collaborate </a:t>
            </a:r>
          </a:p>
        </p:txBody>
      </p:sp>
      <p:grpSp>
        <p:nvGrpSpPr>
          <p:cNvPr id="49" name="Group 38"/>
          <p:cNvGrpSpPr>
            <a:grpSpLocks noChangeAspect="1"/>
          </p:cNvGrpSpPr>
          <p:nvPr/>
        </p:nvGrpSpPr>
        <p:grpSpPr>
          <a:xfrm>
            <a:off x="676996" y="3930692"/>
            <a:ext cx="383905" cy="351536"/>
            <a:chOff x="4363684" y="5330386"/>
            <a:chExt cx="1409956" cy="1291077"/>
          </a:xfrm>
          <a:solidFill>
            <a:srgbClr val="217346"/>
          </a:solidFill>
        </p:grpSpPr>
        <p:sp>
          <p:nvSpPr>
            <p:cNvPr id="78"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79"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endParaRPr>
            </a:p>
          </p:txBody>
        </p:sp>
      </p:grpSp>
      <p:sp>
        <p:nvSpPr>
          <p:cNvPr id="50"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Report</a:t>
            </a:r>
          </a:p>
        </p:txBody>
      </p:sp>
      <p:sp>
        <p:nvSpPr>
          <p:cNvPr id="36"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217346"/>
              </a:solidFill>
              <a:effectLst/>
              <a:uLnTx/>
              <a:uFillTx/>
              <a:ea typeface="Segoe UI" pitchFamily="34" charset="0"/>
              <a:cs typeface="Segoe UI" pitchFamily="34" charset="0"/>
            </a:endParaRPr>
          </a:p>
        </p:txBody>
      </p:sp>
      <p:grpSp>
        <p:nvGrpSpPr>
          <p:cNvPr id="11" name="Group 10"/>
          <p:cNvGrpSpPr/>
          <p:nvPr/>
        </p:nvGrpSpPr>
        <p:grpSpPr>
          <a:xfrm>
            <a:off x="1264851" y="3482890"/>
            <a:ext cx="292254" cy="354906"/>
            <a:chOff x="1296521" y="3253388"/>
            <a:chExt cx="292254" cy="354906"/>
          </a:xfrm>
          <a:solidFill>
            <a:srgbClr val="F2C812"/>
          </a:solidFill>
        </p:grpSpPr>
        <p:sp>
          <p:nvSpPr>
            <p:cNvPr id="59" name="Isosceles Triangle 5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Isosceles Triangle 6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3" name="Isosceles Triangle 6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4" name="Group 63"/>
          <p:cNvGrpSpPr/>
          <p:nvPr/>
        </p:nvGrpSpPr>
        <p:grpSpPr>
          <a:xfrm rot="15940603">
            <a:off x="1334576" y="2204404"/>
            <a:ext cx="292254" cy="354906"/>
            <a:chOff x="1296521" y="3253388"/>
            <a:chExt cx="292254" cy="354906"/>
          </a:xfrm>
          <a:solidFill>
            <a:srgbClr val="F2C812"/>
          </a:solidFill>
        </p:grpSpPr>
        <p:sp>
          <p:nvSpPr>
            <p:cNvPr id="65" name="Isosceles Triangle 6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8" name="Isosceles Triangle 6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Isosceles Triangle 6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70" name="Group 69"/>
          <p:cNvGrpSpPr/>
          <p:nvPr/>
        </p:nvGrpSpPr>
        <p:grpSpPr>
          <a:xfrm rot="16043978">
            <a:off x="1317220" y="4717577"/>
            <a:ext cx="292254" cy="354906"/>
            <a:chOff x="1296521" y="3253388"/>
            <a:chExt cx="292254" cy="354906"/>
          </a:xfrm>
          <a:solidFill>
            <a:srgbClr val="F2C812"/>
          </a:solidFill>
        </p:grpSpPr>
        <p:sp>
          <p:nvSpPr>
            <p:cNvPr id="82" name="Isosceles Triangle 81"/>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 name="Isosceles Triangle 8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 name="Isosceles Triangle 8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67"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217346"/>
              </a:solidFill>
              <a:effectLst/>
              <a:uLnTx/>
              <a:uFillTx/>
              <a:ea typeface="Segoe UI" pitchFamily="34" charset="0"/>
              <a:cs typeface="Segoe UI" pitchFamily="34" charset="0"/>
            </a:endParaRPr>
          </a:p>
        </p:txBody>
      </p:sp>
      <p:sp>
        <p:nvSpPr>
          <p:cNvPr id="72"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4" name="Rectangle 3"/>
          <p:cNvSpPr/>
          <p:nvPr/>
        </p:nvSpPr>
        <p:spPr>
          <a:xfrm>
            <a:off x="1600398" y="2677430"/>
            <a:ext cx="820353"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Explore</a:t>
            </a:r>
            <a:endParaRPr kumimoji="0" lang="en-US" sz="1600" b="0" i="0" u="none" strike="noStrike" kern="0" cap="none" spc="0" normalizeH="0" baseline="0" noProof="0" dirty="0">
              <a:ln>
                <a:noFill/>
              </a:ln>
              <a:solidFill>
                <a:srgbClr val="000000"/>
              </a:solidFill>
              <a:effectLst/>
              <a:uLnTx/>
              <a:uFillTx/>
            </a:endParaRPr>
          </a:p>
        </p:txBody>
      </p:sp>
      <p:sp>
        <p:nvSpPr>
          <p:cNvPr id="52" name="Rectangle 51"/>
          <p:cNvSpPr/>
          <p:nvPr/>
        </p:nvSpPr>
        <p:spPr>
          <a:xfrm>
            <a:off x="509174" y="1475232"/>
            <a:ext cx="838756"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ea typeface="Segoe UI" pitchFamily="34" charset="0"/>
                <a:cs typeface="Segoe UI" pitchFamily="34" charset="0"/>
              </a:rPr>
              <a:t>Prepare</a:t>
            </a:r>
            <a:endParaRPr kumimoji="0" lang="en-US" sz="1400" b="0" i="0" u="none" strike="noStrike" kern="0" cap="none" spc="0" normalizeH="0" baseline="0" noProof="0" dirty="0">
              <a:ln>
                <a:noFill/>
              </a:ln>
              <a:solidFill>
                <a:srgbClr val="000000"/>
              </a:solidFill>
              <a:effectLst/>
              <a:uLnTx/>
              <a:uFillTx/>
            </a:endParaRPr>
          </a:p>
        </p:txBody>
      </p:sp>
      <p:sp>
        <p:nvSpPr>
          <p:cNvPr id="53" name="Freeform 52"/>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n-lt"/>
              <a:ea typeface="+mn-ea"/>
              <a:cs typeface="+mn-cs"/>
            </a:endParaRPr>
          </a:p>
        </p:txBody>
      </p:sp>
      <p:sp>
        <p:nvSpPr>
          <p:cNvPr id="54" name="Freeform 53"/>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17346"/>
              </a:solidFill>
              <a:effectLst/>
              <a:uLnTx/>
              <a:uFillTx/>
              <a:latin typeface="+mn-lt"/>
              <a:ea typeface="+mn-ea"/>
              <a:cs typeface="+mn-cs"/>
            </a:endParaRPr>
          </a:p>
        </p:txBody>
      </p:sp>
      <p:sp>
        <p:nvSpPr>
          <p:cNvPr id="56" name="Freeform 55"/>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95028" y="1356776"/>
            <a:ext cx="4114800" cy="2175394"/>
          </a:xfrm>
          <a:prstGeom prst="rect">
            <a:avLst/>
          </a:prstGeom>
          <a:ln>
            <a:noFill/>
          </a:ln>
          <a:effectLst>
            <a:outerShdw blurRad="50800" dist="38100" dir="2700000" algn="tl" rotWithShape="0">
              <a:prstClr val="black">
                <a:alpha val="40000"/>
              </a:prstClr>
            </a:outerShdw>
          </a:effectLst>
        </p:spPr>
      </p:pic>
      <p:sp>
        <p:nvSpPr>
          <p:cNvPr id="33" name="TextBox 32"/>
          <p:cNvSpPr txBox="1"/>
          <p:nvPr/>
        </p:nvSpPr>
        <p:spPr>
          <a:xfrm>
            <a:off x="-73335" y="5097"/>
            <a:ext cx="2989192" cy="6832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Desktop</a:t>
            </a:r>
          </a:p>
        </p:txBody>
      </p:sp>
      <p:pic>
        <p:nvPicPr>
          <p:cNvPr id="37" name="UserFlows_v10_3.0_Diagram View.png"/>
          <p:cNvPicPr>
            <a:picLocks noChangeAspect="1"/>
          </p:cNvPicPr>
          <p:nvPr/>
        </p:nvPicPr>
        <p:blipFill>
          <a:blip r:embed="rId4">
            <a:extLst/>
          </a:blip>
          <a:stretch>
            <a:fillRect/>
          </a:stretch>
        </p:blipFill>
        <p:spPr>
          <a:xfrm>
            <a:off x="7725877" y="1321568"/>
            <a:ext cx="3929959" cy="2210602"/>
          </a:xfrm>
          <a:prstGeom prst="rect">
            <a:avLst/>
          </a:prstGeom>
          <a:ln>
            <a:noFill/>
          </a:ln>
          <a:effectLst>
            <a:outerShdw blurRad="50800" dist="38100" dir="2700000" algn="tl" rotWithShape="0">
              <a:prstClr val="black">
                <a:alpha val="40000"/>
              </a:prstClr>
            </a:outerShdw>
          </a:effectLst>
        </p:spPr>
      </p:pic>
      <p:pic>
        <p:nvPicPr>
          <p:cNvPr id="38" name="Picture 37"/>
          <p:cNvPicPr>
            <a:picLocks noChangeAspect="1"/>
          </p:cNvPicPr>
          <p:nvPr/>
        </p:nvPicPr>
        <p:blipFill>
          <a:blip r:embed="rId5"/>
          <a:stretch>
            <a:fillRect/>
          </a:stretch>
        </p:blipFill>
        <p:spPr>
          <a:xfrm>
            <a:off x="5463130" y="3748837"/>
            <a:ext cx="4114800" cy="2143405"/>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0687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REST APIs</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87405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4988653" y="1540925"/>
            <a:ext cx="5486400" cy="3058590"/>
          </a:xfrm>
          <a:prstGeom prst="rect">
            <a:avLst/>
          </a:prstGeom>
        </p:spPr>
      </p:pic>
      <p:grpSp>
        <p:nvGrpSpPr>
          <p:cNvPr id="10" name="Group 9"/>
          <p:cNvGrpSpPr/>
          <p:nvPr/>
        </p:nvGrpSpPr>
        <p:grpSpPr>
          <a:xfrm>
            <a:off x="3339258" y="3554640"/>
            <a:ext cx="1078282" cy="1191995"/>
            <a:chOff x="3186958" y="3107652"/>
            <a:chExt cx="1328157" cy="1191995"/>
          </a:xfrm>
        </p:grpSpPr>
        <p:sp>
          <p:nvSpPr>
            <p:cNvPr id="244" name="Rectangle 243"/>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Push data</a:t>
              </a:r>
            </a:p>
          </p:txBody>
        </p:sp>
        <p:sp>
          <p:nvSpPr>
            <p:cNvPr id="253" name="Rectangle 252"/>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90000"/>
                </a:lnSpc>
                <a:spcBef>
                  <a:spcPct val="20000"/>
                </a:spcBef>
                <a:spcAft>
                  <a:spcPts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Push data directly from an application into Power BI </a:t>
              </a:r>
            </a:p>
          </p:txBody>
        </p:sp>
      </p:grpSp>
      <p:grpSp>
        <p:nvGrpSpPr>
          <p:cNvPr id="12" name="Group 11"/>
          <p:cNvGrpSpPr/>
          <p:nvPr/>
        </p:nvGrpSpPr>
        <p:grpSpPr>
          <a:xfrm>
            <a:off x="10699910" y="2998603"/>
            <a:ext cx="1156087" cy="1200178"/>
            <a:chOff x="10930691" y="3448641"/>
            <a:chExt cx="1020359" cy="1200178"/>
          </a:xfrm>
        </p:grpSpPr>
        <p:sp>
          <p:nvSpPr>
            <p:cNvPr id="237" name="Rectangle 236"/>
            <p:cNvSpPr/>
            <p:nvPr/>
          </p:nvSpPr>
          <p:spPr bwMode="auto">
            <a:xfrm>
              <a:off x="10930691" y="3448641"/>
              <a:ext cx="1012672" cy="457200"/>
            </a:xfrm>
            <a:prstGeom prst="rect">
              <a:avLst/>
            </a:prstGeom>
            <a:solidFill>
              <a:srgbClr val="F2C812"/>
            </a:solidFill>
            <a:ln w="9525" cap="flat" cmpd="sng" algn="ctr">
              <a:solidFill>
                <a:srgbClr val="EDC30D"/>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Integration</a:t>
              </a:r>
            </a:p>
          </p:txBody>
        </p:sp>
        <p:sp>
          <p:nvSpPr>
            <p:cNvPr id="460" name="Rectangle 459"/>
            <p:cNvSpPr/>
            <p:nvPr/>
          </p:nvSpPr>
          <p:spPr bwMode="auto">
            <a:xfrm>
              <a:off x="10938378" y="3911040"/>
              <a:ext cx="1012672" cy="73777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base" latinLnBrk="0" hangingPunct="1">
                <a:lnSpc>
                  <a:spcPct val="90000"/>
                </a:lnSpc>
                <a:spcBef>
                  <a:spcPct val="20000"/>
                </a:spcBef>
                <a:spcAft>
                  <a:spcPct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Add Power BI to existing application workflows</a:t>
              </a:r>
            </a:p>
          </p:txBody>
        </p:sp>
      </p:grpSp>
      <p:grpSp>
        <p:nvGrpSpPr>
          <p:cNvPr id="13" name="Group 12"/>
          <p:cNvGrpSpPr/>
          <p:nvPr/>
        </p:nvGrpSpPr>
        <p:grpSpPr>
          <a:xfrm>
            <a:off x="6277611" y="5243723"/>
            <a:ext cx="4479525" cy="548640"/>
            <a:chOff x="5676992" y="6441234"/>
            <a:chExt cx="4479525" cy="548640"/>
          </a:xfrm>
        </p:grpSpPr>
        <p:sp>
          <p:nvSpPr>
            <p:cNvPr id="461" name="Rectangle 460"/>
            <p:cNvSpPr/>
            <p:nvPr/>
          </p:nvSpPr>
          <p:spPr bwMode="auto">
            <a:xfrm>
              <a:off x="6499952" y="6441234"/>
              <a:ext cx="3656565" cy="54864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base" latinLnBrk="0" hangingPunct="1">
                <a:lnSpc>
                  <a:spcPct val="90000"/>
                </a:lnSpc>
                <a:spcBef>
                  <a:spcPct val="20000"/>
                </a:spcBef>
                <a:spcAft>
                  <a:spcPct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Enable real-time content management and monitoring so users can uncover the latest insights from device, sensor and application data</a:t>
              </a:r>
            </a:p>
          </p:txBody>
        </p:sp>
        <p:sp>
          <p:nvSpPr>
            <p:cNvPr id="236" name="Rectangle 235"/>
            <p:cNvSpPr/>
            <p:nvPr/>
          </p:nvSpPr>
          <p:spPr bwMode="auto">
            <a:xfrm>
              <a:off x="5676992" y="6441234"/>
              <a:ext cx="822960" cy="54864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Real-time</a:t>
              </a:r>
            </a:p>
          </p:txBody>
        </p:sp>
      </p:grpSp>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EDC30D"/>
              </a:solidFill>
              <a:effectLst/>
              <a:uLnTx/>
              <a:uFillTx/>
              <a:ea typeface="Segoe UI" pitchFamily="34" charset="0"/>
              <a:cs typeface="Segoe UI" pitchFamily="34" charset="0"/>
            </a:endParaRPr>
          </a:p>
        </p:txBody>
      </p:sp>
      <p:sp>
        <p:nvSpPr>
          <p:cNvPr id="69" name="Text Placeholder 2"/>
          <p:cNvSpPr txBox="1">
            <a:spLocks/>
          </p:cNvSpPr>
          <p:nvPr/>
        </p:nvSpPr>
        <p:spPr>
          <a:xfrm>
            <a:off x="-1464" y="3841681"/>
            <a:ext cx="2899832" cy="3006410"/>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tabl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p:txBody>
      </p:sp>
      <p:grpSp>
        <p:nvGrpSpPr>
          <p:cNvPr id="71" name="Group 70"/>
          <p:cNvGrpSpPr/>
          <p:nvPr/>
        </p:nvGrpSpPr>
        <p:grpSpPr>
          <a:xfrm>
            <a:off x="384829" y="1540925"/>
            <a:ext cx="2074112" cy="793514"/>
            <a:chOff x="-2724205" y="2137037"/>
            <a:chExt cx="2497191" cy="955375"/>
          </a:xfrm>
        </p:grpSpPr>
        <p:sp>
          <p:nvSpPr>
            <p:cNvPr id="72" name="TextBox 71"/>
            <p:cNvSpPr txBox="1"/>
            <p:nvPr/>
          </p:nvSpPr>
          <p:spPr>
            <a:xfrm>
              <a:off x="-2089835" y="2394822"/>
              <a:ext cx="1862821" cy="300151"/>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11001010</a:t>
              </a:r>
            </a:p>
          </p:txBody>
        </p:sp>
        <p:sp>
          <p:nvSpPr>
            <p:cNvPr id="73" name="TextBox 72"/>
            <p:cNvSpPr txBox="1"/>
            <p:nvPr/>
          </p:nvSpPr>
          <p:spPr>
            <a:xfrm>
              <a:off x="-2089837" y="2662380"/>
              <a:ext cx="1862821" cy="300151"/>
            </a:xfrm>
            <a:prstGeom prst="rect">
              <a:avLst/>
            </a:prstGeom>
            <a:noFill/>
          </p:spPr>
          <p:txBody>
            <a:bodyPr wrap="square" lIns="182880" tIns="0" rIns="182880" bIns="0" rtlCol="0">
              <a:spAutoFit/>
            </a:bodyPr>
            <a:lstStyle>
              <a:defPPr>
                <a:defRPr lang="en-US"/>
              </a:defPPr>
              <a:lvl1pPr>
                <a:lnSpc>
                  <a:spcPct val="90000"/>
                </a:lnSpc>
                <a:spcAft>
                  <a:spcPts val="600"/>
                </a:spcAft>
                <a:defRPr>
                  <a:gradFill flip="none" rotWithShape="1">
                    <a:gsLst>
                      <a:gs pos="0">
                        <a:schemeClr val="tx2"/>
                      </a:gs>
                      <a:gs pos="61000">
                        <a:schemeClr val="tx1">
                          <a:lumMod val="50000"/>
                          <a:lumOff val="50000"/>
                        </a:schemeClr>
                      </a:gs>
                      <a:gs pos="100000">
                        <a:schemeClr val="bg2">
                          <a:lumMod val="90000"/>
                        </a:schemeClr>
                      </a:gs>
                    </a:gsLst>
                    <a:lin ang="10800000" scaled="1"/>
                    <a:tileRect/>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001010</a:t>
              </a:r>
            </a:p>
          </p:txBody>
        </p:sp>
        <p:grpSp>
          <p:nvGrpSpPr>
            <p:cNvPr id="74" name="Group 73"/>
            <p:cNvGrpSpPr/>
            <p:nvPr/>
          </p:nvGrpSpPr>
          <p:grpSpPr>
            <a:xfrm>
              <a:off x="-2724205" y="2137037"/>
              <a:ext cx="833669" cy="955375"/>
              <a:chOff x="4076702" y="-2333624"/>
              <a:chExt cx="1446213" cy="1657349"/>
            </a:xfrm>
            <a:solidFill>
              <a:schemeClr val="tx2"/>
            </a:solidFill>
          </p:grpSpPr>
          <p:grpSp>
            <p:nvGrpSpPr>
              <p:cNvPr id="75" name="Group 4"/>
              <p:cNvGrpSpPr>
                <a:grpSpLocks noChangeAspect="1"/>
              </p:cNvGrpSpPr>
              <p:nvPr/>
            </p:nvGrpSpPr>
            <p:grpSpPr bwMode="auto">
              <a:xfrm>
                <a:off x="4076702" y="-2333624"/>
                <a:ext cx="1446213" cy="1657349"/>
                <a:chOff x="2568" y="-1470"/>
                <a:chExt cx="911" cy="1044"/>
              </a:xfrm>
              <a:grpFill/>
            </p:grpSpPr>
            <p:sp>
              <p:nvSpPr>
                <p:cNvPr id="81"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 name="Group 75"/>
              <p:cNvGrpSpPr/>
              <p:nvPr/>
            </p:nvGrpSpPr>
            <p:grpSpPr>
              <a:xfrm rot="5400000">
                <a:off x="4266802" y="-1927225"/>
                <a:ext cx="1066800" cy="1066800"/>
                <a:chOff x="4236244" y="-1957783"/>
                <a:chExt cx="1066800" cy="1066800"/>
              </a:xfrm>
              <a:grpFill/>
            </p:grpSpPr>
            <p:sp>
              <p:nvSpPr>
                <p:cNvPr id="79" name="Oval 78"/>
                <p:cNvSpPr/>
                <p:nvPr/>
              </p:nvSpPr>
              <p:spPr>
                <a:xfrm>
                  <a:off x="4236244" y="-1957783"/>
                  <a:ext cx="1066800" cy="106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Isosceles Triangle 79"/>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77" name="Block Arc 76"/>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78" name="Oval 77"/>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90" name="Group 89"/>
          <p:cNvGrpSpPr/>
          <p:nvPr/>
        </p:nvGrpSpPr>
        <p:grpSpPr>
          <a:xfrm>
            <a:off x="384829" y="2723173"/>
            <a:ext cx="2412176" cy="591019"/>
            <a:chOff x="-652983" y="2717202"/>
            <a:chExt cx="2450789" cy="591019"/>
          </a:xfrm>
        </p:grpSpPr>
        <p:sp>
          <p:nvSpPr>
            <p:cNvPr id="91" name="TextBox 90"/>
            <p:cNvSpPr txBox="1"/>
            <p:nvPr/>
          </p:nvSpPr>
          <p:spPr>
            <a:xfrm>
              <a:off x="-24138" y="2717202"/>
              <a:ext cx="1821944" cy="581698"/>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EDC30D"/>
                  </a:solidFill>
                  <a:effectLst/>
                  <a:uLnTx/>
                  <a:uFillTx/>
                </a:rPr>
                <a:t> “name”:[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columns”:[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a:t>
              </a:r>
              <a:r>
                <a:rPr kumimoji="0" lang="en-US" sz="1400" b="0" i="0" u="none" strike="noStrike" kern="0" cap="none" spc="0" normalizeH="0" baseline="0" noProof="0" dirty="0" err="1">
                  <a:ln>
                    <a:noFill/>
                  </a:ln>
                  <a:solidFill>
                    <a:srgbClr val="EDC30D"/>
                  </a:solidFill>
                  <a:effectLst/>
                  <a:uLnTx/>
                  <a:uFillTx/>
                </a:rPr>
                <a:t>daType</a:t>
              </a:r>
              <a:r>
                <a:rPr kumimoji="0" lang="en-US" sz="1400" b="0" i="0" u="none" strike="noStrike" kern="0" cap="none" spc="0" normalizeH="0" baseline="0" noProof="0" dirty="0">
                  <a:ln>
                    <a:noFill/>
                  </a:ln>
                  <a:solidFill>
                    <a:srgbClr val="EDC30D"/>
                  </a:solidFill>
                  <a:effectLst/>
                  <a:uLnTx/>
                  <a:uFillTx/>
                </a:rPr>
                <a:t>”:[String]</a:t>
              </a:r>
            </a:p>
          </p:txBody>
        </p:sp>
        <p:pic>
          <p:nvPicPr>
            <p:cNvPr id="92" name="Donut 59"/>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t="20098" r="35911" b="22156"/>
            <a:stretch/>
          </p:blipFill>
          <p:spPr bwMode="auto">
            <a:xfrm>
              <a:off x="-652983" y="2736910"/>
              <a:ext cx="736636" cy="57131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 Placeholder 3"/>
          <p:cNvSpPr txBox="1">
            <a:spLocks/>
          </p:cNvSpPr>
          <p:nvPr/>
        </p:nvSpPr>
        <p:spPr>
          <a:xfrm>
            <a:off x="447675" y="5157115"/>
            <a:ext cx="2849060" cy="1690976"/>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dk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dk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dk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column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r>
              <a:rPr kumimoji="0" lang="en-US" sz="1400" b="0" i="0" u="none" strike="noStrike" kern="1200" cap="none" spc="0" normalizeH="0" baseline="0" noProof="0" dirty="0" err="1">
                <a:ln>
                  <a:noFill/>
                </a:ln>
                <a:solidFill>
                  <a:srgbClr val="EDC30D"/>
                </a:solidFill>
                <a:effectLst/>
                <a:uLnTx/>
                <a:uFillTx/>
                <a:latin typeface="+mn-lt"/>
                <a:ea typeface="+mn-ea"/>
                <a:cs typeface="+mn-cs"/>
              </a:rPr>
              <a:t>dataType</a:t>
            </a:r>
            <a:r>
              <a:rPr kumimoji="0" lang="en-US" sz="1400" b="0" i="0" u="none" strike="noStrike" kern="1200" cap="none" spc="0" normalizeH="0" baseline="0" noProof="0" dirty="0">
                <a:ln>
                  <a:noFill/>
                </a:ln>
                <a:solidFill>
                  <a:srgbClr val="EDC30D"/>
                </a:solidFill>
                <a:effectLst/>
                <a:uLnTx/>
                <a:uFillTx/>
                <a:latin typeface="+mn-lt"/>
                <a:ea typeface="+mn-ea"/>
                <a:cs typeface="+mn-cs"/>
              </a:rPr>
              <a:t>":{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p:txBody>
      </p:sp>
      <p:sp>
        <p:nvSpPr>
          <p:cNvPr id="319" name="Rectangle 318"/>
          <p:cNvSpPr/>
          <p:nvPr/>
        </p:nvSpPr>
        <p:spPr bwMode="auto">
          <a:xfrm>
            <a:off x="4686183" y="1411619"/>
            <a:ext cx="5783865" cy="3416247"/>
          </a:xfrm>
          <a:prstGeom prst="rect">
            <a:avLst/>
          </a:prstGeom>
          <a:solidFill>
            <a:schemeClr val="bg1">
              <a:alpha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1" name="Isosceles Triangle 250"/>
          <p:cNvSpPr/>
          <p:nvPr/>
        </p:nvSpPr>
        <p:spPr bwMode="auto">
          <a:xfrm rot="10800000" flipV="1">
            <a:off x="6274796" y="4229291"/>
            <a:ext cx="4479525" cy="983921"/>
          </a:xfrm>
          <a:prstGeom prst="triangle">
            <a:avLst>
              <a:gd name="adj" fmla="val 71445"/>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2" name="Isosceles Triangle 251"/>
          <p:cNvSpPr/>
          <p:nvPr/>
        </p:nvSpPr>
        <p:spPr bwMode="auto">
          <a:xfrm rot="16200000" flipH="1">
            <a:off x="9889267" y="3393311"/>
            <a:ext cx="1200178" cy="386698"/>
          </a:xfrm>
          <a:prstGeom prst="triangle">
            <a:avLst>
              <a:gd name="adj" fmla="val 38397"/>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3" name="Isosceles Triangle 372"/>
          <p:cNvSpPr/>
          <p:nvPr/>
        </p:nvSpPr>
        <p:spPr bwMode="auto">
          <a:xfrm rot="5400000">
            <a:off x="4006866" y="3982573"/>
            <a:ext cx="1192608" cy="335522"/>
          </a:xfrm>
          <a:prstGeom prst="triangle">
            <a:avLst>
              <a:gd name="adj" fmla="val 41074"/>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chemeClr val="tx2"/>
                </a:solidFill>
                <a:effectLst/>
                <a:uLnTx/>
                <a:uFillTx/>
                <a:latin typeface="+mj-lt"/>
                <a:cs typeface="Segoe UI" pitchFamily="34" charset="0"/>
              </a:rPr>
              <a:t>Develop exactly what your organization needs</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grpSp>
        <p:nvGrpSpPr>
          <p:cNvPr id="48" name="Group 47"/>
          <p:cNvGrpSpPr/>
          <p:nvPr/>
        </p:nvGrpSpPr>
        <p:grpSpPr>
          <a:xfrm>
            <a:off x="3462703" y="2056253"/>
            <a:ext cx="1078282" cy="1191995"/>
            <a:chOff x="3186958" y="3107652"/>
            <a:chExt cx="1328157" cy="1191995"/>
          </a:xfrm>
        </p:grpSpPr>
        <p:sp>
          <p:nvSpPr>
            <p:cNvPr id="49" name="Rectangle 48"/>
            <p:cNvSpPr/>
            <p:nvPr/>
          </p:nvSpPr>
          <p:spPr bwMode="auto">
            <a:xfrm>
              <a:off x="3187087" y="3107652"/>
              <a:ext cx="1328027" cy="457200"/>
            </a:xfrm>
            <a:prstGeom prst="rect">
              <a:avLst/>
            </a:prstGeom>
            <a:solidFill>
              <a:srgbClr val="F2C812"/>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pitchFamily="34" charset="0"/>
                </a:rPr>
                <a:t>Visuals</a:t>
              </a:r>
            </a:p>
          </p:txBody>
        </p:sp>
        <p:sp>
          <p:nvSpPr>
            <p:cNvPr id="50" name="Rectangle 49"/>
            <p:cNvSpPr/>
            <p:nvPr/>
          </p:nvSpPr>
          <p:spPr bwMode="auto">
            <a:xfrm>
              <a:off x="3186958" y="3556019"/>
              <a:ext cx="1328157" cy="74362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90000"/>
                </a:lnSpc>
                <a:spcBef>
                  <a:spcPct val="20000"/>
                </a:spcBef>
                <a:spcAft>
                  <a:spcPts val="0"/>
                </a:spcAft>
                <a:buClrTx/>
                <a:buSzPct val="90000"/>
                <a:buFontTx/>
                <a:buNone/>
                <a:tabLst/>
                <a:defRPr/>
              </a:pPr>
              <a:r>
                <a:rPr kumimoji="0" lang="en-US" sz="1100" b="0" i="0" u="none" strike="noStrike" kern="0" cap="none" spc="0" normalizeH="0" baseline="0" noProof="0" dirty="0">
                  <a:ln w="3175">
                    <a:noFill/>
                  </a:ln>
                  <a:gradFill>
                    <a:gsLst>
                      <a:gs pos="1250">
                        <a:schemeClr val="tx2"/>
                      </a:gs>
                      <a:gs pos="99000">
                        <a:schemeClr val="tx2"/>
                      </a:gs>
                    </a:gsLst>
                    <a:lin ang="5400000" scaled="0"/>
                  </a:gradFill>
                  <a:effectLst/>
                  <a:uLnTx/>
                  <a:uFillTx/>
                </a:rPr>
                <a:t>Create your own custom visuals for Power BI</a:t>
              </a:r>
            </a:p>
          </p:txBody>
        </p:sp>
      </p:grpSp>
      <p:sp>
        <p:nvSpPr>
          <p:cNvPr id="51" name="Isosceles Triangle 50"/>
          <p:cNvSpPr/>
          <p:nvPr/>
        </p:nvSpPr>
        <p:spPr bwMode="auto">
          <a:xfrm rot="5400000">
            <a:off x="4130311" y="2484186"/>
            <a:ext cx="1192608" cy="335522"/>
          </a:xfrm>
          <a:prstGeom prst="triangle">
            <a:avLst>
              <a:gd name="adj" fmla="val 90911"/>
            </a:avLst>
          </a:prstGeom>
          <a:solidFill>
            <a:srgbClr val="F2C812">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TextBox 51"/>
          <p:cNvSpPr txBox="1"/>
          <p:nvPr/>
        </p:nvSpPr>
        <p:spPr>
          <a:xfrm>
            <a:off x="-14343" y="-8888"/>
            <a:ext cx="2850524" cy="1071062"/>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for Developers</a:t>
            </a:r>
          </a:p>
        </p:txBody>
      </p:sp>
    </p:spTree>
    <p:extLst>
      <p:ext uri="{BB962C8B-B14F-4D97-AF65-F5344CB8AC3E}">
        <p14:creationId xmlns:p14="http://schemas.microsoft.com/office/powerpoint/2010/main" val="2108532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3"/>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EDC30D"/>
              </a:solidFill>
              <a:effectLst/>
              <a:uLnTx/>
              <a:uFillTx/>
              <a:ea typeface="Segoe UI" pitchFamily="34" charset="0"/>
              <a:cs typeface="Segoe UI" pitchFamily="34" charset="0"/>
            </a:endParaRPr>
          </a:p>
        </p:txBody>
      </p:sp>
      <p:sp>
        <p:nvSpPr>
          <p:cNvPr id="69" name="Text Placeholder 2"/>
          <p:cNvSpPr txBox="1">
            <a:spLocks/>
          </p:cNvSpPr>
          <p:nvPr/>
        </p:nvSpPr>
        <p:spPr>
          <a:xfrm>
            <a:off x="-1464" y="3841681"/>
            <a:ext cx="2899832" cy="3006410"/>
          </a:xfrm>
          <a:prstGeom prst="rect">
            <a:avLst/>
          </a:prstGeom>
          <a:noFill/>
          <a:ln w="10795" cap="flat" cmpd="sng" algn="ctr">
            <a:noFill/>
            <a:prstDash val="solid"/>
          </a:ln>
        </p:spPr>
        <p:style>
          <a:lnRef idx="2">
            <a:schemeClr val="dk1"/>
          </a:lnRef>
          <a:fillRef idx="1">
            <a:schemeClr val="lt1"/>
          </a:fillRef>
          <a:effectRef idx="0">
            <a:schemeClr val="dk1"/>
          </a:effectRef>
          <a:fontRef idx="minor">
            <a:schemeClr val="dk1"/>
          </a:fontRef>
        </p:style>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365690"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dk1"/>
                </a:solidFill>
                <a:latin typeface="+mj-lt"/>
                <a:ea typeface="+mn-ea"/>
                <a:cs typeface="+mn-cs"/>
              </a:defRPr>
            </a:lvl2pPr>
            <a:lvl3pPr marL="548535" marR="0" indent="-182845"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dk1"/>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table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p:txBody>
      </p:sp>
      <p:grpSp>
        <p:nvGrpSpPr>
          <p:cNvPr id="71" name="Group 70"/>
          <p:cNvGrpSpPr/>
          <p:nvPr/>
        </p:nvGrpSpPr>
        <p:grpSpPr>
          <a:xfrm>
            <a:off x="384829" y="1540925"/>
            <a:ext cx="2074112" cy="793514"/>
            <a:chOff x="-2724205" y="2137037"/>
            <a:chExt cx="2497191" cy="955375"/>
          </a:xfrm>
        </p:grpSpPr>
        <p:sp>
          <p:nvSpPr>
            <p:cNvPr id="72" name="TextBox 71"/>
            <p:cNvSpPr txBox="1"/>
            <p:nvPr/>
          </p:nvSpPr>
          <p:spPr>
            <a:xfrm>
              <a:off x="-2089835" y="2394822"/>
              <a:ext cx="1862821" cy="300151"/>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11001010</a:t>
              </a:r>
            </a:p>
          </p:txBody>
        </p:sp>
        <p:sp>
          <p:nvSpPr>
            <p:cNvPr id="73" name="TextBox 72"/>
            <p:cNvSpPr txBox="1"/>
            <p:nvPr/>
          </p:nvSpPr>
          <p:spPr>
            <a:xfrm>
              <a:off x="-2089837" y="2662380"/>
              <a:ext cx="1862821" cy="300151"/>
            </a:xfrm>
            <a:prstGeom prst="rect">
              <a:avLst/>
            </a:prstGeom>
            <a:noFill/>
          </p:spPr>
          <p:txBody>
            <a:bodyPr wrap="square" lIns="182880" tIns="0" rIns="182880" bIns="0" rtlCol="0">
              <a:spAutoFit/>
            </a:bodyPr>
            <a:lstStyle>
              <a:defPPr>
                <a:defRPr lang="en-US"/>
              </a:defPPr>
              <a:lvl1pPr>
                <a:lnSpc>
                  <a:spcPct val="90000"/>
                </a:lnSpc>
                <a:spcAft>
                  <a:spcPts val="600"/>
                </a:spcAft>
                <a:defRPr>
                  <a:gradFill flip="none" rotWithShape="1">
                    <a:gsLst>
                      <a:gs pos="0">
                        <a:schemeClr val="tx2"/>
                      </a:gs>
                      <a:gs pos="61000">
                        <a:schemeClr val="tx1">
                          <a:lumMod val="50000"/>
                          <a:lumOff val="50000"/>
                        </a:schemeClr>
                      </a:gs>
                      <a:gs pos="100000">
                        <a:schemeClr val="bg2">
                          <a:lumMod val="90000"/>
                        </a:schemeClr>
                      </a:gs>
                    </a:gsLst>
                    <a:lin ang="10800000" scaled="1"/>
                    <a:tileRect/>
                  </a:gradFill>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EDC30D"/>
                  </a:solidFill>
                  <a:effectLst/>
                  <a:uLnTx/>
                  <a:uFillTx/>
                </a:rPr>
                <a:t>0001010</a:t>
              </a:r>
            </a:p>
          </p:txBody>
        </p:sp>
        <p:grpSp>
          <p:nvGrpSpPr>
            <p:cNvPr id="74" name="Group 73"/>
            <p:cNvGrpSpPr/>
            <p:nvPr/>
          </p:nvGrpSpPr>
          <p:grpSpPr>
            <a:xfrm>
              <a:off x="-2724205" y="2137037"/>
              <a:ext cx="833669" cy="955375"/>
              <a:chOff x="4076702" y="-2333624"/>
              <a:chExt cx="1446213" cy="1657349"/>
            </a:xfrm>
            <a:solidFill>
              <a:schemeClr val="tx2"/>
            </a:solidFill>
          </p:grpSpPr>
          <p:grpSp>
            <p:nvGrpSpPr>
              <p:cNvPr id="75" name="Group 4"/>
              <p:cNvGrpSpPr>
                <a:grpSpLocks noChangeAspect="1"/>
              </p:cNvGrpSpPr>
              <p:nvPr/>
            </p:nvGrpSpPr>
            <p:grpSpPr bwMode="auto">
              <a:xfrm>
                <a:off x="4076702" y="-2333624"/>
                <a:ext cx="1446213" cy="1657349"/>
                <a:chOff x="2568" y="-1470"/>
                <a:chExt cx="911" cy="1044"/>
              </a:xfrm>
              <a:grpFill/>
            </p:grpSpPr>
            <p:sp>
              <p:nvSpPr>
                <p:cNvPr id="81"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 name="Group 75"/>
              <p:cNvGrpSpPr/>
              <p:nvPr/>
            </p:nvGrpSpPr>
            <p:grpSpPr>
              <a:xfrm rot="5400000">
                <a:off x="4266802" y="-1927225"/>
                <a:ext cx="1066800" cy="1066800"/>
                <a:chOff x="4236244" y="-1957783"/>
                <a:chExt cx="1066800" cy="1066800"/>
              </a:xfrm>
              <a:grpFill/>
            </p:grpSpPr>
            <p:sp>
              <p:nvSpPr>
                <p:cNvPr id="79" name="Oval 78"/>
                <p:cNvSpPr/>
                <p:nvPr/>
              </p:nvSpPr>
              <p:spPr>
                <a:xfrm>
                  <a:off x="4236244" y="-1957783"/>
                  <a:ext cx="1066800" cy="106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Isosceles Triangle 79"/>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77" name="Block Arc 76"/>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78" name="Oval 77"/>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90" name="Group 89"/>
          <p:cNvGrpSpPr/>
          <p:nvPr/>
        </p:nvGrpSpPr>
        <p:grpSpPr>
          <a:xfrm>
            <a:off x="384829" y="2723173"/>
            <a:ext cx="2412176" cy="591019"/>
            <a:chOff x="-652983" y="2717202"/>
            <a:chExt cx="2450789" cy="591019"/>
          </a:xfrm>
        </p:grpSpPr>
        <p:sp>
          <p:nvSpPr>
            <p:cNvPr id="91" name="TextBox 90"/>
            <p:cNvSpPr txBox="1"/>
            <p:nvPr/>
          </p:nvSpPr>
          <p:spPr>
            <a:xfrm>
              <a:off x="-24138" y="2717202"/>
              <a:ext cx="1821944" cy="581698"/>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EDC30D"/>
                  </a:solidFill>
                  <a:effectLst/>
                  <a:uLnTx/>
                  <a:uFillTx/>
                </a:rPr>
                <a:t> “name”:[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columns”:[String]</a:t>
              </a:r>
              <a:br>
                <a:rPr kumimoji="0" lang="en-US" sz="1400" b="0" i="0" u="none" strike="noStrike" kern="0" cap="none" spc="0" normalizeH="0" baseline="0" noProof="0" dirty="0">
                  <a:ln>
                    <a:noFill/>
                  </a:ln>
                  <a:solidFill>
                    <a:srgbClr val="EDC30D"/>
                  </a:solidFill>
                  <a:effectLst/>
                  <a:uLnTx/>
                  <a:uFillTx/>
                </a:rPr>
              </a:br>
              <a:r>
                <a:rPr kumimoji="0" lang="en-US" sz="1400" b="0" i="0" u="none" strike="noStrike" kern="0" cap="none" spc="0" normalizeH="0" baseline="0" noProof="0" dirty="0">
                  <a:ln>
                    <a:noFill/>
                  </a:ln>
                  <a:solidFill>
                    <a:srgbClr val="EDC30D"/>
                  </a:solidFill>
                  <a:effectLst/>
                  <a:uLnTx/>
                  <a:uFillTx/>
                </a:rPr>
                <a:t>“</a:t>
              </a:r>
              <a:r>
                <a:rPr kumimoji="0" lang="en-US" sz="1400" b="0" i="0" u="none" strike="noStrike" kern="0" cap="none" spc="0" normalizeH="0" baseline="0" noProof="0" dirty="0" err="1">
                  <a:ln>
                    <a:noFill/>
                  </a:ln>
                  <a:solidFill>
                    <a:srgbClr val="EDC30D"/>
                  </a:solidFill>
                  <a:effectLst/>
                  <a:uLnTx/>
                  <a:uFillTx/>
                </a:rPr>
                <a:t>daType</a:t>
              </a:r>
              <a:r>
                <a:rPr kumimoji="0" lang="en-US" sz="1400" b="0" i="0" u="none" strike="noStrike" kern="0" cap="none" spc="0" normalizeH="0" baseline="0" noProof="0" dirty="0">
                  <a:ln>
                    <a:noFill/>
                  </a:ln>
                  <a:solidFill>
                    <a:srgbClr val="EDC30D"/>
                  </a:solidFill>
                  <a:effectLst/>
                  <a:uLnTx/>
                  <a:uFillTx/>
                </a:rPr>
                <a:t>”:[String]</a:t>
              </a:r>
            </a:p>
          </p:txBody>
        </p:sp>
        <p:pic>
          <p:nvPicPr>
            <p:cNvPr id="92" name="Donut 59"/>
            <p:cNvPicPr>
              <a:picLocks noChangeAspect="1" noChangeArrowheads="1"/>
            </p:cNvPicPr>
            <p:nvPr/>
          </p:nvPicPr>
          <p:blipFill rotWithShape="1">
            <a:blip r:embed="rId3" cstate="print">
              <a:grayscl/>
              <a:extLst>
                <a:ext uri="{28A0092B-C50C-407E-A947-70E740481C1C}">
                  <a14:useLocalDpi xmlns:a14="http://schemas.microsoft.com/office/drawing/2010/main" val="0"/>
                </a:ext>
              </a:extLst>
            </a:blip>
            <a:srcRect t="20098" r="35911" b="22156"/>
            <a:stretch/>
          </p:blipFill>
          <p:spPr bwMode="auto">
            <a:xfrm>
              <a:off x="-652983" y="2736910"/>
              <a:ext cx="736636" cy="571311"/>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Text Placeholder 3"/>
          <p:cNvSpPr txBox="1">
            <a:spLocks/>
          </p:cNvSpPr>
          <p:nvPr/>
        </p:nvSpPr>
        <p:spPr>
          <a:xfrm>
            <a:off x="447675" y="5157115"/>
            <a:ext cx="2849060" cy="1690976"/>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dk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dk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dk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dk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dk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columns":[</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name":{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r>
              <a:rPr kumimoji="0" lang="en-US" sz="1400" b="0" i="0" u="none" strike="noStrike" kern="1200" cap="none" spc="0" normalizeH="0" baseline="0" noProof="0" dirty="0" err="1">
                <a:ln>
                  <a:noFill/>
                </a:ln>
                <a:solidFill>
                  <a:srgbClr val="EDC30D"/>
                </a:solidFill>
                <a:effectLst/>
                <a:uLnTx/>
                <a:uFillTx/>
                <a:latin typeface="+mn-lt"/>
                <a:ea typeface="+mn-ea"/>
                <a:cs typeface="+mn-cs"/>
              </a:rPr>
              <a:t>dataType</a:t>
            </a:r>
            <a:r>
              <a:rPr kumimoji="0" lang="en-US" sz="1400" b="0" i="0" u="none" strike="noStrike" kern="1200" cap="none" spc="0" normalizeH="0" baseline="0" noProof="0" dirty="0">
                <a:ln>
                  <a:noFill/>
                </a:ln>
                <a:solidFill>
                  <a:srgbClr val="EDC30D"/>
                </a:solidFill>
                <a:effectLst/>
                <a:uLnTx/>
                <a:uFillTx/>
                <a:latin typeface="+mn-lt"/>
                <a:ea typeface="+mn-ea"/>
                <a:cs typeface="+mn-cs"/>
              </a:rPr>
              <a:t>":{String}</a:t>
            </a:r>
          </a:p>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EDC30D"/>
                </a:solidFill>
                <a:effectLst/>
                <a:uLnTx/>
                <a:uFillTx/>
                <a:latin typeface="+mn-lt"/>
                <a:ea typeface="+mn-ea"/>
                <a:cs typeface="+mn-cs"/>
              </a:rPr>
              <a:t>            },</a:t>
            </a:r>
          </a:p>
        </p:txBody>
      </p:sp>
      <p:sp>
        <p:nvSpPr>
          <p:cNvPr id="4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marR="0" lvl="0" indent="0" defTabSz="914367" eaLnBrk="1" fontAlgn="auto" latinLnBrk="0" hangingPunct="1">
              <a:lnSpc>
                <a:spcPct val="90000"/>
              </a:lnSpc>
              <a:spcBef>
                <a:spcPct val="0"/>
              </a:spcBef>
              <a:spcAft>
                <a:spcPts val="0"/>
              </a:spcAft>
              <a:buClrTx/>
              <a:buSzTx/>
              <a:buFontTx/>
              <a:buNone/>
              <a:tabLst/>
              <a:defRPr/>
            </a:pPr>
            <a:r>
              <a:rPr lang="en-US" sz="3600" kern="0" dirty="0"/>
              <a:t>Test the Power BI REST APIs</a:t>
            </a:r>
            <a:endParaRPr kumimoji="0" lang="en-IN" sz="3600" b="0" i="0" u="none" strike="noStrike" kern="0" cap="none" spc="-100" normalizeH="0" baseline="0" noProof="0" dirty="0">
              <a:ln w="3175">
                <a:noFill/>
              </a:ln>
              <a:solidFill>
                <a:schemeClr val="tx1"/>
              </a:solidFill>
              <a:effectLst/>
              <a:uLnTx/>
              <a:uFillTx/>
              <a:latin typeface="+mj-lt"/>
              <a:cs typeface="Segoe UI" pitchFamily="34" charset="0"/>
            </a:endParaRPr>
          </a:p>
        </p:txBody>
      </p:sp>
      <p:sp>
        <p:nvSpPr>
          <p:cNvPr id="52" name="TextBox 51"/>
          <p:cNvSpPr txBox="1"/>
          <p:nvPr/>
        </p:nvSpPr>
        <p:spPr>
          <a:xfrm>
            <a:off x="-14343" y="-8888"/>
            <a:ext cx="2850524" cy="1071062"/>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2C812"/>
                </a:solidFill>
                <a:effectLst/>
                <a:uLnTx/>
                <a:uFillTx/>
                <a:latin typeface="Segoe UI Light"/>
              </a:rPr>
              <a:t>Power BI for Developers</a:t>
            </a:r>
          </a:p>
        </p:txBody>
      </p:sp>
      <p:pic>
        <p:nvPicPr>
          <p:cNvPr id="3" name="Picture 2"/>
          <p:cNvPicPr>
            <a:picLocks noChangeAspect="1"/>
          </p:cNvPicPr>
          <p:nvPr/>
        </p:nvPicPr>
        <p:blipFill>
          <a:blip r:embed="rId4"/>
          <a:stretch>
            <a:fillRect/>
          </a:stretch>
        </p:blipFill>
        <p:spPr>
          <a:xfrm>
            <a:off x="3362205" y="1123516"/>
            <a:ext cx="8344282" cy="4879087"/>
          </a:xfrm>
          <a:prstGeom prst="rect">
            <a:avLst/>
          </a:prstGeom>
          <a:effectLst>
            <a:outerShdw blurRad="50800" dist="38100" dir="2700000" algn="tl" rotWithShape="0">
              <a:prstClr val="black">
                <a:alpha val="40000"/>
              </a:prstClr>
            </a:outerShdw>
          </a:effectLst>
        </p:spPr>
      </p:pic>
      <p:sp>
        <p:nvSpPr>
          <p:cNvPr id="4" name="Rectangle 3"/>
          <p:cNvSpPr/>
          <p:nvPr/>
        </p:nvSpPr>
        <p:spPr>
          <a:xfrm>
            <a:off x="3296733" y="6067973"/>
            <a:ext cx="5073034" cy="523220"/>
          </a:xfrm>
          <a:prstGeom prst="rect">
            <a:avLst/>
          </a:prstGeom>
        </p:spPr>
        <p:txBody>
          <a:bodyPr wrap="square">
            <a:spAutoFit/>
          </a:bodyPr>
          <a:lstStyle/>
          <a:p>
            <a:r>
              <a:rPr lang="en-GB" sz="2800" dirty="0">
                <a:hlinkClick r:id="rId5"/>
              </a:rPr>
              <a:t>http://docs.powerbi.apiary.io/</a:t>
            </a:r>
            <a:r>
              <a:rPr lang="en-GB" sz="2800" dirty="0"/>
              <a:t>  </a:t>
            </a:r>
          </a:p>
        </p:txBody>
      </p:sp>
    </p:spTree>
    <p:extLst>
      <p:ext uri="{BB962C8B-B14F-4D97-AF65-F5344CB8AC3E}">
        <p14:creationId xmlns:p14="http://schemas.microsoft.com/office/powerpoint/2010/main" val="233634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 BI </a:t>
            </a:r>
            <a:r>
              <a:rPr lang="en-US" dirty="0">
                <a:solidFill>
                  <a:srgbClr val="282828"/>
                </a:solidFill>
                <a:latin typeface="Segoe UI Semibold" panose="020B0702040204020203" pitchFamily="34" charset="0"/>
                <a:cs typeface="Segoe UI Semibold" panose="020B0702040204020203" pitchFamily="34" charset="0"/>
              </a:rPr>
              <a:t>Embedded</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Bring data to life inside your app</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9"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2819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
          <p:cNvSpPr/>
          <p:nvPr/>
        </p:nvSpPr>
        <p:spPr>
          <a:xfrm>
            <a:off x="439079" y="2223109"/>
            <a:ext cx="11769659" cy="4634406"/>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45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14" name="Rectangle 3"/>
          <p:cNvSpPr/>
          <p:nvPr/>
        </p:nvSpPr>
        <p:spPr>
          <a:xfrm>
            <a:off x="439079" y="3301147"/>
            <a:ext cx="11769659" cy="3556365"/>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51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sp>
        <p:nvSpPr>
          <p:cNvPr id="15" name="Rectangle 3"/>
          <p:cNvSpPr/>
          <p:nvPr/>
        </p:nvSpPr>
        <p:spPr>
          <a:xfrm>
            <a:off x="439077" y="4444338"/>
            <a:ext cx="11769659" cy="2413173"/>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alpha val="52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sp>
        <p:nvSpPr>
          <p:cNvPr id="16" name="Rectangle 3"/>
          <p:cNvSpPr/>
          <p:nvPr/>
        </p:nvSpPr>
        <p:spPr>
          <a:xfrm>
            <a:off x="439077" y="5596603"/>
            <a:ext cx="11769659" cy="1260905"/>
          </a:xfrm>
          <a:custGeom>
            <a:avLst/>
            <a:gdLst>
              <a:gd name="connsiteX0" fmla="*/ 0 w 5459413"/>
              <a:gd name="connsiteY0" fmla="*/ 0 h 1116929"/>
              <a:gd name="connsiteX1" fmla="*/ 5459413 w 5459413"/>
              <a:gd name="connsiteY1" fmla="*/ 0 h 1116929"/>
              <a:gd name="connsiteX2" fmla="*/ 5459413 w 5459413"/>
              <a:gd name="connsiteY2" fmla="*/ 1116929 h 1116929"/>
              <a:gd name="connsiteX3" fmla="*/ 0 w 5459413"/>
              <a:gd name="connsiteY3" fmla="*/ 1116929 h 1116929"/>
              <a:gd name="connsiteX4" fmla="*/ 0 w 5459413"/>
              <a:gd name="connsiteY4" fmla="*/ 0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6929 h 1116929"/>
              <a:gd name="connsiteX1" fmla="*/ 5459413 w 5459413"/>
              <a:gd name="connsiteY1" fmla="*/ 0 h 1116929"/>
              <a:gd name="connsiteX2" fmla="*/ 5459413 w 5459413"/>
              <a:gd name="connsiteY2" fmla="*/ 1116929 h 1116929"/>
              <a:gd name="connsiteX3" fmla="*/ 0 w 5459413"/>
              <a:gd name="connsiteY3" fmla="*/ 1116929 h 1116929"/>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17005 h 1117005"/>
              <a:gd name="connsiteX1" fmla="*/ 5459413 w 5459413"/>
              <a:gd name="connsiteY1" fmla="*/ 76 h 1117005"/>
              <a:gd name="connsiteX2" fmla="*/ 5459413 w 5459413"/>
              <a:gd name="connsiteY2" fmla="*/ 1117005 h 1117005"/>
              <a:gd name="connsiteX3" fmla="*/ 0 w 5459413"/>
              <a:gd name="connsiteY3" fmla="*/ 1117005 h 1117005"/>
              <a:gd name="connsiteX0" fmla="*/ 0 w 5459413"/>
              <a:gd name="connsiteY0" fmla="*/ 1135824 h 1135824"/>
              <a:gd name="connsiteX1" fmla="*/ 5459413 w 5459413"/>
              <a:gd name="connsiteY1" fmla="*/ 18895 h 1135824"/>
              <a:gd name="connsiteX2" fmla="*/ 5459413 w 5459413"/>
              <a:gd name="connsiteY2" fmla="*/ 1135824 h 1135824"/>
              <a:gd name="connsiteX3" fmla="*/ 0 w 5459413"/>
              <a:gd name="connsiteY3" fmla="*/ 1135824 h 1135824"/>
            </a:gdLst>
            <a:ahLst/>
            <a:cxnLst>
              <a:cxn ang="0">
                <a:pos x="connsiteX0" y="connsiteY0"/>
              </a:cxn>
              <a:cxn ang="0">
                <a:pos x="connsiteX1" y="connsiteY1"/>
              </a:cxn>
              <a:cxn ang="0">
                <a:pos x="connsiteX2" y="connsiteY2"/>
              </a:cxn>
              <a:cxn ang="0">
                <a:pos x="connsiteX3" y="connsiteY3"/>
              </a:cxn>
            </a:cxnLst>
            <a:rect l="l" t="t" r="r" b="b"/>
            <a:pathLst>
              <a:path w="5459413" h="1135824">
                <a:moveTo>
                  <a:pt x="0" y="1135824"/>
                </a:moveTo>
                <a:cubicBezTo>
                  <a:pt x="2837721" y="1136176"/>
                  <a:pt x="2763166" y="-171238"/>
                  <a:pt x="5459413" y="18895"/>
                </a:cubicBezTo>
                <a:lnTo>
                  <a:pt x="5459413" y="1135824"/>
                </a:lnTo>
                <a:lnTo>
                  <a:pt x="0" y="1135824"/>
                </a:lnTo>
                <a:close/>
              </a:path>
            </a:pathLst>
          </a:custGeom>
          <a:solidFill>
            <a:schemeClr val="bg1">
              <a:lumMod val="50000"/>
            </a:schemeClr>
          </a:solidFill>
          <a:ln w="12700" cap="flat" cmpd="sng" algn="ctr">
            <a:noFill/>
            <a:prstDash val="solid"/>
            <a:miter lim="800000"/>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ndParaRPr>
          </a:p>
        </p:txBody>
      </p:sp>
      <p:grpSp>
        <p:nvGrpSpPr>
          <p:cNvPr id="356" name="Group 355"/>
          <p:cNvGrpSpPr/>
          <p:nvPr/>
        </p:nvGrpSpPr>
        <p:grpSpPr>
          <a:xfrm>
            <a:off x="439072" y="2184747"/>
            <a:ext cx="11769648" cy="4637265"/>
            <a:chOff x="1718830" y="2604045"/>
            <a:chExt cx="9524604" cy="3752713"/>
          </a:xfrm>
          <a:solidFill>
            <a:schemeClr val="bg1">
              <a:alpha val="14000"/>
            </a:schemeClr>
          </a:solidFill>
        </p:grpSpPr>
        <p:grpSp>
          <p:nvGrpSpPr>
            <p:cNvPr id="357" name="Group 356"/>
            <p:cNvGrpSpPr/>
            <p:nvPr/>
          </p:nvGrpSpPr>
          <p:grpSpPr>
            <a:xfrm>
              <a:off x="1718830" y="6177844"/>
              <a:ext cx="9472137" cy="178914"/>
              <a:chOff x="34439" y="3181226"/>
              <a:chExt cx="12103357" cy="228614"/>
            </a:xfrm>
            <a:grpFill/>
          </p:grpSpPr>
          <p:sp>
            <p:nvSpPr>
              <p:cNvPr id="556" name="Freeform 555"/>
              <p:cNvSpPr/>
              <p:nvPr/>
            </p:nvSpPr>
            <p:spPr>
              <a:xfrm>
                <a:off x="2250023" y="3184043"/>
                <a:ext cx="9270192" cy="222980"/>
              </a:xfrm>
              <a:custGeom>
                <a:avLst/>
                <a:gdLst>
                  <a:gd name="connsiteX0" fmla="*/ 9205705 w 9270192"/>
                  <a:gd name="connsiteY0" fmla="*/ 0 h 222980"/>
                  <a:gd name="connsiteX1" fmla="*/ 9250554 w 9270192"/>
                  <a:gd name="connsiteY1" fmla="*/ 39022 h 222980"/>
                  <a:gd name="connsiteX2" fmla="*/ 9250554 w 9270192"/>
                  <a:gd name="connsiteY2" fmla="*/ 75382 h 222980"/>
                  <a:gd name="connsiteX3" fmla="*/ 9270192 w 9270192"/>
                  <a:gd name="connsiteY3" fmla="*/ 102242 h 222980"/>
                  <a:gd name="connsiteX4" fmla="*/ 9270192 w 9270192"/>
                  <a:gd name="connsiteY4" fmla="*/ 120739 h 222980"/>
                  <a:gd name="connsiteX5" fmla="*/ 9250554 w 9270192"/>
                  <a:gd name="connsiteY5" fmla="*/ 147091 h 222980"/>
                  <a:gd name="connsiteX6" fmla="*/ 9250554 w 9270192"/>
                  <a:gd name="connsiteY6" fmla="*/ 184466 h 222980"/>
                  <a:gd name="connsiteX7" fmla="*/ 9205705 w 9270192"/>
                  <a:gd name="connsiteY7" fmla="*/ 222980 h 222980"/>
                  <a:gd name="connsiteX8" fmla="*/ 9205705 w 9270192"/>
                  <a:gd name="connsiteY8" fmla="*/ 203469 h 222980"/>
                  <a:gd name="connsiteX9" fmla="*/ 9221352 w 9270192"/>
                  <a:gd name="connsiteY9" fmla="*/ 197388 h 222980"/>
                  <a:gd name="connsiteX10" fmla="*/ 9225976 w 9270192"/>
                  <a:gd name="connsiteY10" fmla="*/ 178131 h 222980"/>
                  <a:gd name="connsiteX11" fmla="*/ 9225976 w 9270192"/>
                  <a:gd name="connsiteY11" fmla="*/ 142784 h 222980"/>
                  <a:gd name="connsiteX12" fmla="*/ 9250935 w 9270192"/>
                  <a:gd name="connsiteY12" fmla="*/ 111490 h 222980"/>
                  <a:gd name="connsiteX13" fmla="*/ 9250935 w 9270192"/>
                  <a:gd name="connsiteY13" fmla="*/ 111110 h 222980"/>
                  <a:gd name="connsiteX14" fmla="*/ 9225976 w 9270192"/>
                  <a:gd name="connsiteY14" fmla="*/ 79563 h 222980"/>
                  <a:gd name="connsiteX15" fmla="*/ 9225976 w 9270192"/>
                  <a:gd name="connsiteY15" fmla="*/ 43836 h 222980"/>
                  <a:gd name="connsiteX16" fmla="*/ 9205705 w 9270192"/>
                  <a:gd name="connsiteY16" fmla="*/ 19638 h 222980"/>
                  <a:gd name="connsiteX17" fmla="*/ 9188221 w 9270192"/>
                  <a:gd name="connsiteY17" fmla="*/ 0 h 222980"/>
                  <a:gd name="connsiteX18" fmla="*/ 9188221 w 9270192"/>
                  <a:gd name="connsiteY18" fmla="*/ 19638 h 222980"/>
                  <a:gd name="connsiteX19" fmla="*/ 9168077 w 9270192"/>
                  <a:gd name="connsiteY19" fmla="*/ 43836 h 222980"/>
                  <a:gd name="connsiteX20" fmla="*/ 9168077 w 9270192"/>
                  <a:gd name="connsiteY20" fmla="*/ 79563 h 222980"/>
                  <a:gd name="connsiteX21" fmla="*/ 9142865 w 9270192"/>
                  <a:gd name="connsiteY21" fmla="*/ 111110 h 222980"/>
                  <a:gd name="connsiteX22" fmla="*/ 9142865 w 9270192"/>
                  <a:gd name="connsiteY22" fmla="*/ 111490 h 222980"/>
                  <a:gd name="connsiteX23" fmla="*/ 9168077 w 9270192"/>
                  <a:gd name="connsiteY23" fmla="*/ 142784 h 222980"/>
                  <a:gd name="connsiteX24" fmla="*/ 9168077 w 9270192"/>
                  <a:gd name="connsiteY24" fmla="*/ 178131 h 222980"/>
                  <a:gd name="connsiteX25" fmla="*/ 9172575 w 9270192"/>
                  <a:gd name="connsiteY25" fmla="*/ 197451 h 222980"/>
                  <a:gd name="connsiteX26" fmla="*/ 9188221 w 9270192"/>
                  <a:gd name="connsiteY26" fmla="*/ 203469 h 222980"/>
                  <a:gd name="connsiteX27" fmla="*/ 9188221 w 9270192"/>
                  <a:gd name="connsiteY27" fmla="*/ 222980 h 222980"/>
                  <a:gd name="connsiteX28" fmla="*/ 9143118 w 9270192"/>
                  <a:gd name="connsiteY28" fmla="*/ 184466 h 222980"/>
                  <a:gd name="connsiteX29" fmla="*/ 9143118 w 9270192"/>
                  <a:gd name="connsiteY29" fmla="*/ 147091 h 222980"/>
                  <a:gd name="connsiteX30" fmla="*/ 9123354 w 9270192"/>
                  <a:gd name="connsiteY30" fmla="*/ 120739 h 222980"/>
                  <a:gd name="connsiteX31" fmla="*/ 9123354 w 9270192"/>
                  <a:gd name="connsiteY31" fmla="*/ 102242 h 222980"/>
                  <a:gd name="connsiteX32" fmla="*/ 9143118 w 9270192"/>
                  <a:gd name="connsiteY32" fmla="*/ 75382 h 222980"/>
                  <a:gd name="connsiteX33" fmla="*/ 9143118 w 9270192"/>
                  <a:gd name="connsiteY33" fmla="*/ 39022 h 222980"/>
                  <a:gd name="connsiteX34" fmla="*/ 9188221 w 9270192"/>
                  <a:gd name="connsiteY34" fmla="*/ 0 h 222980"/>
                  <a:gd name="connsiteX35" fmla="*/ 6147040 w 9270192"/>
                  <a:gd name="connsiteY35" fmla="*/ 0 h 222980"/>
                  <a:gd name="connsiteX36" fmla="*/ 6191889 w 9270192"/>
                  <a:gd name="connsiteY36" fmla="*/ 39022 h 222980"/>
                  <a:gd name="connsiteX37" fmla="*/ 6191889 w 9270192"/>
                  <a:gd name="connsiteY37" fmla="*/ 75382 h 222980"/>
                  <a:gd name="connsiteX38" fmla="*/ 6211527 w 9270192"/>
                  <a:gd name="connsiteY38" fmla="*/ 102242 h 222980"/>
                  <a:gd name="connsiteX39" fmla="*/ 6211527 w 9270192"/>
                  <a:gd name="connsiteY39" fmla="*/ 120739 h 222980"/>
                  <a:gd name="connsiteX40" fmla="*/ 6191889 w 9270192"/>
                  <a:gd name="connsiteY40" fmla="*/ 147091 h 222980"/>
                  <a:gd name="connsiteX41" fmla="*/ 6191889 w 9270192"/>
                  <a:gd name="connsiteY41" fmla="*/ 184466 h 222980"/>
                  <a:gd name="connsiteX42" fmla="*/ 6147040 w 9270192"/>
                  <a:gd name="connsiteY42" fmla="*/ 222980 h 222980"/>
                  <a:gd name="connsiteX43" fmla="*/ 6147040 w 9270192"/>
                  <a:gd name="connsiteY43" fmla="*/ 203469 h 222980"/>
                  <a:gd name="connsiteX44" fmla="*/ 6162687 w 9270192"/>
                  <a:gd name="connsiteY44" fmla="*/ 197388 h 222980"/>
                  <a:gd name="connsiteX45" fmla="*/ 6167311 w 9270192"/>
                  <a:gd name="connsiteY45" fmla="*/ 178131 h 222980"/>
                  <a:gd name="connsiteX46" fmla="*/ 6167311 w 9270192"/>
                  <a:gd name="connsiteY46" fmla="*/ 142784 h 222980"/>
                  <a:gd name="connsiteX47" fmla="*/ 6192270 w 9270192"/>
                  <a:gd name="connsiteY47" fmla="*/ 111490 h 222980"/>
                  <a:gd name="connsiteX48" fmla="*/ 6192270 w 9270192"/>
                  <a:gd name="connsiteY48" fmla="*/ 111110 h 222980"/>
                  <a:gd name="connsiteX49" fmla="*/ 6167311 w 9270192"/>
                  <a:gd name="connsiteY49" fmla="*/ 79563 h 222980"/>
                  <a:gd name="connsiteX50" fmla="*/ 6167311 w 9270192"/>
                  <a:gd name="connsiteY50" fmla="*/ 43836 h 222980"/>
                  <a:gd name="connsiteX51" fmla="*/ 6147040 w 9270192"/>
                  <a:gd name="connsiteY51" fmla="*/ 19638 h 222980"/>
                  <a:gd name="connsiteX52" fmla="*/ 6129556 w 9270192"/>
                  <a:gd name="connsiteY52" fmla="*/ 0 h 222980"/>
                  <a:gd name="connsiteX53" fmla="*/ 6129556 w 9270192"/>
                  <a:gd name="connsiteY53" fmla="*/ 19638 h 222980"/>
                  <a:gd name="connsiteX54" fmla="*/ 6109412 w 9270192"/>
                  <a:gd name="connsiteY54" fmla="*/ 43836 h 222980"/>
                  <a:gd name="connsiteX55" fmla="*/ 6109412 w 9270192"/>
                  <a:gd name="connsiteY55" fmla="*/ 79563 h 222980"/>
                  <a:gd name="connsiteX56" fmla="*/ 6084200 w 9270192"/>
                  <a:gd name="connsiteY56" fmla="*/ 111110 h 222980"/>
                  <a:gd name="connsiteX57" fmla="*/ 6084200 w 9270192"/>
                  <a:gd name="connsiteY57" fmla="*/ 111490 h 222980"/>
                  <a:gd name="connsiteX58" fmla="*/ 6109412 w 9270192"/>
                  <a:gd name="connsiteY58" fmla="*/ 142784 h 222980"/>
                  <a:gd name="connsiteX59" fmla="*/ 6109412 w 9270192"/>
                  <a:gd name="connsiteY59" fmla="*/ 178131 h 222980"/>
                  <a:gd name="connsiteX60" fmla="*/ 6113910 w 9270192"/>
                  <a:gd name="connsiteY60" fmla="*/ 197451 h 222980"/>
                  <a:gd name="connsiteX61" fmla="*/ 6129556 w 9270192"/>
                  <a:gd name="connsiteY61" fmla="*/ 203469 h 222980"/>
                  <a:gd name="connsiteX62" fmla="*/ 6129556 w 9270192"/>
                  <a:gd name="connsiteY62" fmla="*/ 222980 h 222980"/>
                  <a:gd name="connsiteX63" fmla="*/ 6084454 w 9270192"/>
                  <a:gd name="connsiteY63" fmla="*/ 184466 h 222980"/>
                  <a:gd name="connsiteX64" fmla="*/ 6084454 w 9270192"/>
                  <a:gd name="connsiteY64" fmla="*/ 147091 h 222980"/>
                  <a:gd name="connsiteX65" fmla="*/ 6064689 w 9270192"/>
                  <a:gd name="connsiteY65" fmla="*/ 120739 h 222980"/>
                  <a:gd name="connsiteX66" fmla="*/ 6064689 w 9270192"/>
                  <a:gd name="connsiteY66" fmla="*/ 102242 h 222980"/>
                  <a:gd name="connsiteX67" fmla="*/ 6084454 w 9270192"/>
                  <a:gd name="connsiteY67" fmla="*/ 75382 h 222980"/>
                  <a:gd name="connsiteX68" fmla="*/ 6084454 w 9270192"/>
                  <a:gd name="connsiteY68" fmla="*/ 39022 h 222980"/>
                  <a:gd name="connsiteX69" fmla="*/ 6129556 w 9270192"/>
                  <a:gd name="connsiteY69" fmla="*/ 0 h 222980"/>
                  <a:gd name="connsiteX70" fmla="*/ 3141038 w 9270192"/>
                  <a:gd name="connsiteY70" fmla="*/ 0 h 222980"/>
                  <a:gd name="connsiteX71" fmla="*/ 3185888 w 9270192"/>
                  <a:gd name="connsiteY71" fmla="*/ 39022 h 222980"/>
                  <a:gd name="connsiteX72" fmla="*/ 3185888 w 9270192"/>
                  <a:gd name="connsiteY72" fmla="*/ 75382 h 222980"/>
                  <a:gd name="connsiteX73" fmla="*/ 3205525 w 9270192"/>
                  <a:gd name="connsiteY73" fmla="*/ 102242 h 222980"/>
                  <a:gd name="connsiteX74" fmla="*/ 3205525 w 9270192"/>
                  <a:gd name="connsiteY74" fmla="*/ 120739 h 222980"/>
                  <a:gd name="connsiteX75" fmla="*/ 3185888 w 9270192"/>
                  <a:gd name="connsiteY75" fmla="*/ 147091 h 222980"/>
                  <a:gd name="connsiteX76" fmla="*/ 3185888 w 9270192"/>
                  <a:gd name="connsiteY76" fmla="*/ 184466 h 222980"/>
                  <a:gd name="connsiteX77" fmla="*/ 3141038 w 9270192"/>
                  <a:gd name="connsiteY77" fmla="*/ 222980 h 222980"/>
                  <a:gd name="connsiteX78" fmla="*/ 3141038 w 9270192"/>
                  <a:gd name="connsiteY78" fmla="*/ 203469 h 222980"/>
                  <a:gd name="connsiteX79" fmla="*/ 3156685 w 9270192"/>
                  <a:gd name="connsiteY79" fmla="*/ 197388 h 222980"/>
                  <a:gd name="connsiteX80" fmla="*/ 3161309 w 9270192"/>
                  <a:gd name="connsiteY80" fmla="*/ 178131 h 222980"/>
                  <a:gd name="connsiteX81" fmla="*/ 3161309 w 9270192"/>
                  <a:gd name="connsiteY81" fmla="*/ 142784 h 222980"/>
                  <a:gd name="connsiteX82" fmla="*/ 3186268 w 9270192"/>
                  <a:gd name="connsiteY82" fmla="*/ 111490 h 222980"/>
                  <a:gd name="connsiteX83" fmla="*/ 3186268 w 9270192"/>
                  <a:gd name="connsiteY83" fmla="*/ 111110 h 222980"/>
                  <a:gd name="connsiteX84" fmla="*/ 3161309 w 9270192"/>
                  <a:gd name="connsiteY84" fmla="*/ 79563 h 222980"/>
                  <a:gd name="connsiteX85" fmla="*/ 3161309 w 9270192"/>
                  <a:gd name="connsiteY85" fmla="*/ 43836 h 222980"/>
                  <a:gd name="connsiteX86" fmla="*/ 3141038 w 9270192"/>
                  <a:gd name="connsiteY86" fmla="*/ 19638 h 222980"/>
                  <a:gd name="connsiteX87" fmla="*/ 3123554 w 9270192"/>
                  <a:gd name="connsiteY87" fmla="*/ 0 h 222980"/>
                  <a:gd name="connsiteX88" fmla="*/ 3123554 w 9270192"/>
                  <a:gd name="connsiteY88" fmla="*/ 19638 h 222980"/>
                  <a:gd name="connsiteX89" fmla="*/ 3103410 w 9270192"/>
                  <a:gd name="connsiteY89" fmla="*/ 43836 h 222980"/>
                  <a:gd name="connsiteX90" fmla="*/ 3103410 w 9270192"/>
                  <a:gd name="connsiteY90" fmla="*/ 79563 h 222980"/>
                  <a:gd name="connsiteX91" fmla="*/ 3078198 w 9270192"/>
                  <a:gd name="connsiteY91" fmla="*/ 111110 h 222980"/>
                  <a:gd name="connsiteX92" fmla="*/ 3078198 w 9270192"/>
                  <a:gd name="connsiteY92" fmla="*/ 111490 h 222980"/>
                  <a:gd name="connsiteX93" fmla="*/ 3103410 w 9270192"/>
                  <a:gd name="connsiteY93" fmla="*/ 142784 h 222980"/>
                  <a:gd name="connsiteX94" fmla="*/ 3103410 w 9270192"/>
                  <a:gd name="connsiteY94" fmla="*/ 178131 h 222980"/>
                  <a:gd name="connsiteX95" fmla="*/ 3107908 w 9270192"/>
                  <a:gd name="connsiteY95" fmla="*/ 197451 h 222980"/>
                  <a:gd name="connsiteX96" fmla="*/ 3123554 w 9270192"/>
                  <a:gd name="connsiteY96" fmla="*/ 203469 h 222980"/>
                  <a:gd name="connsiteX97" fmla="*/ 3123554 w 9270192"/>
                  <a:gd name="connsiteY97" fmla="*/ 222980 h 222980"/>
                  <a:gd name="connsiteX98" fmla="*/ 3078452 w 9270192"/>
                  <a:gd name="connsiteY98" fmla="*/ 184466 h 222980"/>
                  <a:gd name="connsiteX99" fmla="*/ 3078452 w 9270192"/>
                  <a:gd name="connsiteY99" fmla="*/ 147091 h 222980"/>
                  <a:gd name="connsiteX100" fmla="*/ 3058687 w 9270192"/>
                  <a:gd name="connsiteY100" fmla="*/ 120739 h 222980"/>
                  <a:gd name="connsiteX101" fmla="*/ 3058687 w 9270192"/>
                  <a:gd name="connsiteY101" fmla="*/ 102242 h 222980"/>
                  <a:gd name="connsiteX102" fmla="*/ 3078452 w 9270192"/>
                  <a:gd name="connsiteY102" fmla="*/ 75382 h 222980"/>
                  <a:gd name="connsiteX103" fmla="*/ 3078452 w 9270192"/>
                  <a:gd name="connsiteY103" fmla="*/ 39022 h 222980"/>
                  <a:gd name="connsiteX104" fmla="*/ 3123554 w 9270192"/>
                  <a:gd name="connsiteY104" fmla="*/ 0 h 222980"/>
                  <a:gd name="connsiteX105" fmla="*/ 82351 w 9270192"/>
                  <a:gd name="connsiteY105" fmla="*/ 0 h 222980"/>
                  <a:gd name="connsiteX106" fmla="*/ 127200 w 9270192"/>
                  <a:gd name="connsiteY106" fmla="*/ 39022 h 222980"/>
                  <a:gd name="connsiteX107" fmla="*/ 127200 w 9270192"/>
                  <a:gd name="connsiteY107" fmla="*/ 75382 h 222980"/>
                  <a:gd name="connsiteX108" fmla="*/ 146838 w 9270192"/>
                  <a:gd name="connsiteY108" fmla="*/ 102242 h 222980"/>
                  <a:gd name="connsiteX109" fmla="*/ 146838 w 9270192"/>
                  <a:gd name="connsiteY109" fmla="*/ 120739 h 222980"/>
                  <a:gd name="connsiteX110" fmla="*/ 127200 w 9270192"/>
                  <a:gd name="connsiteY110" fmla="*/ 147091 h 222980"/>
                  <a:gd name="connsiteX111" fmla="*/ 127200 w 9270192"/>
                  <a:gd name="connsiteY111" fmla="*/ 184466 h 222980"/>
                  <a:gd name="connsiteX112" fmla="*/ 82351 w 9270192"/>
                  <a:gd name="connsiteY112" fmla="*/ 222980 h 222980"/>
                  <a:gd name="connsiteX113" fmla="*/ 82351 w 9270192"/>
                  <a:gd name="connsiteY113" fmla="*/ 203469 h 222980"/>
                  <a:gd name="connsiteX114" fmla="*/ 97998 w 9270192"/>
                  <a:gd name="connsiteY114" fmla="*/ 197388 h 222980"/>
                  <a:gd name="connsiteX115" fmla="*/ 102622 w 9270192"/>
                  <a:gd name="connsiteY115" fmla="*/ 178131 h 222980"/>
                  <a:gd name="connsiteX116" fmla="*/ 102622 w 9270192"/>
                  <a:gd name="connsiteY116" fmla="*/ 142784 h 222980"/>
                  <a:gd name="connsiteX117" fmla="*/ 127580 w 9270192"/>
                  <a:gd name="connsiteY117" fmla="*/ 111490 h 222980"/>
                  <a:gd name="connsiteX118" fmla="*/ 127580 w 9270192"/>
                  <a:gd name="connsiteY118" fmla="*/ 111110 h 222980"/>
                  <a:gd name="connsiteX119" fmla="*/ 102622 w 9270192"/>
                  <a:gd name="connsiteY119" fmla="*/ 79563 h 222980"/>
                  <a:gd name="connsiteX120" fmla="*/ 102622 w 9270192"/>
                  <a:gd name="connsiteY120" fmla="*/ 43836 h 222980"/>
                  <a:gd name="connsiteX121" fmla="*/ 82351 w 9270192"/>
                  <a:gd name="connsiteY121" fmla="*/ 19638 h 222980"/>
                  <a:gd name="connsiteX122" fmla="*/ 64867 w 9270192"/>
                  <a:gd name="connsiteY122" fmla="*/ 0 h 222980"/>
                  <a:gd name="connsiteX123" fmla="*/ 64867 w 9270192"/>
                  <a:gd name="connsiteY123" fmla="*/ 19638 h 222980"/>
                  <a:gd name="connsiteX124" fmla="*/ 44723 w 9270192"/>
                  <a:gd name="connsiteY124" fmla="*/ 43836 h 222980"/>
                  <a:gd name="connsiteX125" fmla="*/ 44723 w 9270192"/>
                  <a:gd name="connsiteY125" fmla="*/ 79563 h 222980"/>
                  <a:gd name="connsiteX126" fmla="*/ 19511 w 9270192"/>
                  <a:gd name="connsiteY126" fmla="*/ 111110 h 222980"/>
                  <a:gd name="connsiteX127" fmla="*/ 19511 w 9270192"/>
                  <a:gd name="connsiteY127" fmla="*/ 111490 h 222980"/>
                  <a:gd name="connsiteX128" fmla="*/ 44723 w 9270192"/>
                  <a:gd name="connsiteY128" fmla="*/ 142784 h 222980"/>
                  <a:gd name="connsiteX129" fmla="*/ 44723 w 9270192"/>
                  <a:gd name="connsiteY129" fmla="*/ 178131 h 222980"/>
                  <a:gd name="connsiteX130" fmla="*/ 49221 w 9270192"/>
                  <a:gd name="connsiteY130" fmla="*/ 197451 h 222980"/>
                  <a:gd name="connsiteX131" fmla="*/ 64867 w 9270192"/>
                  <a:gd name="connsiteY131" fmla="*/ 203469 h 222980"/>
                  <a:gd name="connsiteX132" fmla="*/ 64867 w 9270192"/>
                  <a:gd name="connsiteY132" fmla="*/ 222980 h 222980"/>
                  <a:gd name="connsiteX133" fmla="*/ 19765 w 9270192"/>
                  <a:gd name="connsiteY133" fmla="*/ 184466 h 222980"/>
                  <a:gd name="connsiteX134" fmla="*/ 19765 w 9270192"/>
                  <a:gd name="connsiteY134" fmla="*/ 147091 h 222980"/>
                  <a:gd name="connsiteX135" fmla="*/ 0 w 9270192"/>
                  <a:gd name="connsiteY135" fmla="*/ 120739 h 222980"/>
                  <a:gd name="connsiteX136" fmla="*/ 0 w 9270192"/>
                  <a:gd name="connsiteY136" fmla="*/ 102242 h 222980"/>
                  <a:gd name="connsiteX137" fmla="*/ 19765 w 9270192"/>
                  <a:gd name="connsiteY137" fmla="*/ 75382 h 222980"/>
                  <a:gd name="connsiteX138" fmla="*/ 19765 w 9270192"/>
                  <a:gd name="connsiteY138" fmla="*/ 39022 h 222980"/>
                  <a:gd name="connsiteX139" fmla="*/ 64867 w 9270192"/>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270192" h="222980">
                    <a:moveTo>
                      <a:pt x="9205705" y="0"/>
                    </a:moveTo>
                    <a:cubicBezTo>
                      <a:pt x="9235605" y="338"/>
                      <a:pt x="9250554" y="13345"/>
                      <a:pt x="9250554" y="39022"/>
                    </a:cubicBezTo>
                    <a:lnTo>
                      <a:pt x="9250554" y="75382"/>
                    </a:lnTo>
                    <a:cubicBezTo>
                      <a:pt x="9250554" y="92444"/>
                      <a:pt x="9257100" y="101397"/>
                      <a:pt x="9270192" y="102242"/>
                    </a:cubicBezTo>
                    <a:lnTo>
                      <a:pt x="9270192" y="120739"/>
                    </a:lnTo>
                    <a:cubicBezTo>
                      <a:pt x="9257100" y="121583"/>
                      <a:pt x="9250554" y="130367"/>
                      <a:pt x="9250554" y="147091"/>
                    </a:cubicBezTo>
                    <a:lnTo>
                      <a:pt x="9250554" y="184466"/>
                    </a:lnTo>
                    <a:cubicBezTo>
                      <a:pt x="9250554" y="209804"/>
                      <a:pt x="9235605" y="222642"/>
                      <a:pt x="9205705" y="222980"/>
                    </a:cubicBezTo>
                    <a:lnTo>
                      <a:pt x="9205705" y="203469"/>
                    </a:lnTo>
                    <a:cubicBezTo>
                      <a:pt x="9213053" y="203300"/>
                      <a:pt x="9218269" y="201274"/>
                      <a:pt x="9221352" y="197388"/>
                    </a:cubicBezTo>
                    <a:cubicBezTo>
                      <a:pt x="9224434" y="193503"/>
                      <a:pt x="9225976" y="187084"/>
                      <a:pt x="9225976" y="178131"/>
                    </a:cubicBezTo>
                    <a:lnTo>
                      <a:pt x="9225976" y="142784"/>
                    </a:lnTo>
                    <a:cubicBezTo>
                      <a:pt x="9225976" y="125638"/>
                      <a:pt x="9234296" y="115207"/>
                      <a:pt x="9250935" y="111490"/>
                    </a:cubicBezTo>
                    <a:lnTo>
                      <a:pt x="9250935" y="111110"/>
                    </a:lnTo>
                    <a:cubicBezTo>
                      <a:pt x="9234296" y="107140"/>
                      <a:pt x="9225976" y="96625"/>
                      <a:pt x="9225976" y="79563"/>
                    </a:cubicBezTo>
                    <a:lnTo>
                      <a:pt x="9225976" y="43836"/>
                    </a:lnTo>
                    <a:cubicBezTo>
                      <a:pt x="9225976" y="28041"/>
                      <a:pt x="9219219" y="19975"/>
                      <a:pt x="9205705" y="19638"/>
                    </a:cubicBezTo>
                    <a:close/>
                    <a:moveTo>
                      <a:pt x="9188221" y="0"/>
                    </a:moveTo>
                    <a:lnTo>
                      <a:pt x="9188221" y="19638"/>
                    </a:lnTo>
                    <a:cubicBezTo>
                      <a:pt x="9174792" y="19975"/>
                      <a:pt x="9168077" y="28041"/>
                      <a:pt x="9168077" y="43836"/>
                    </a:cubicBezTo>
                    <a:lnTo>
                      <a:pt x="9168077" y="79563"/>
                    </a:lnTo>
                    <a:cubicBezTo>
                      <a:pt x="9168077" y="96625"/>
                      <a:pt x="9159673" y="107140"/>
                      <a:pt x="9142865" y="111110"/>
                    </a:cubicBezTo>
                    <a:lnTo>
                      <a:pt x="9142865" y="111490"/>
                    </a:lnTo>
                    <a:cubicBezTo>
                      <a:pt x="9159673" y="115207"/>
                      <a:pt x="9168077" y="125638"/>
                      <a:pt x="9168077" y="142784"/>
                    </a:cubicBezTo>
                    <a:lnTo>
                      <a:pt x="9168077" y="178131"/>
                    </a:lnTo>
                    <a:cubicBezTo>
                      <a:pt x="9168077" y="187168"/>
                      <a:pt x="9169576" y="193608"/>
                      <a:pt x="9172575" y="197451"/>
                    </a:cubicBezTo>
                    <a:cubicBezTo>
                      <a:pt x="9175573" y="201294"/>
                      <a:pt x="9180788" y="203300"/>
                      <a:pt x="9188221" y="203469"/>
                    </a:cubicBezTo>
                    <a:lnTo>
                      <a:pt x="9188221" y="222980"/>
                    </a:lnTo>
                    <a:cubicBezTo>
                      <a:pt x="9158152" y="222642"/>
                      <a:pt x="9143118" y="209804"/>
                      <a:pt x="9143118" y="184466"/>
                    </a:cubicBezTo>
                    <a:lnTo>
                      <a:pt x="9143118" y="147091"/>
                    </a:lnTo>
                    <a:cubicBezTo>
                      <a:pt x="9143118" y="130367"/>
                      <a:pt x="9136530" y="121583"/>
                      <a:pt x="9123354" y="120739"/>
                    </a:cubicBezTo>
                    <a:lnTo>
                      <a:pt x="9123354" y="102242"/>
                    </a:lnTo>
                    <a:cubicBezTo>
                      <a:pt x="9136530" y="101397"/>
                      <a:pt x="9143118" y="92444"/>
                      <a:pt x="9143118" y="75382"/>
                    </a:cubicBezTo>
                    <a:lnTo>
                      <a:pt x="9143118" y="39022"/>
                    </a:lnTo>
                    <a:cubicBezTo>
                      <a:pt x="9143118" y="13345"/>
                      <a:pt x="9158152" y="338"/>
                      <a:pt x="9188221" y="0"/>
                    </a:cubicBezTo>
                    <a:close/>
                    <a:moveTo>
                      <a:pt x="6147040" y="0"/>
                    </a:moveTo>
                    <a:cubicBezTo>
                      <a:pt x="6176940" y="338"/>
                      <a:pt x="6191889" y="13345"/>
                      <a:pt x="6191889" y="39022"/>
                    </a:cubicBezTo>
                    <a:lnTo>
                      <a:pt x="6191889" y="75382"/>
                    </a:lnTo>
                    <a:cubicBezTo>
                      <a:pt x="6191889" y="92444"/>
                      <a:pt x="6198435" y="101397"/>
                      <a:pt x="6211527" y="102242"/>
                    </a:cubicBezTo>
                    <a:lnTo>
                      <a:pt x="6211527" y="120739"/>
                    </a:lnTo>
                    <a:cubicBezTo>
                      <a:pt x="6198435" y="121583"/>
                      <a:pt x="6191889" y="130367"/>
                      <a:pt x="6191889" y="147091"/>
                    </a:cubicBezTo>
                    <a:lnTo>
                      <a:pt x="6191889" y="184466"/>
                    </a:lnTo>
                    <a:cubicBezTo>
                      <a:pt x="6191889" y="209804"/>
                      <a:pt x="6176940" y="222642"/>
                      <a:pt x="6147040" y="222980"/>
                    </a:cubicBezTo>
                    <a:lnTo>
                      <a:pt x="6147040" y="203469"/>
                    </a:lnTo>
                    <a:cubicBezTo>
                      <a:pt x="6154388" y="203300"/>
                      <a:pt x="6159604" y="201274"/>
                      <a:pt x="6162687" y="197388"/>
                    </a:cubicBezTo>
                    <a:cubicBezTo>
                      <a:pt x="6165769" y="193503"/>
                      <a:pt x="6167311" y="187084"/>
                      <a:pt x="6167311" y="178131"/>
                    </a:cubicBezTo>
                    <a:lnTo>
                      <a:pt x="6167311" y="142784"/>
                    </a:lnTo>
                    <a:cubicBezTo>
                      <a:pt x="6167311" y="125638"/>
                      <a:pt x="6175631" y="115207"/>
                      <a:pt x="6192270" y="111490"/>
                    </a:cubicBezTo>
                    <a:lnTo>
                      <a:pt x="6192270" y="111110"/>
                    </a:lnTo>
                    <a:cubicBezTo>
                      <a:pt x="6175631" y="107140"/>
                      <a:pt x="6167311" y="96625"/>
                      <a:pt x="6167311" y="79563"/>
                    </a:cubicBezTo>
                    <a:lnTo>
                      <a:pt x="6167311" y="43836"/>
                    </a:lnTo>
                    <a:cubicBezTo>
                      <a:pt x="6167311" y="28041"/>
                      <a:pt x="6160554" y="19975"/>
                      <a:pt x="6147040" y="19638"/>
                    </a:cubicBezTo>
                    <a:close/>
                    <a:moveTo>
                      <a:pt x="6129556" y="0"/>
                    </a:moveTo>
                    <a:lnTo>
                      <a:pt x="6129556" y="19638"/>
                    </a:lnTo>
                    <a:cubicBezTo>
                      <a:pt x="6116127" y="19975"/>
                      <a:pt x="6109412" y="28041"/>
                      <a:pt x="6109412" y="43836"/>
                    </a:cubicBezTo>
                    <a:lnTo>
                      <a:pt x="6109412" y="79563"/>
                    </a:lnTo>
                    <a:cubicBezTo>
                      <a:pt x="6109412" y="96625"/>
                      <a:pt x="6101008" y="107140"/>
                      <a:pt x="6084200" y="111110"/>
                    </a:cubicBezTo>
                    <a:lnTo>
                      <a:pt x="6084200" y="111490"/>
                    </a:lnTo>
                    <a:cubicBezTo>
                      <a:pt x="6101008" y="115207"/>
                      <a:pt x="6109412" y="125638"/>
                      <a:pt x="6109412" y="142784"/>
                    </a:cubicBezTo>
                    <a:lnTo>
                      <a:pt x="6109412" y="178131"/>
                    </a:lnTo>
                    <a:cubicBezTo>
                      <a:pt x="6109412" y="187168"/>
                      <a:pt x="6110911" y="193608"/>
                      <a:pt x="6113910" y="197451"/>
                    </a:cubicBezTo>
                    <a:cubicBezTo>
                      <a:pt x="6116908" y="201294"/>
                      <a:pt x="6122124" y="203300"/>
                      <a:pt x="6129556" y="203469"/>
                    </a:cubicBezTo>
                    <a:lnTo>
                      <a:pt x="6129556" y="222980"/>
                    </a:lnTo>
                    <a:cubicBezTo>
                      <a:pt x="6099488" y="222642"/>
                      <a:pt x="6084454" y="209804"/>
                      <a:pt x="6084454" y="184466"/>
                    </a:cubicBezTo>
                    <a:lnTo>
                      <a:pt x="6084454" y="147091"/>
                    </a:lnTo>
                    <a:cubicBezTo>
                      <a:pt x="6084454" y="130367"/>
                      <a:pt x="6077865" y="121583"/>
                      <a:pt x="6064689" y="120739"/>
                    </a:cubicBezTo>
                    <a:lnTo>
                      <a:pt x="6064689" y="102242"/>
                    </a:lnTo>
                    <a:cubicBezTo>
                      <a:pt x="6077865" y="101397"/>
                      <a:pt x="6084454" y="92444"/>
                      <a:pt x="6084454" y="75382"/>
                    </a:cubicBezTo>
                    <a:lnTo>
                      <a:pt x="6084454" y="39022"/>
                    </a:lnTo>
                    <a:cubicBezTo>
                      <a:pt x="6084454" y="13345"/>
                      <a:pt x="6099488" y="338"/>
                      <a:pt x="6129556" y="0"/>
                    </a:cubicBezTo>
                    <a:close/>
                    <a:moveTo>
                      <a:pt x="3141038" y="0"/>
                    </a:moveTo>
                    <a:cubicBezTo>
                      <a:pt x="3170938" y="338"/>
                      <a:pt x="3185888" y="13345"/>
                      <a:pt x="3185888" y="39022"/>
                    </a:cubicBezTo>
                    <a:lnTo>
                      <a:pt x="3185888" y="75382"/>
                    </a:lnTo>
                    <a:cubicBezTo>
                      <a:pt x="3185888" y="92444"/>
                      <a:pt x="3192434" y="101397"/>
                      <a:pt x="3205525" y="102242"/>
                    </a:cubicBezTo>
                    <a:lnTo>
                      <a:pt x="3205525" y="120739"/>
                    </a:lnTo>
                    <a:cubicBezTo>
                      <a:pt x="3192434" y="121583"/>
                      <a:pt x="3185888" y="130367"/>
                      <a:pt x="3185888" y="147091"/>
                    </a:cubicBezTo>
                    <a:lnTo>
                      <a:pt x="3185888" y="184466"/>
                    </a:lnTo>
                    <a:cubicBezTo>
                      <a:pt x="3185888" y="209804"/>
                      <a:pt x="3170938" y="222642"/>
                      <a:pt x="3141038" y="222980"/>
                    </a:cubicBezTo>
                    <a:lnTo>
                      <a:pt x="3141038" y="203469"/>
                    </a:lnTo>
                    <a:cubicBezTo>
                      <a:pt x="3148387" y="203300"/>
                      <a:pt x="3153602" y="201274"/>
                      <a:pt x="3156685" y="197388"/>
                    </a:cubicBezTo>
                    <a:cubicBezTo>
                      <a:pt x="3159768" y="193503"/>
                      <a:pt x="3161309" y="187084"/>
                      <a:pt x="3161309" y="178131"/>
                    </a:cubicBezTo>
                    <a:lnTo>
                      <a:pt x="3161309" y="142784"/>
                    </a:lnTo>
                    <a:cubicBezTo>
                      <a:pt x="3161309" y="125638"/>
                      <a:pt x="3169629" y="115207"/>
                      <a:pt x="3186268" y="111490"/>
                    </a:cubicBezTo>
                    <a:lnTo>
                      <a:pt x="3186268" y="111110"/>
                    </a:lnTo>
                    <a:cubicBezTo>
                      <a:pt x="3169629" y="107140"/>
                      <a:pt x="3161309" y="96625"/>
                      <a:pt x="3161309" y="79563"/>
                    </a:cubicBezTo>
                    <a:lnTo>
                      <a:pt x="3161309" y="43836"/>
                    </a:lnTo>
                    <a:cubicBezTo>
                      <a:pt x="3161309" y="28041"/>
                      <a:pt x="3154552" y="19975"/>
                      <a:pt x="3141038" y="19638"/>
                    </a:cubicBezTo>
                    <a:close/>
                    <a:moveTo>
                      <a:pt x="3123554" y="0"/>
                    </a:moveTo>
                    <a:lnTo>
                      <a:pt x="3123554" y="19638"/>
                    </a:lnTo>
                    <a:cubicBezTo>
                      <a:pt x="3110125" y="19975"/>
                      <a:pt x="3103410" y="28041"/>
                      <a:pt x="3103410" y="43836"/>
                    </a:cubicBezTo>
                    <a:lnTo>
                      <a:pt x="3103410" y="79563"/>
                    </a:lnTo>
                    <a:cubicBezTo>
                      <a:pt x="3103410" y="96625"/>
                      <a:pt x="3095006" y="107140"/>
                      <a:pt x="3078198" y="111110"/>
                    </a:cubicBezTo>
                    <a:lnTo>
                      <a:pt x="3078198" y="111490"/>
                    </a:lnTo>
                    <a:cubicBezTo>
                      <a:pt x="3095006" y="115207"/>
                      <a:pt x="3103410" y="125638"/>
                      <a:pt x="3103410" y="142784"/>
                    </a:cubicBezTo>
                    <a:lnTo>
                      <a:pt x="3103410" y="178131"/>
                    </a:lnTo>
                    <a:cubicBezTo>
                      <a:pt x="3103410" y="187168"/>
                      <a:pt x="3104909" y="193608"/>
                      <a:pt x="3107908" y="197451"/>
                    </a:cubicBezTo>
                    <a:cubicBezTo>
                      <a:pt x="3110906" y="201294"/>
                      <a:pt x="3116122" y="203300"/>
                      <a:pt x="3123554" y="203469"/>
                    </a:cubicBezTo>
                    <a:lnTo>
                      <a:pt x="3123554" y="222980"/>
                    </a:lnTo>
                    <a:cubicBezTo>
                      <a:pt x="3093486" y="222642"/>
                      <a:pt x="3078452" y="209804"/>
                      <a:pt x="3078452" y="184466"/>
                    </a:cubicBezTo>
                    <a:lnTo>
                      <a:pt x="3078452" y="147091"/>
                    </a:lnTo>
                    <a:cubicBezTo>
                      <a:pt x="3078452" y="130367"/>
                      <a:pt x="3071863" y="121583"/>
                      <a:pt x="3058687" y="120739"/>
                    </a:cubicBezTo>
                    <a:lnTo>
                      <a:pt x="3058687" y="102242"/>
                    </a:lnTo>
                    <a:cubicBezTo>
                      <a:pt x="3071863" y="101397"/>
                      <a:pt x="3078452" y="92444"/>
                      <a:pt x="3078452" y="75382"/>
                    </a:cubicBezTo>
                    <a:lnTo>
                      <a:pt x="3078452" y="39022"/>
                    </a:lnTo>
                    <a:cubicBezTo>
                      <a:pt x="3078452" y="13345"/>
                      <a:pt x="3093486" y="338"/>
                      <a:pt x="3123554" y="0"/>
                    </a:cubicBezTo>
                    <a:close/>
                    <a:moveTo>
                      <a:pt x="82351" y="0"/>
                    </a:moveTo>
                    <a:cubicBezTo>
                      <a:pt x="112251" y="338"/>
                      <a:pt x="127200" y="13345"/>
                      <a:pt x="127200" y="39022"/>
                    </a:cubicBezTo>
                    <a:lnTo>
                      <a:pt x="127200" y="75382"/>
                    </a:lnTo>
                    <a:cubicBezTo>
                      <a:pt x="127200" y="92444"/>
                      <a:pt x="133746" y="101397"/>
                      <a:pt x="146838" y="102242"/>
                    </a:cubicBezTo>
                    <a:lnTo>
                      <a:pt x="146838" y="120739"/>
                    </a:lnTo>
                    <a:cubicBezTo>
                      <a:pt x="133746" y="121583"/>
                      <a:pt x="127200" y="130367"/>
                      <a:pt x="127200" y="147091"/>
                    </a:cubicBezTo>
                    <a:lnTo>
                      <a:pt x="127200" y="184466"/>
                    </a:lnTo>
                    <a:cubicBezTo>
                      <a:pt x="127200" y="209804"/>
                      <a:pt x="112251" y="222642"/>
                      <a:pt x="82351" y="222980"/>
                    </a:cubicBezTo>
                    <a:lnTo>
                      <a:pt x="82351" y="203469"/>
                    </a:lnTo>
                    <a:cubicBezTo>
                      <a:pt x="89699" y="203300"/>
                      <a:pt x="94915" y="201274"/>
                      <a:pt x="97998" y="197388"/>
                    </a:cubicBezTo>
                    <a:cubicBezTo>
                      <a:pt x="101080" y="193503"/>
                      <a:pt x="102622" y="187084"/>
                      <a:pt x="102622" y="178131"/>
                    </a:cubicBezTo>
                    <a:lnTo>
                      <a:pt x="102622" y="142784"/>
                    </a:lnTo>
                    <a:cubicBezTo>
                      <a:pt x="102622" y="125638"/>
                      <a:pt x="110941" y="115207"/>
                      <a:pt x="127580" y="111490"/>
                    </a:cubicBezTo>
                    <a:lnTo>
                      <a:pt x="127580" y="111110"/>
                    </a:lnTo>
                    <a:cubicBezTo>
                      <a:pt x="110941"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7" name="Freeform 556"/>
              <p:cNvSpPr/>
              <p:nvPr/>
            </p:nvSpPr>
            <p:spPr>
              <a:xfrm>
                <a:off x="7491127" y="3184043"/>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8" name="Freeform 557"/>
              <p:cNvSpPr/>
              <p:nvPr/>
            </p:nvSpPr>
            <p:spPr>
              <a:xfrm>
                <a:off x="1419333" y="3184043"/>
                <a:ext cx="8911062" cy="222980"/>
              </a:xfrm>
              <a:custGeom>
                <a:avLst/>
                <a:gdLst>
                  <a:gd name="connsiteX0" fmla="*/ 8896156 w 8911062"/>
                  <a:gd name="connsiteY0" fmla="*/ 0 h 222980"/>
                  <a:gd name="connsiteX1" fmla="*/ 8911062 w 8911062"/>
                  <a:gd name="connsiteY1" fmla="*/ 0 h 222980"/>
                  <a:gd name="connsiteX2" fmla="*/ 8911062 w 8911062"/>
                  <a:gd name="connsiteY2" fmla="*/ 222980 h 222980"/>
                  <a:gd name="connsiteX3" fmla="*/ 8875774 w 8911062"/>
                  <a:gd name="connsiteY3" fmla="*/ 222980 h 222980"/>
                  <a:gd name="connsiteX4" fmla="*/ 8875774 w 8911062"/>
                  <a:gd name="connsiteY4" fmla="*/ 43197 h 222980"/>
                  <a:gd name="connsiteX5" fmla="*/ 8855165 w 8911062"/>
                  <a:gd name="connsiteY5" fmla="*/ 54832 h 222980"/>
                  <a:gd name="connsiteX6" fmla="*/ 8829992 w 8911062"/>
                  <a:gd name="connsiteY6" fmla="*/ 63274 h 222980"/>
                  <a:gd name="connsiteX7" fmla="*/ 8829992 w 8911062"/>
                  <a:gd name="connsiteY7" fmla="*/ 33158 h 222980"/>
                  <a:gd name="connsiteX8" fmla="*/ 8847027 w 8911062"/>
                  <a:gd name="connsiteY8" fmla="*/ 27074 h 222980"/>
                  <a:gd name="connsiteX9" fmla="*/ 8863226 w 8911062"/>
                  <a:gd name="connsiteY9" fmla="*/ 19925 h 222980"/>
                  <a:gd name="connsiteX10" fmla="*/ 8879349 w 8911062"/>
                  <a:gd name="connsiteY10" fmla="*/ 11104 h 222980"/>
                  <a:gd name="connsiteX11" fmla="*/ 8896156 w 8911062"/>
                  <a:gd name="connsiteY11" fmla="*/ 0 h 222980"/>
                  <a:gd name="connsiteX12" fmla="*/ 8004128 w 8911062"/>
                  <a:gd name="connsiteY12" fmla="*/ 0 h 222980"/>
                  <a:gd name="connsiteX13" fmla="*/ 8019034 w 8911062"/>
                  <a:gd name="connsiteY13" fmla="*/ 0 h 222980"/>
                  <a:gd name="connsiteX14" fmla="*/ 8019034 w 8911062"/>
                  <a:gd name="connsiteY14" fmla="*/ 222980 h 222980"/>
                  <a:gd name="connsiteX15" fmla="*/ 7983746 w 8911062"/>
                  <a:gd name="connsiteY15" fmla="*/ 222980 h 222980"/>
                  <a:gd name="connsiteX16" fmla="*/ 7983746 w 8911062"/>
                  <a:gd name="connsiteY16" fmla="*/ 43197 h 222980"/>
                  <a:gd name="connsiteX17" fmla="*/ 7963137 w 8911062"/>
                  <a:gd name="connsiteY17" fmla="*/ 54832 h 222980"/>
                  <a:gd name="connsiteX18" fmla="*/ 7937964 w 8911062"/>
                  <a:gd name="connsiteY18" fmla="*/ 63274 h 222980"/>
                  <a:gd name="connsiteX19" fmla="*/ 7937964 w 8911062"/>
                  <a:gd name="connsiteY19" fmla="*/ 33158 h 222980"/>
                  <a:gd name="connsiteX20" fmla="*/ 7954999 w 8911062"/>
                  <a:gd name="connsiteY20" fmla="*/ 27074 h 222980"/>
                  <a:gd name="connsiteX21" fmla="*/ 7971198 w 8911062"/>
                  <a:gd name="connsiteY21" fmla="*/ 19925 h 222980"/>
                  <a:gd name="connsiteX22" fmla="*/ 7987321 w 8911062"/>
                  <a:gd name="connsiteY22" fmla="*/ 11104 h 222980"/>
                  <a:gd name="connsiteX23" fmla="*/ 8004128 w 8911062"/>
                  <a:gd name="connsiteY23" fmla="*/ 0 h 222980"/>
                  <a:gd name="connsiteX24" fmla="*/ 2842540 w 8911062"/>
                  <a:gd name="connsiteY24" fmla="*/ 0 h 222980"/>
                  <a:gd name="connsiteX25" fmla="*/ 2857447 w 8911062"/>
                  <a:gd name="connsiteY25" fmla="*/ 0 h 222980"/>
                  <a:gd name="connsiteX26" fmla="*/ 2857447 w 8911062"/>
                  <a:gd name="connsiteY26" fmla="*/ 222980 h 222980"/>
                  <a:gd name="connsiteX27" fmla="*/ 2822159 w 8911062"/>
                  <a:gd name="connsiteY27" fmla="*/ 222980 h 222980"/>
                  <a:gd name="connsiteX28" fmla="*/ 2822159 w 8911062"/>
                  <a:gd name="connsiteY28" fmla="*/ 43197 h 222980"/>
                  <a:gd name="connsiteX29" fmla="*/ 2801549 w 8911062"/>
                  <a:gd name="connsiteY29" fmla="*/ 54832 h 222980"/>
                  <a:gd name="connsiteX30" fmla="*/ 2776377 w 8911062"/>
                  <a:gd name="connsiteY30" fmla="*/ 63274 h 222980"/>
                  <a:gd name="connsiteX31" fmla="*/ 2776377 w 8911062"/>
                  <a:gd name="connsiteY31" fmla="*/ 33158 h 222980"/>
                  <a:gd name="connsiteX32" fmla="*/ 2793412 w 8911062"/>
                  <a:gd name="connsiteY32" fmla="*/ 27074 h 222980"/>
                  <a:gd name="connsiteX33" fmla="*/ 2809611 w 8911062"/>
                  <a:gd name="connsiteY33" fmla="*/ 19925 h 222980"/>
                  <a:gd name="connsiteX34" fmla="*/ 2825733 w 8911062"/>
                  <a:gd name="connsiteY34" fmla="*/ 11104 h 222980"/>
                  <a:gd name="connsiteX35" fmla="*/ 2842540 w 8911062"/>
                  <a:gd name="connsiteY35" fmla="*/ 0 h 222980"/>
                  <a:gd name="connsiteX36" fmla="*/ 1947214 w 8911062"/>
                  <a:gd name="connsiteY36" fmla="*/ 0 h 222980"/>
                  <a:gd name="connsiteX37" fmla="*/ 1962120 w 8911062"/>
                  <a:gd name="connsiteY37" fmla="*/ 0 h 222980"/>
                  <a:gd name="connsiteX38" fmla="*/ 1962120 w 8911062"/>
                  <a:gd name="connsiteY38" fmla="*/ 222980 h 222980"/>
                  <a:gd name="connsiteX39" fmla="*/ 1926832 w 8911062"/>
                  <a:gd name="connsiteY39" fmla="*/ 222980 h 222980"/>
                  <a:gd name="connsiteX40" fmla="*/ 1926832 w 8911062"/>
                  <a:gd name="connsiteY40" fmla="*/ 43197 h 222980"/>
                  <a:gd name="connsiteX41" fmla="*/ 1906223 w 8911062"/>
                  <a:gd name="connsiteY41" fmla="*/ 54832 h 222980"/>
                  <a:gd name="connsiteX42" fmla="*/ 1881050 w 8911062"/>
                  <a:gd name="connsiteY42" fmla="*/ 63274 h 222980"/>
                  <a:gd name="connsiteX43" fmla="*/ 1881050 w 8911062"/>
                  <a:gd name="connsiteY43" fmla="*/ 33158 h 222980"/>
                  <a:gd name="connsiteX44" fmla="*/ 1898085 w 8911062"/>
                  <a:gd name="connsiteY44" fmla="*/ 27074 h 222980"/>
                  <a:gd name="connsiteX45" fmla="*/ 1914284 w 8911062"/>
                  <a:gd name="connsiteY45" fmla="*/ 19925 h 222980"/>
                  <a:gd name="connsiteX46" fmla="*/ 1930407 w 8911062"/>
                  <a:gd name="connsiteY46" fmla="*/ 11104 h 222980"/>
                  <a:gd name="connsiteX47" fmla="*/ 1947214 w 8911062"/>
                  <a:gd name="connsiteY47" fmla="*/ 0 h 222980"/>
                  <a:gd name="connsiteX48" fmla="*/ 66164 w 8911062"/>
                  <a:gd name="connsiteY48" fmla="*/ 0 h 222980"/>
                  <a:gd name="connsiteX49" fmla="*/ 81070 w 8911062"/>
                  <a:gd name="connsiteY49" fmla="*/ 0 h 222980"/>
                  <a:gd name="connsiteX50" fmla="*/ 81070 w 8911062"/>
                  <a:gd name="connsiteY50" fmla="*/ 222980 h 222980"/>
                  <a:gd name="connsiteX51" fmla="*/ 45782 w 8911062"/>
                  <a:gd name="connsiteY51" fmla="*/ 222980 h 222980"/>
                  <a:gd name="connsiteX52" fmla="*/ 45782 w 8911062"/>
                  <a:gd name="connsiteY52" fmla="*/ 43197 h 222980"/>
                  <a:gd name="connsiteX53" fmla="*/ 25173 w 8911062"/>
                  <a:gd name="connsiteY53" fmla="*/ 54832 h 222980"/>
                  <a:gd name="connsiteX54" fmla="*/ 0 w 8911062"/>
                  <a:gd name="connsiteY54" fmla="*/ 63274 h 222980"/>
                  <a:gd name="connsiteX55" fmla="*/ 0 w 8911062"/>
                  <a:gd name="connsiteY55" fmla="*/ 33158 h 222980"/>
                  <a:gd name="connsiteX56" fmla="*/ 17035 w 8911062"/>
                  <a:gd name="connsiteY56" fmla="*/ 27074 h 222980"/>
                  <a:gd name="connsiteX57" fmla="*/ 33234 w 8911062"/>
                  <a:gd name="connsiteY57" fmla="*/ 19925 h 222980"/>
                  <a:gd name="connsiteX58" fmla="*/ 49357 w 8911062"/>
                  <a:gd name="connsiteY58" fmla="*/ 11104 h 222980"/>
                  <a:gd name="connsiteX59" fmla="*/ 66164 w 8911062"/>
                  <a:gd name="connsiteY5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911062" h="222980">
                    <a:moveTo>
                      <a:pt x="8896156" y="0"/>
                    </a:moveTo>
                    <a:lnTo>
                      <a:pt x="8911062" y="0"/>
                    </a:lnTo>
                    <a:lnTo>
                      <a:pt x="8911062" y="222980"/>
                    </a:lnTo>
                    <a:lnTo>
                      <a:pt x="8875774" y="222980"/>
                    </a:lnTo>
                    <a:lnTo>
                      <a:pt x="8875774" y="43197"/>
                    </a:lnTo>
                    <a:cubicBezTo>
                      <a:pt x="8869386" y="47760"/>
                      <a:pt x="8862516" y="51638"/>
                      <a:pt x="8855165" y="54832"/>
                    </a:cubicBezTo>
                    <a:cubicBezTo>
                      <a:pt x="8847813" y="58027"/>
                      <a:pt x="8839422" y="60840"/>
                      <a:pt x="8829992" y="63274"/>
                    </a:cubicBezTo>
                    <a:lnTo>
                      <a:pt x="8829992" y="33158"/>
                    </a:lnTo>
                    <a:cubicBezTo>
                      <a:pt x="8835873" y="31232"/>
                      <a:pt x="8841552" y="29204"/>
                      <a:pt x="8847027" y="27074"/>
                    </a:cubicBezTo>
                    <a:cubicBezTo>
                      <a:pt x="8852503" y="24945"/>
                      <a:pt x="8857903" y="22562"/>
                      <a:pt x="8863226" y="19925"/>
                    </a:cubicBezTo>
                    <a:cubicBezTo>
                      <a:pt x="8868550" y="17289"/>
                      <a:pt x="8873924" y="14348"/>
                      <a:pt x="8879349" y="11104"/>
                    </a:cubicBezTo>
                    <a:cubicBezTo>
                      <a:pt x="8884774" y="7859"/>
                      <a:pt x="8890376" y="4158"/>
                      <a:pt x="8896156" y="0"/>
                    </a:cubicBezTo>
                    <a:close/>
                    <a:moveTo>
                      <a:pt x="8004128" y="0"/>
                    </a:moveTo>
                    <a:lnTo>
                      <a:pt x="8019034" y="0"/>
                    </a:lnTo>
                    <a:lnTo>
                      <a:pt x="8019034" y="222980"/>
                    </a:lnTo>
                    <a:lnTo>
                      <a:pt x="7983746" y="222980"/>
                    </a:lnTo>
                    <a:lnTo>
                      <a:pt x="7983746" y="43197"/>
                    </a:lnTo>
                    <a:cubicBezTo>
                      <a:pt x="7977358" y="47760"/>
                      <a:pt x="7970488" y="51638"/>
                      <a:pt x="7963137" y="54832"/>
                    </a:cubicBezTo>
                    <a:cubicBezTo>
                      <a:pt x="7955785" y="58027"/>
                      <a:pt x="7947394" y="60840"/>
                      <a:pt x="7937964" y="63274"/>
                    </a:cubicBezTo>
                    <a:lnTo>
                      <a:pt x="7937964" y="33158"/>
                    </a:lnTo>
                    <a:cubicBezTo>
                      <a:pt x="7943845" y="31232"/>
                      <a:pt x="7949524" y="29204"/>
                      <a:pt x="7954999" y="27074"/>
                    </a:cubicBezTo>
                    <a:cubicBezTo>
                      <a:pt x="7960475" y="24945"/>
                      <a:pt x="7965875" y="22562"/>
                      <a:pt x="7971198" y="19925"/>
                    </a:cubicBezTo>
                    <a:cubicBezTo>
                      <a:pt x="7976522" y="17289"/>
                      <a:pt x="7981896" y="14348"/>
                      <a:pt x="7987321" y="11104"/>
                    </a:cubicBezTo>
                    <a:cubicBezTo>
                      <a:pt x="7992746" y="7859"/>
                      <a:pt x="7998348" y="4158"/>
                      <a:pt x="8004128" y="0"/>
                    </a:cubicBezTo>
                    <a:close/>
                    <a:moveTo>
                      <a:pt x="2842540" y="0"/>
                    </a:moveTo>
                    <a:lnTo>
                      <a:pt x="2857447" y="0"/>
                    </a:lnTo>
                    <a:lnTo>
                      <a:pt x="2857447" y="222980"/>
                    </a:lnTo>
                    <a:lnTo>
                      <a:pt x="2822159" y="222980"/>
                    </a:lnTo>
                    <a:lnTo>
                      <a:pt x="2822159" y="43197"/>
                    </a:lnTo>
                    <a:cubicBezTo>
                      <a:pt x="2815771" y="47760"/>
                      <a:pt x="2808901" y="51638"/>
                      <a:pt x="2801549" y="54832"/>
                    </a:cubicBezTo>
                    <a:cubicBezTo>
                      <a:pt x="2794198" y="58027"/>
                      <a:pt x="2785807" y="60840"/>
                      <a:pt x="2776377" y="63274"/>
                    </a:cubicBezTo>
                    <a:lnTo>
                      <a:pt x="2776377" y="33158"/>
                    </a:lnTo>
                    <a:cubicBezTo>
                      <a:pt x="2782258" y="31232"/>
                      <a:pt x="2787936" y="29204"/>
                      <a:pt x="2793412" y="27074"/>
                    </a:cubicBezTo>
                    <a:cubicBezTo>
                      <a:pt x="2798888" y="24945"/>
                      <a:pt x="2804287" y="22562"/>
                      <a:pt x="2809611" y="19925"/>
                    </a:cubicBezTo>
                    <a:cubicBezTo>
                      <a:pt x="2814934" y="17289"/>
                      <a:pt x="2820309" y="14348"/>
                      <a:pt x="2825733" y="11104"/>
                    </a:cubicBezTo>
                    <a:cubicBezTo>
                      <a:pt x="2831159" y="7859"/>
                      <a:pt x="2836761" y="4158"/>
                      <a:pt x="2842540" y="0"/>
                    </a:cubicBezTo>
                    <a:close/>
                    <a:moveTo>
                      <a:pt x="1947214" y="0"/>
                    </a:moveTo>
                    <a:lnTo>
                      <a:pt x="1962120" y="0"/>
                    </a:lnTo>
                    <a:lnTo>
                      <a:pt x="1962120" y="222980"/>
                    </a:lnTo>
                    <a:lnTo>
                      <a:pt x="1926832" y="222980"/>
                    </a:lnTo>
                    <a:lnTo>
                      <a:pt x="1926832" y="43197"/>
                    </a:lnTo>
                    <a:cubicBezTo>
                      <a:pt x="1920444" y="47760"/>
                      <a:pt x="1913575" y="51638"/>
                      <a:pt x="1906223" y="54832"/>
                    </a:cubicBezTo>
                    <a:cubicBezTo>
                      <a:pt x="1898871" y="58027"/>
                      <a:pt x="1890481" y="60840"/>
                      <a:pt x="1881050" y="63274"/>
                    </a:cubicBezTo>
                    <a:lnTo>
                      <a:pt x="1881050" y="33158"/>
                    </a:lnTo>
                    <a:cubicBezTo>
                      <a:pt x="1886931" y="31232"/>
                      <a:pt x="1892610" y="29204"/>
                      <a:pt x="1898085" y="27074"/>
                    </a:cubicBezTo>
                    <a:cubicBezTo>
                      <a:pt x="1903561" y="24945"/>
                      <a:pt x="1908961" y="22562"/>
                      <a:pt x="1914284" y="19925"/>
                    </a:cubicBezTo>
                    <a:cubicBezTo>
                      <a:pt x="1919608" y="17289"/>
                      <a:pt x="1924982" y="14348"/>
                      <a:pt x="1930407" y="11104"/>
                    </a:cubicBezTo>
                    <a:cubicBezTo>
                      <a:pt x="1935832" y="7859"/>
                      <a:pt x="1941434" y="4158"/>
                      <a:pt x="1947214"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9" name="Freeform 558"/>
              <p:cNvSpPr/>
              <p:nvPr/>
            </p:nvSpPr>
            <p:spPr>
              <a:xfrm>
                <a:off x="4479284" y="3184043"/>
                <a:ext cx="6592737" cy="222980"/>
              </a:xfrm>
              <a:custGeom>
                <a:avLst/>
                <a:gdLst>
                  <a:gd name="connsiteX0" fmla="*/ 6519915 w 6592737"/>
                  <a:gd name="connsiteY0" fmla="*/ 27835 h 222980"/>
                  <a:gd name="connsiteX1" fmla="*/ 6480645 w 6592737"/>
                  <a:gd name="connsiteY1" fmla="*/ 114349 h 222980"/>
                  <a:gd name="connsiteX2" fmla="*/ 6519163 w 6592737"/>
                  <a:gd name="connsiteY2" fmla="*/ 195296 h 222980"/>
                  <a:gd name="connsiteX3" fmla="*/ 6557078 w 6592737"/>
                  <a:gd name="connsiteY3" fmla="*/ 112995 h 222980"/>
                  <a:gd name="connsiteX4" fmla="*/ 6519915 w 6592737"/>
                  <a:gd name="connsiteY4" fmla="*/ 27835 h 222980"/>
                  <a:gd name="connsiteX5" fmla="*/ 6141527 w 6592737"/>
                  <a:gd name="connsiteY5" fmla="*/ 27835 h 222980"/>
                  <a:gd name="connsiteX6" fmla="*/ 6102257 w 6592737"/>
                  <a:gd name="connsiteY6" fmla="*/ 114349 h 222980"/>
                  <a:gd name="connsiteX7" fmla="*/ 6140775 w 6592737"/>
                  <a:gd name="connsiteY7" fmla="*/ 195296 h 222980"/>
                  <a:gd name="connsiteX8" fmla="*/ 6178690 w 6592737"/>
                  <a:gd name="connsiteY8" fmla="*/ 112995 h 222980"/>
                  <a:gd name="connsiteX9" fmla="*/ 6141527 w 6592737"/>
                  <a:gd name="connsiteY9" fmla="*/ 27835 h 222980"/>
                  <a:gd name="connsiteX10" fmla="*/ 456008 w 6592737"/>
                  <a:gd name="connsiteY10" fmla="*/ 27835 h 222980"/>
                  <a:gd name="connsiteX11" fmla="*/ 416738 w 6592737"/>
                  <a:gd name="connsiteY11" fmla="*/ 114349 h 222980"/>
                  <a:gd name="connsiteX12" fmla="*/ 455256 w 6592737"/>
                  <a:gd name="connsiteY12" fmla="*/ 195296 h 222980"/>
                  <a:gd name="connsiteX13" fmla="*/ 493171 w 6592737"/>
                  <a:gd name="connsiteY13" fmla="*/ 112995 h 222980"/>
                  <a:gd name="connsiteX14" fmla="*/ 456008 w 6592737"/>
                  <a:gd name="connsiteY14" fmla="*/ 27835 h 222980"/>
                  <a:gd name="connsiteX15" fmla="*/ 74929 w 6592737"/>
                  <a:gd name="connsiteY15" fmla="*/ 27835 h 222980"/>
                  <a:gd name="connsiteX16" fmla="*/ 35659 w 6592737"/>
                  <a:gd name="connsiteY16" fmla="*/ 114349 h 222980"/>
                  <a:gd name="connsiteX17" fmla="*/ 74177 w 6592737"/>
                  <a:gd name="connsiteY17" fmla="*/ 195296 h 222980"/>
                  <a:gd name="connsiteX18" fmla="*/ 112092 w 6592737"/>
                  <a:gd name="connsiteY18" fmla="*/ 112995 h 222980"/>
                  <a:gd name="connsiteX19" fmla="*/ 74929 w 6592737"/>
                  <a:gd name="connsiteY19" fmla="*/ 27835 h 222980"/>
                  <a:gd name="connsiteX20" fmla="*/ 6521570 w 6592737"/>
                  <a:gd name="connsiteY20" fmla="*/ 0 h 222980"/>
                  <a:gd name="connsiteX21" fmla="*/ 6592737 w 6592737"/>
                  <a:gd name="connsiteY21" fmla="*/ 110588 h 222980"/>
                  <a:gd name="connsiteX22" fmla="*/ 6572651 w 6592737"/>
                  <a:gd name="connsiteY22" fmla="*/ 194167 h 222980"/>
                  <a:gd name="connsiteX23" fmla="*/ 6516454 w 6592737"/>
                  <a:gd name="connsiteY23" fmla="*/ 222980 h 222980"/>
                  <a:gd name="connsiteX24" fmla="*/ 6463869 w 6592737"/>
                  <a:gd name="connsiteY24" fmla="*/ 195446 h 222980"/>
                  <a:gd name="connsiteX25" fmla="*/ 6444986 w 6592737"/>
                  <a:gd name="connsiteY25" fmla="*/ 115854 h 222980"/>
                  <a:gd name="connsiteX26" fmla="*/ 6464696 w 6592737"/>
                  <a:gd name="connsiteY26" fmla="*/ 29340 h 222980"/>
                  <a:gd name="connsiteX27" fmla="*/ 6521570 w 6592737"/>
                  <a:gd name="connsiteY27" fmla="*/ 0 h 222980"/>
                  <a:gd name="connsiteX28" fmla="*/ 6143182 w 6592737"/>
                  <a:gd name="connsiteY28" fmla="*/ 0 h 222980"/>
                  <a:gd name="connsiteX29" fmla="*/ 6214349 w 6592737"/>
                  <a:gd name="connsiteY29" fmla="*/ 110588 h 222980"/>
                  <a:gd name="connsiteX30" fmla="*/ 6194263 w 6592737"/>
                  <a:gd name="connsiteY30" fmla="*/ 194167 h 222980"/>
                  <a:gd name="connsiteX31" fmla="*/ 6138066 w 6592737"/>
                  <a:gd name="connsiteY31" fmla="*/ 222980 h 222980"/>
                  <a:gd name="connsiteX32" fmla="*/ 6085481 w 6592737"/>
                  <a:gd name="connsiteY32" fmla="*/ 195446 h 222980"/>
                  <a:gd name="connsiteX33" fmla="*/ 6066598 w 6592737"/>
                  <a:gd name="connsiteY33" fmla="*/ 115854 h 222980"/>
                  <a:gd name="connsiteX34" fmla="*/ 6086308 w 6592737"/>
                  <a:gd name="connsiteY34" fmla="*/ 29340 h 222980"/>
                  <a:gd name="connsiteX35" fmla="*/ 6143182 w 6592737"/>
                  <a:gd name="connsiteY35" fmla="*/ 0 h 222980"/>
                  <a:gd name="connsiteX36" fmla="*/ 457663 w 6592737"/>
                  <a:gd name="connsiteY36" fmla="*/ 0 h 222980"/>
                  <a:gd name="connsiteX37" fmla="*/ 528830 w 6592737"/>
                  <a:gd name="connsiteY37" fmla="*/ 110588 h 222980"/>
                  <a:gd name="connsiteX38" fmla="*/ 508744 w 6592737"/>
                  <a:gd name="connsiteY38" fmla="*/ 194167 h 222980"/>
                  <a:gd name="connsiteX39" fmla="*/ 452547 w 6592737"/>
                  <a:gd name="connsiteY39" fmla="*/ 222980 h 222980"/>
                  <a:gd name="connsiteX40" fmla="*/ 399962 w 6592737"/>
                  <a:gd name="connsiteY40" fmla="*/ 195446 h 222980"/>
                  <a:gd name="connsiteX41" fmla="*/ 381079 w 6592737"/>
                  <a:gd name="connsiteY41" fmla="*/ 115854 h 222980"/>
                  <a:gd name="connsiteX42" fmla="*/ 400789 w 6592737"/>
                  <a:gd name="connsiteY42" fmla="*/ 29340 h 222980"/>
                  <a:gd name="connsiteX43" fmla="*/ 457663 w 6592737"/>
                  <a:gd name="connsiteY43" fmla="*/ 0 h 222980"/>
                  <a:gd name="connsiteX44" fmla="*/ 76584 w 6592737"/>
                  <a:gd name="connsiteY44" fmla="*/ 0 h 222980"/>
                  <a:gd name="connsiteX45" fmla="*/ 147751 w 6592737"/>
                  <a:gd name="connsiteY45" fmla="*/ 110588 h 222980"/>
                  <a:gd name="connsiteX46" fmla="*/ 127665 w 6592737"/>
                  <a:gd name="connsiteY46" fmla="*/ 194167 h 222980"/>
                  <a:gd name="connsiteX47" fmla="*/ 71468 w 6592737"/>
                  <a:gd name="connsiteY47" fmla="*/ 222980 h 222980"/>
                  <a:gd name="connsiteX48" fmla="*/ 18883 w 6592737"/>
                  <a:gd name="connsiteY48" fmla="*/ 195446 h 222980"/>
                  <a:gd name="connsiteX49" fmla="*/ 0 w 6592737"/>
                  <a:gd name="connsiteY49" fmla="*/ 115854 h 222980"/>
                  <a:gd name="connsiteX50" fmla="*/ 19710 w 6592737"/>
                  <a:gd name="connsiteY50" fmla="*/ 29340 h 222980"/>
                  <a:gd name="connsiteX51" fmla="*/ 76584 w 6592737"/>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92737" h="222980">
                    <a:moveTo>
                      <a:pt x="6519915" y="27835"/>
                    </a:moveTo>
                    <a:cubicBezTo>
                      <a:pt x="6493735" y="27835"/>
                      <a:pt x="6480645" y="56673"/>
                      <a:pt x="6480645" y="114349"/>
                    </a:cubicBezTo>
                    <a:cubicBezTo>
                      <a:pt x="6480645" y="168313"/>
                      <a:pt x="6493484" y="195296"/>
                      <a:pt x="6519163" y="195296"/>
                    </a:cubicBezTo>
                    <a:cubicBezTo>
                      <a:pt x="6544439" y="195296"/>
                      <a:pt x="6557078" y="167862"/>
                      <a:pt x="6557078" y="112995"/>
                    </a:cubicBezTo>
                    <a:cubicBezTo>
                      <a:pt x="6557078" y="56221"/>
                      <a:pt x="6544690" y="27835"/>
                      <a:pt x="6519915" y="27835"/>
                    </a:cubicBezTo>
                    <a:close/>
                    <a:moveTo>
                      <a:pt x="6141527" y="27835"/>
                    </a:moveTo>
                    <a:cubicBezTo>
                      <a:pt x="6115347" y="27835"/>
                      <a:pt x="6102257" y="56673"/>
                      <a:pt x="6102257" y="114349"/>
                    </a:cubicBezTo>
                    <a:cubicBezTo>
                      <a:pt x="6102257" y="168313"/>
                      <a:pt x="6115096" y="195296"/>
                      <a:pt x="6140775" y="195296"/>
                    </a:cubicBezTo>
                    <a:cubicBezTo>
                      <a:pt x="6166051" y="195296"/>
                      <a:pt x="6178690" y="167862"/>
                      <a:pt x="6178690" y="112995"/>
                    </a:cubicBezTo>
                    <a:cubicBezTo>
                      <a:pt x="6178690" y="56221"/>
                      <a:pt x="6166302" y="27835"/>
                      <a:pt x="6141527" y="27835"/>
                    </a:cubicBezTo>
                    <a:close/>
                    <a:moveTo>
                      <a:pt x="456008" y="27835"/>
                    </a:moveTo>
                    <a:cubicBezTo>
                      <a:pt x="429828" y="27835"/>
                      <a:pt x="416738" y="56673"/>
                      <a:pt x="416738" y="114349"/>
                    </a:cubicBezTo>
                    <a:cubicBezTo>
                      <a:pt x="416738" y="168313"/>
                      <a:pt x="429577" y="195296"/>
                      <a:pt x="455256" y="195296"/>
                    </a:cubicBezTo>
                    <a:cubicBezTo>
                      <a:pt x="480533" y="195296"/>
                      <a:pt x="493171" y="167862"/>
                      <a:pt x="493171" y="112995"/>
                    </a:cubicBezTo>
                    <a:cubicBezTo>
                      <a:pt x="493171" y="56221"/>
                      <a:pt x="480783" y="27835"/>
                      <a:pt x="456008"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521570" y="0"/>
                    </a:moveTo>
                    <a:cubicBezTo>
                      <a:pt x="6569014" y="0"/>
                      <a:pt x="6592737" y="36863"/>
                      <a:pt x="6592737" y="110588"/>
                    </a:cubicBezTo>
                    <a:cubicBezTo>
                      <a:pt x="6592737" y="147099"/>
                      <a:pt x="6586041" y="174959"/>
                      <a:pt x="6572651" y="194167"/>
                    </a:cubicBezTo>
                    <a:cubicBezTo>
                      <a:pt x="6559260" y="213376"/>
                      <a:pt x="6540528" y="222980"/>
                      <a:pt x="6516454" y="222980"/>
                    </a:cubicBezTo>
                    <a:cubicBezTo>
                      <a:pt x="6493986" y="222980"/>
                      <a:pt x="6476457" y="213802"/>
                      <a:pt x="6463869" y="195446"/>
                    </a:cubicBezTo>
                    <a:cubicBezTo>
                      <a:pt x="6451280" y="177090"/>
                      <a:pt x="6444986" y="150559"/>
                      <a:pt x="6444986" y="115854"/>
                    </a:cubicBezTo>
                    <a:cubicBezTo>
                      <a:pt x="6444986" y="77737"/>
                      <a:pt x="6451556" y="48900"/>
                      <a:pt x="6464696" y="29340"/>
                    </a:cubicBezTo>
                    <a:cubicBezTo>
                      <a:pt x="6477837" y="9780"/>
                      <a:pt x="6496794" y="0"/>
                      <a:pt x="6521570" y="0"/>
                    </a:cubicBezTo>
                    <a:close/>
                    <a:moveTo>
                      <a:pt x="6143182" y="0"/>
                    </a:moveTo>
                    <a:cubicBezTo>
                      <a:pt x="6190626" y="0"/>
                      <a:pt x="6214349" y="36863"/>
                      <a:pt x="6214349" y="110588"/>
                    </a:cubicBezTo>
                    <a:cubicBezTo>
                      <a:pt x="6214349" y="147099"/>
                      <a:pt x="6207653" y="174959"/>
                      <a:pt x="6194263" y="194167"/>
                    </a:cubicBezTo>
                    <a:cubicBezTo>
                      <a:pt x="6180872" y="213376"/>
                      <a:pt x="6162140" y="222980"/>
                      <a:pt x="6138066" y="222980"/>
                    </a:cubicBezTo>
                    <a:cubicBezTo>
                      <a:pt x="6115598" y="222980"/>
                      <a:pt x="6098069" y="213802"/>
                      <a:pt x="6085481" y="195446"/>
                    </a:cubicBezTo>
                    <a:cubicBezTo>
                      <a:pt x="6072892" y="177090"/>
                      <a:pt x="6066598" y="150559"/>
                      <a:pt x="6066598" y="115854"/>
                    </a:cubicBezTo>
                    <a:cubicBezTo>
                      <a:pt x="6066598" y="77737"/>
                      <a:pt x="6073168" y="48900"/>
                      <a:pt x="6086308" y="29340"/>
                    </a:cubicBezTo>
                    <a:cubicBezTo>
                      <a:pt x="6099449" y="9780"/>
                      <a:pt x="6118406" y="0"/>
                      <a:pt x="6143182" y="0"/>
                    </a:cubicBezTo>
                    <a:close/>
                    <a:moveTo>
                      <a:pt x="457663" y="0"/>
                    </a:moveTo>
                    <a:cubicBezTo>
                      <a:pt x="505108" y="0"/>
                      <a:pt x="528830" y="36863"/>
                      <a:pt x="528830" y="110588"/>
                    </a:cubicBezTo>
                    <a:cubicBezTo>
                      <a:pt x="528830" y="147099"/>
                      <a:pt x="522135" y="174959"/>
                      <a:pt x="508744" y="194167"/>
                    </a:cubicBezTo>
                    <a:cubicBezTo>
                      <a:pt x="495353" y="213376"/>
                      <a:pt x="476621" y="222980"/>
                      <a:pt x="452547" y="222980"/>
                    </a:cubicBezTo>
                    <a:cubicBezTo>
                      <a:pt x="430079" y="222980"/>
                      <a:pt x="412550" y="213802"/>
                      <a:pt x="399962" y="195446"/>
                    </a:cubicBezTo>
                    <a:cubicBezTo>
                      <a:pt x="387373" y="177090"/>
                      <a:pt x="381079" y="150559"/>
                      <a:pt x="381079" y="115854"/>
                    </a:cubicBezTo>
                    <a:cubicBezTo>
                      <a:pt x="381079" y="77737"/>
                      <a:pt x="387649" y="48900"/>
                      <a:pt x="400789" y="29340"/>
                    </a:cubicBezTo>
                    <a:cubicBezTo>
                      <a:pt x="413930" y="9780"/>
                      <a:pt x="432887" y="0"/>
                      <a:pt x="457663"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60" name="Freeform 559"/>
              <p:cNvSpPr/>
              <p:nvPr/>
            </p:nvSpPr>
            <p:spPr>
              <a:xfrm>
                <a:off x="34439" y="3184043"/>
                <a:ext cx="12103357" cy="222980"/>
              </a:xfrm>
              <a:custGeom>
                <a:avLst/>
                <a:gdLst>
                  <a:gd name="connsiteX0" fmla="*/ 11868819 w 12103357"/>
                  <a:gd name="connsiteY0" fmla="*/ 27835 h 222980"/>
                  <a:gd name="connsiteX1" fmla="*/ 11829549 w 12103357"/>
                  <a:gd name="connsiteY1" fmla="*/ 114349 h 222980"/>
                  <a:gd name="connsiteX2" fmla="*/ 11868067 w 12103357"/>
                  <a:gd name="connsiteY2" fmla="*/ 195296 h 222980"/>
                  <a:gd name="connsiteX3" fmla="*/ 11905982 w 12103357"/>
                  <a:gd name="connsiteY3" fmla="*/ 112995 h 222980"/>
                  <a:gd name="connsiteX4" fmla="*/ 11868819 w 12103357"/>
                  <a:gd name="connsiteY4" fmla="*/ 27835 h 222980"/>
                  <a:gd name="connsiteX5" fmla="*/ 11181654 w 12103357"/>
                  <a:gd name="connsiteY5" fmla="*/ 27835 h 222980"/>
                  <a:gd name="connsiteX6" fmla="*/ 11142384 w 12103357"/>
                  <a:gd name="connsiteY6" fmla="*/ 114349 h 222980"/>
                  <a:gd name="connsiteX7" fmla="*/ 11180902 w 12103357"/>
                  <a:gd name="connsiteY7" fmla="*/ 195296 h 222980"/>
                  <a:gd name="connsiteX8" fmla="*/ 11218817 w 12103357"/>
                  <a:gd name="connsiteY8" fmla="*/ 112995 h 222980"/>
                  <a:gd name="connsiteX9" fmla="*/ 11181654 w 12103357"/>
                  <a:gd name="connsiteY9" fmla="*/ 27835 h 222980"/>
                  <a:gd name="connsiteX10" fmla="*/ 9924168 w 12103357"/>
                  <a:gd name="connsiteY10" fmla="*/ 27835 h 222980"/>
                  <a:gd name="connsiteX11" fmla="*/ 9884898 w 12103357"/>
                  <a:gd name="connsiteY11" fmla="*/ 114349 h 222980"/>
                  <a:gd name="connsiteX12" fmla="*/ 9923416 w 12103357"/>
                  <a:gd name="connsiteY12" fmla="*/ 195296 h 222980"/>
                  <a:gd name="connsiteX13" fmla="*/ 9961331 w 12103357"/>
                  <a:gd name="connsiteY13" fmla="*/ 112995 h 222980"/>
                  <a:gd name="connsiteX14" fmla="*/ 9924168 w 12103357"/>
                  <a:gd name="connsiteY14" fmla="*/ 27835 h 222980"/>
                  <a:gd name="connsiteX15" fmla="*/ 9707274 w 12103357"/>
                  <a:gd name="connsiteY15" fmla="*/ 27835 h 222980"/>
                  <a:gd name="connsiteX16" fmla="*/ 9668004 w 12103357"/>
                  <a:gd name="connsiteY16" fmla="*/ 114349 h 222980"/>
                  <a:gd name="connsiteX17" fmla="*/ 9706522 w 12103357"/>
                  <a:gd name="connsiteY17" fmla="*/ 195296 h 222980"/>
                  <a:gd name="connsiteX18" fmla="*/ 9744437 w 12103357"/>
                  <a:gd name="connsiteY18" fmla="*/ 112995 h 222980"/>
                  <a:gd name="connsiteX19" fmla="*/ 9707274 w 12103357"/>
                  <a:gd name="connsiteY19" fmla="*/ 27835 h 222980"/>
                  <a:gd name="connsiteX20" fmla="*/ 6330267 w 12103357"/>
                  <a:gd name="connsiteY20" fmla="*/ 27835 h 222980"/>
                  <a:gd name="connsiteX21" fmla="*/ 6290997 w 12103357"/>
                  <a:gd name="connsiteY21" fmla="*/ 114349 h 222980"/>
                  <a:gd name="connsiteX22" fmla="*/ 6329515 w 12103357"/>
                  <a:gd name="connsiteY22" fmla="*/ 195296 h 222980"/>
                  <a:gd name="connsiteX23" fmla="*/ 6367430 w 12103357"/>
                  <a:gd name="connsiteY23" fmla="*/ 112995 h 222980"/>
                  <a:gd name="connsiteX24" fmla="*/ 6330267 w 12103357"/>
                  <a:gd name="connsiteY24" fmla="*/ 27835 h 222980"/>
                  <a:gd name="connsiteX25" fmla="*/ 6148772 w 12103357"/>
                  <a:gd name="connsiteY25" fmla="*/ 27835 h 222980"/>
                  <a:gd name="connsiteX26" fmla="*/ 6109502 w 12103357"/>
                  <a:gd name="connsiteY26" fmla="*/ 114349 h 222980"/>
                  <a:gd name="connsiteX27" fmla="*/ 6148020 w 12103357"/>
                  <a:gd name="connsiteY27" fmla="*/ 195296 h 222980"/>
                  <a:gd name="connsiteX28" fmla="*/ 6185935 w 12103357"/>
                  <a:gd name="connsiteY28" fmla="*/ 112995 h 222980"/>
                  <a:gd name="connsiteX29" fmla="*/ 6148772 w 12103357"/>
                  <a:gd name="connsiteY29" fmla="*/ 27835 h 222980"/>
                  <a:gd name="connsiteX30" fmla="*/ 5817314 w 12103357"/>
                  <a:gd name="connsiteY30" fmla="*/ 27835 h 222980"/>
                  <a:gd name="connsiteX31" fmla="*/ 5778044 w 12103357"/>
                  <a:gd name="connsiteY31" fmla="*/ 114349 h 222980"/>
                  <a:gd name="connsiteX32" fmla="*/ 5816562 w 12103357"/>
                  <a:gd name="connsiteY32" fmla="*/ 195296 h 222980"/>
                  <a:gd name="connsiteX33" fmla="*/ 5854478 w 12103357"/>
                  <a:gd name="connsiteY33" fmla="*/ 112995 h 222980"/>
                  <a:gd name="connsiteX34" fmla="*/ 5817314 w 12103357"/>
                  <a:gd name="connsiteY34" fmla="*/ 27835 h 222980"/>
                  <a:gd name="connsiteX35" fmla="*/ 5117747 w 12103357"/>
                  <a:gd name="connsiteY35" fmla="*/ 27835 h 222980"/>
                  <a:gd name="connsiteX36" fmla="*/ 5078477 w 12103357"/>
                  <a:gd name="connsiteY36" fmla="*/ 114349 h 222980"/>
                  <a:gd name="connsiteX37" fmla="*/ 5116995 w 12103357"/>
                  <a:gd name="connsiteY37" fmla="*/ 195296 h 222980"/>
                  <a:gd name="connsiteX38" fmla="*/ 5154910 w 12103357"/>
                  <a:gd name="connsiteY38" fmla="*/ 112995 h 222980"/>
                  <a:gd name="connsiteX39" fmla="*/ 5117747 w 12103357"/>
                  <a:gd name="connsiteY39" fmla="*/ 27835 h 222980"/>
                  <a:gd name="connsiteX40" fmla="*/ 3857235 w 12103357"/>
                  <a:gd name="connsiteY40" fmla="*/ 27835 h 222980"/>
                  <a:gd name="connsiteX41" fmla="*/ 3817965 w 12103357"/>
                  <a:gd name="connsiteY41" fmla="*/ 114349 h 222980"/>
                  <a:gd name="connsiteX42" fmla="*/ 3856483 w 12103357"/>
                  <a:gd name="connsiteY42" fmla="*/ 195296 h 222980"/>
                  <a:gd name="connsiteX43" fmla="*/ 3894398 w 12103357"/>
                  <a:gd name="connsiteY43" fmla="*/ 112995 h 222980"/>
                  <a:gd name="connsiteX44" fmla="*/ 3857235 w 12103357"/>
                  <a:gd name="connsiteY44" fmla="*/ 27835 h 222980"/>
                  <a:gd name="connsiteX45" fmla="*/ 3640341 w 12103357"/>
                  <a:gd name="connsiteY45" fmla="*/ 27835 h 222980"/>
                  <a:gd name="connsiteX46" fmla="*/ 3601071 w 12103357"/>
                  <a:gd name="connsiteY46" fmla="*/ 114349 h 222980"/>
                  <a:gd name="connsiteX47" fmla="*/ 3639589 w 12103357"/>
                  <a:gd name="connsiteY47" fmla="*/ 195296 h 222980"/>
                  <a:gd name="connsiteX48" fmla="*/ 3677504 w 12103357"/>
                  <a:gd name="connsiteY48" fmla="*/ 112995 h 222980"/>
                  <a:gd name="connsiteX49" fmla="*/ 3640341 w 12103357"/>
                  <a:gd name="connsiteY49" fmla="*/ 27835 h 222980"/>
                  <a:gd name="connsiteX50" fmla="*/ 273451 w 12103357"/>
                  <a:gd name="connsiteY50" fmla="*/ 27835 h 222980"/>
                  <a:gd name="connsiteX51" fmla="*/ 234181 w 12103357"/>
                  <a:gd name="connsiteY51" fmla="*/ 114349 h 222980"/>
                  <a:gd name="connsiteX52" fmla="*/ 272699 w 12103357"/>
                  <a:gd name="connsiteY52" fmla="*/ 195296 h 222980"/>
                  <a:gd name="connsiteX53" fmla="*/ 310614 w 12103357"/>
                  <a:gd name="connsiteY53" fmla="*/ 112995 h 222980"/>
                  <a:gd name="connsiteX54" fmla="*/ 273451 w 12103357"/>
                  <a:gd name="connsiteY54" fmla="*/ 27835 h 222980"/>
                  <a:gd name="connsiteX55" fmla="*/ 74929 w 12103357"/>
                  <a:gd name="connsiteY55" fmla="*/ 27835 h 222980"/>
                  <a:gd name="connsiteX56" fmla="*/ 35659 w 12103357"/>
                  <a:gd name="connsiteY56" fmla="*/ 114349 h 222980"/>
                  <a:gd name="connsiteX57" fmla="*/ 74177 w 12103357"/>
                  <a:gd name="connsiteY57" fmla="*/ 195296 h 222980"/>
                  <a:gd name="connsiteX58" fmla="*/ 112092 w 12103357"/>
                  <a:gd name="connsiteY58" fmla="*/ 112995 h 222980"/>
                  <a:gd name="connsiteX59" fmla="*/ 74929 w 12103357"/>
                  <a:gd name="connsiteY59" fmla="*/ 27835 h 222980"/>
                  <a:gd name="connsiteX60" fmla="*/ 12088451 w 12103357"/>
                  <a:gd name="connsiteY60" fmla="*/ 0 h 222980"/>
                  <a:gd name="connsiteX61" fmla="*/ 12103357 w 12103357"/>
                  <a:gd name="connsiteY61" fmla="*/ 0 h 222980"/>
                  <a:gd name="connsiteX62" fmla="*/ 12103357 w 12103357"/>
                  <a:gd name="connsiteY62" fmla="*/ 222980 h 222980"/>
                  <a:gd name="connsiteX63" fmla="*/ 12068069 w 12103357"/>
                  <a:gd name="connsiteY63" fmla="*/ 222980 h 222980"/>
                  <a:gd name="connsiteX64" fmla="*/ 12068069 w 12103357"/>
                  <a:gd name="connsiteY64" fmla="*/ 43197 h 222980"/>
                  <a:gd name="connsiteX65" fmla="*/ 12047460 w 12103357"/>
                  <a:gd name="connsiteY65" fmla="*/ 54832 h 222980"/>
                  <a:gd name="connsiteX66" fmla="*/ 12022287 w 12103357"/>
                  <a:gd name="connsiteY66" fmla="*/ 63274 h 222980"/>
                  <a:gd name="connsiteX67" fmla="*/ 12022287 w 12103357"/>
                  <a:gd name="connsiteY67" fmla="*/ 33158 h 222980"/>
                  <a:gd name="connsiteX68" fmla="*/ 12039322 w 12103357"/>
                  <a:gd name="connsiteY68" fmla="*/ 27074 h 222980"/>
                  <a:gd name="connsiteX69" fmla="*/ 12055521 w 12103357"/>
                  <a:gd name="connsiteY69" fmla="*/ 19925 h 222980"/>
                  <a:gd name="connsiteX70" fmla="*/ 12071644 w 12103357"/>
                  <a:gd name="connsiteY70" fmla="*/ 11104 h 222980"/>
                  <a:gd name="connsiteX71" fmla="*/ 12088451 w 12103357"/>
                  <a:gd name="connsiteY71" fmla="*/ 0 h 222980"/>
                  <a:gd name="connsiteX72" fmla="*/ 11870474 w 12103357"/>
                  <a:gd name="connsiteY72" fmla="*/ 0 h 222980"/>
                  <a:gd name="connsiteX73" fmla="*/ 11941641 w 12103357"/>
                  <a:gd name="connsiteY73" fmla="*/ 110588 h 222980"/>
                  <a:gd name="connsiteX74" fmla="*/ 11921555 w 12103357"/>
                  <a:gd name="connsiteY74" fmla="*/ 194167 h 222980"/>
                  <a:gd name="connsiteX75" fmla="*/ 11865358 w 12103357"/>
                  <a:gd name="connsiteY75" fmla="*/ 222980 h 222980"/>
                  <a:gd name="connsiteX76" fmla="*/ 11812773 w 12103357"/>
                  <a:gd name="connsiteY76" fmla="*/ 195446 h 222980"/>
                  <a:gd name="connsiteX77" fmla="*/ 11793890 w 12103357"/>
                  <a:gd name="connsiteY77" fmla="*/ 115854 h 222980"/>
                  <a:gd name="connsiteX78" fmla="*/ 11813600 w 12103357"/>
                  <a:gd name="connsiteY78" fmla="*/ 29340 h 222980"/>
                  <a:gd name="connsiteX79" fmla="*/ 11870474 w 12103357"/>
                  <a:gd name="connsiteY79" fmla="*/ 0 h 222980"/>
                  <a:gd name="connsiteX80" fmla="*/ 11183309 w 12103357"/>
                  <a:gd name="connsiteY80" fmla="*/ 0 h 222980"/>
                  <a:gd name="connsiteX81" fmla="*/ 11254476 w 12103357"/>
                  <a:gd name="connsiteY81" fmla="*/ 110588 h 222980"/>
                  <a:gd name="connsiteX82" fmla="*/ 11234390 w 12103357"/>
                  <a:gd name="connsiteY82" fmla="*/ 194167 h 222980"/>
                  <a:gd name="connsiteX83" fmla="*/ 11178193 w 12103357"/>
                  <a:gd name="connsiteY83" fmla="*/ 222980 h 222980"/>
                  <a:gd name="connsiteX84" fmla="*/ 11125608 w 12103357"/>
                  <a:gd name="connsiteY84" fmla="*/ 195446 h 222980"/>
                  <a:gd name="connsiteX85" fmla="*/ 11106725 w 12103357"/>
                  <a:gd name="connsiteY85" fmla="*/ 115854 h 222980"/>
                  <a:gd name="connsiteX86" fmla="*/ 11126435 w 12103357"/>
                  <a:gd name="connsiteY86" fmla="*/ 29340 h 222980"/>
                  <a:gd name="connsiteX87" fmla="*/ 11183309 w 12103357"/>
                  <a:gd name="connsiteY87" fmla="*/ 0 h 222980"/>
                  <a:gd name="connsiteX88" fmla="*/ 10794578 w 12103357"/>
                  <a:gd name="connsiteY88" fmla="*/ 0 h 222980"/>
                  <a:gd name="connsiteX89" fmla="*/ 10809484 w 12103357"/>
                  <a:gd name="connsiteY89" fmla="*/ 0 h 222980"/>
                  <a:gd name="connsiteX90" fmla="*/ 10809484 w 12103357"/>
                  <a:gd name="connsiteY90" fmla="*/ 222980 h 222980"/>
                  <a:gd name="connsiteX91" fmla="*/ 10774196 w 12103357"/>
                  <a:gd name="connsiteY91" fmla="*/ 222980 h 222980"/>
                  <a:gd name="connsiteX92" fmla="*/ 10774196 w 12103357"/>
                  <a:gd name="connsiteY92" fmla="*/ 43197 h 222980"/>
                  <a:gd name="connsiteX93" fmla="*/ 10753587 w 12103357"/>
                  <a:gd name="connsiteY93" fmla="*/ 54832 h 222980"/>
                  <a:gd name="connsiteX94" fmla="*/ 10728414 w 12103357"/>
                  <a:gd name="connsiteY94" fmla="*/ 63274 h 222980"/>
                  <a:gd name="connsiteX95" fmla="*/ 10728414 w 12103357"/>
                  <a:gd name="connsiteY95" fmla="*/ 33158 h 222980"/>
                  <a:gd name="connsiteX96" fmla="*/ 10745449 w 12103357"/>
                  <a:gd name="connsiteY96" fmla="*/ 27074 h 222980"/>
                  <a:gd name="connsiteX97" fmla="*/ 10761648 w 12103357"/>
                  <a:gd name="connsiteY97" fmla="*/ 19925 h 222980"/>
                  <a:gd name="connsiteX98" fmla="*/ 10777771 w 12103357"/>
                  <a:gd name="connsiteY98" fmla="*/ 11104 h 222980"/>
                  <a:gd name="connsiteX99" fmla="*/ 10794578 w 12103357"/>
                  <a:gd name="connsiteY99" fmla="*/ 0 h 222980"/>
                  <a:gd name="connsiteX100" fmla="*/ 10431056 w 12103357"/>
                  <a:gd name="connsiteY100" fmla="*/ 0 h 222980"/>
                  <a:gd name="connsiteX101" fmla="*/ 10445962 w 12103357"/>
                  <a:gd name="connsiteY101" fmla="*/ 0 h 222980"/>
                  <a:gd name="connsiteX102" fmla="*/ 10445962 w 12103357"/>
                  <a:gd name="connsiteY102" fmla="*/ 222980 h 222980"/>
                  <a:gd name="connsiteX103" fmla="*/ 10410674 w 12103357"/>
                  <a:gd name="connsiteY103" fmla="*/ 222980 h 222980"/>
                  <a:gd name="connsiteX104" fmla="*/ 10410674 w 12103357"/>
                  <a:gd name="connsiteY104" fmla="*/ 43197 h 222980"/>
                  <a:gd name="connsiteX105" fmla="*/ 10390065 w 12103357"/>
                  <a:gd name="connsiteY105" fmla="*/ 54832 h 222980"/>
                  <a:gd name="connsiteX106" fmla="*/ 10364892 w 12103357"/>
                  <a:gd name="connsiteY106" fmla="*/ 63274 h 222980"/>
                  <a:gd name="connsiteX107" fmla="*/ 10364892 w 12103357"/>
                  <a:gd name="connsiteY107" fmla="*/ 33158 h 222980"/>
                  <a:gd name="connsiteX108" fmla="*/ 10381927 w 12103357"/>
                  <a:gd name="connsiteY108" fmla="*/ 27074 h 222980"/>
                  <a:gd name="connsiteX109" fmla="*/ 10398126 w 12103357"/>
                  <a:gd name="connsiteY109" fmla="*/ 19925 h 222980"/>
                  <a:gd name="connsiteX110" fmla="*/ 10414249 w 12103357"/>
                  <a:gd name="connsiteY110" fmla="*/ 11104 h 222980"/>
                  <a:gd name="connsiteX111" fmla="*/ 10431056 w 12103357"/>
                  <a:gd name="connsiteY111" fmla="*/ 0 h 222980"/>
                  <a:gd name="connsiteX112" fmla="*/ 10132193 w 12103357"/>
                  <a:gd name="connsiteY112" fmla="*/ 0 h 222980"/>
                  <a:gd name="connsiteX113" fmla="*/ 10147099 w 12103357"/>
                  <a:gd name="connsiteY113" fmla="*/ 0 h 222980"/>
                  <a:gd name="connsiteX114" fmla="*/ 10147099 w 12103357"/>
                  <a:gd name="connsiteY114" fmla="*/ 222980 h 222980"/>
                  <a:gd name="connsiteX115" fmla="*/ 10111811 w 12103357"/>
                  <a:gd name="connsiteY115" fmla="*/ 222980 h 222980"/>
                  <a:gd name="connsiteX116" fmla="*/ 10111811 w 12103357"/>
                  <a:gd name="connsiteY116" fmla="*/ 43197 h 222980"/>
                  <a:gd name="connsiteX117" fmla="*/ 10091202 w 12103357"/>
                  <a:gd name="connsiteY117" fmla="*/ 54832 h 222980"/>
                  <a:gd name="connsiteX118" fmla="*/ 10066029 w 12103357"/>
                  <a:gd name="connsiteY118" fmla="*/ 63274 h 222980"/>
                  <a:gd name="connsiteX119" fmla="*/ 10066029 w 12103357"/>
                  <a:gd name="connsiteY119" fmla="*/ 33158 h 222980"/>
                  <a:gd name="connsiteX120" fmla="*/ 10083064 w 12103357"/>
                  <a:gd name="connsiteY120" fmla="*/ 27074 h 222980"/>
                  <a:gd name="connsiteX121" fmla="*/ 10099263 w 12103357"/>
                  <a:gd name="connsiteY121" fmla="*/ 19925 h 222980"/>
                  <a:gd name="connsiteX122" fmla="*/ 10115386 w 12103357"/>
                  <a:gd name="connsiteY122" fmla="*/ 11104 h 222980"/>
                  <a:gd name="connsiteX123" fmla="*/ 10132193 w 12103357"/>
                  <a:gd name="connsiteY123" fmla="*/ 0 h 222980"/>
                  <a:gd name="connsiteX124" fmla="*/ 9925823 w 12103357"/>
                  <a:gd name="connsiteY124" fmla="*/ 0 h 222980"/>
                  <a:gd name="connsiteX125" fmla="*/ 9996990 w 12103357"/>
                  <a:gd name="connsiteY125" fmla="*/ 110588 h 222980"/>
                  <a:gd name="connsiteX126" fmla="*/ 9976904 w 12103357"/>
                  <a:gd name="connsiteY126" fmla="*/ 194167 h 222980"/>
                  <a:gd name="connsiteX127" fmla="*/ 9920707 w 12103357"/>
                  <a:gd name="connsiteY127" fmla="*/ 222980 h 222980"/>
                  <a:gd name="connsiteX128" fmla="*/ 9868122 w 12103357"/>
                  <a:gd name="connsiteY128" fmla="*/ 195446 h 222980"/>
                  <a:gd name="connsiteX129" fmla="*/ 9849239 w 12103357"/>
                  <a:gd name="connsiteY129" fmla="*/ 115854 h 222980"/>
                  <a:gd name="connsiteX130" fmla="*/ 9868949 w 12103357"/>
                  <a:gd name="connsiteY130" fmla="*/ 29340 h 222980"/>
                  <a:gd name="connsiteX131" fmla="*/ 9925823 w 12103357"/>
                  <a:gd name="connsiteY131" fmla="*/ 0 h 222980"/>
                  <a:gd name="connsiteX132" fmla="*/ 9708929 w 12103357"/>
                  <a:gd name="connsiteY132" fmla="*/ 0 h 222980"/>
                  <a:gd name="connsiteX133" fmla="*/ 9780096 w 12103357"/>
                  <a:gd name="connsiteY133" fmla="*/ 110588 h 222980"/>
                  <a:gd name="connsiteX134" fmla="*/ 9760010 w 12103357"/>
                  <a:gd name="connsiteY134" fmla="*/ 194167 h 222980"/>
                  <a:gd name="connsiteX135" fmla="*/ 9703813 w 12103357"/>
                  <a:gd name="connsiteY135" fmla="*/ 222980 h 222980"/>
                  <a:gd name="connsiteX136" fmla="*/ 9651228 w 12103357"/>
                  <a:gd name="connsiteY136" fmla="*/ 195446 h 222980"/>
                  <a:gd name="connsiteX137" fmla="*/ 9632345 w 12103357"/>
                  <a:gd name="connsiteY137" fmla="*/ 115854 h 222980"/>
                  <a:gd name="connsiteX138" fmla="*/ 9652055 w 12103357"/>
                  <a:gd name="connsiteY138" fmla="*/ 29340 h 222980"/>
                  <a:gd name="connsiteX139" fmla="*/ 9708929 w 12103357"/>
                  <a:gd name="connsiteY139" fmla="*/ 0 h 222980"/>
                  <a:gd name="connsiteX140" fmla="*/ 9539028 w 12103357"/>
                  <a:gd name="connsiteY140" fmla="*/ 0 h 222980"/>
                  <a:gd name="connsiteX141" fmla="*/ 9553934 w 12103357"/>
                  <a:gd name="connsiteY141" fmla="*/ 0 h 222980"/>
                  <a:gd name="connsiteX142" fmla="*/ 9553934 w 12103357"/>
                  <a:gd name="connsiteY142" fmla="*/ 222980 h 222980"/>
                  <a:gd name="connsiteX143" fmla="*/ 9518646 w 12103357"/>
                  <a:gd name="connsiteY143" fmla="*/ 222980 h 222980"/>
                  <a:gd name="connsiteX144" fmla="*/ 9518646 w 12103357"/>
                  <a:gd name="connsiteY144" fmla="*/ 43197 h 222980"/>
                  <a:gd name="connsiteX145" fmla="*/ 9498037 w 12103357"/>
                  <a:gd name="connsiteY145" fmla="*/ 54832 h 222980"/>
                  <a:gd name="connsiteX146" fmla="*/ 9472864 w 12103357"/>
                  <a:gd name="connsiteY146" fmla="*/ 63274 h 222980"/>
                  <a:gd name="connsiteX147" fmla="*/ 9472864 w 12103357"/>
                  <a:gd name="connsiteY147" fmla="*/ 33158 h 222980"/>
                  <a:gd name="connsiteX148" fmla="*/ 9489899 w 12103357"/>
                  <a:gd name="connsiteY148" fmla="*/ 27074 h 222980"/>
                  <a:gd name="connsiteX149" fmla="*/ 9506098 w 12103357"/>
                  <a:gd name="connsiteY149" fmla="*/ 19925 h 222980"/>
                  <a:gd name="connsiteX150" fmla="*/ 9522221 w 12103357"/>
                  <a:gd name="connsiteY150" fmla="*/ 11104 h 222980"/>
                  <a:gd name="connsiteX151" fmla="*/ 9539028 w 12103357"/>
                  <a:gd name="connsiteY151" fmla="*/ 0 h 222980"/>
                  <a:gd name="connsiteX152" fmla="*/ 9240165 w 12103357"/>
                  <a:gd name="connsiteY152" fmla="*/ 0 h 222980"/>
                  <a:gd name="connsiteX153" fmla="*/ 9255071 w 12103357"/>
                  <a:gd name="connsiteY153" fmla="*/ 0 h 222980"/>
                  <a:gd name="connsiteX154" fmla="*/ 9255071 w 12103357"/>
                  <a:gd name="connsiteY154" fmla="*/ 222980 h 222980"/>
                  <a:gd name="connsiteX155" fmla="*/ 9219783 w 12103357"/>
                  <a:gd name="connsiteY155" fmla="*/ 222980 h 222980"/>
                  <a:gd name="connsiteX156" fmla="*/ 9219783 w 12103357"/>
                  <a:gd name="connsiteY156" fmla="*/ 43197 h 222980"/>
                  <a:gd name="connsiteX157" fmla="*/ 9199174 w 12103357"/>
                  <a:gd name="connsiteY157" fmla="*/ 54832 h 222980"/>
                  <a:gd name="connsiteX158" fmla="*/ 9174001 w 12103357"/>
                  <a:gd name="connsiteY158" fmla="*/ 63274 h 222980"/>
                  <a:gd name="connsiteX159" fmla="*/ 9174001 w 12103357"/>
                  <a:gd name="connsiteY159" fmla="*/ 33158 h 222980"/>
                  <a:gd name="connsiteX160" fmla="*/ 9191036 w 12103357"/>
                  <a:gd name="connsiteY160" fmla="*/ 27074 h 222980"/>
                  <a:gd name="connsiteX161" fmla="*/ 9207235 w 12103357"/>
                  <a:gd name="connsiteY161" fmla="*/ 19925 h 222980"/>
                  <a:gd name="connsiteX162" fmla="*/ 9223358 w 12103357"/>
                  <a:gd name="connsiteY162" fmla="*/ 11104 h 222980"/>
                  <a:gd name="connsiteX163" fmla="*/ 9240165 w 12103357"/>
                  <a:gd name="connsiteY163" fmla="*/ 0 h 222980"/>
                  <a:gd name="connsiteX164" fmla="*/ 8864746 w 12103357"/>
                  <a:gd name="connsiteY164" fmla="*/ 0 h 222980"/>
                  <a:gd name="connsiteX165" fmla="*/ 8879652 w 12103357"/>
                  <a:gd name="connsiteY165" fmla="*/ 0 h 222980"/>
                  <a:gd name="connsiteX166" fmla="*/ 8879652 w 12103357"/>
                  <a:gd name="connsiteY166" fmla="*/ 222980 h 222980"/>
                  <a:gd name="connsiteX167" fmla="*/ 8844364 w 12103357"/>
                  <a:gd name="connsiteY167" fmla="*/ 222980 h 222980"/>
                  <a:gd name="connsiteX168" fmla="*/ 8844364 w 12103357"/>
                  <a:gd name="connsiteY168" fmla="*/ 43197 h 222980"/>
                  <a:gd name="connsiteX169" fmla="*/ 8823755 w 12103357"/>
                  <a:gd name="connsiteY169" fmla="*/ 54832 h 222980"/>
                  <a:gd name="connsiteX170" fmla="*/ 8798582 w 12103357"/>
                  <a:gd name="connsiteY170" fmla="*/ 63274 h 222980"/>
                  <a:gd name="connsiteX171" fmla="*/ 8798582 w 12103357"/>
                  <a:gd name="connsiteY171" fmla="*/ 33158 h 222980"/>
                  <a:gd name="connsiteX172" fmla="*/ 8815617 w 12103357"/>
                  <a:gd name="connsiteY172" fmla="*/ 27074 h 222980"/>
                  <a:gd name="connsiteX173" fmla="*/ 8831816 w 12103357"/>
                  <a:gd name="connsiteY173" fmla="*/ 19925 h 222980"/>
                  <a:gd name="connsiteX174" fmla="*/ 8847939 w 12103357"/>
                  <a:gd name="connsiteY174" fmla="*/ 11104 h 222980"/>
                  <a:gd name="connsiteX175" fmla="*/ 8864746 w 12103357"/>
                  <a:gd name="connsiteY175" fmla="*/ 0 h 222980"/>
                  <a:gd name="connsiteX176" fmla="*/ 8714740 w 12103357"/>
                  <a:gd name="connsiteY176" fmla="*/ 0 h 222980"/>
                  <a:gd name="connsiteX177" fmla="*/ 8729646 w 12103357"/>
                  <a:gd name="connsiteY177" fmla="*/ 0 h 222980"/>
                  <a:gd name="connsiteX178" fmla="*/ 8729646 w 12103357"/>
                  <a:gd name="connsiteY178" fmla="*/ 222980 h 222980"/>
                  <a:gd name="connsiteX179" fmla="*/ 8694358 w 12103357"/>
                  <a:gd name="connsiteY179" fmla="*/ 222980 h 222980"/>
                  <a:gd name="connsiteX180" fmla="*/ 8694358 w 12103357"/>
                  <a:gd name="connsiteY180" fmla="*/ 43197 h 222980"/>
                  <a:gd name="connsiteX181" fmla="*/ 8673749 w 12103357"/>
                  <a:gd name="connsiteY181" fmla="*/ 54832 h 222980"/>
                  <a:gd name="connsiteX182" fmla="*/ 8648576 w 12103357"/>
                  <a:gd name="connsiteY182" fmla="*/ 63274 h 222980"/>
                  <a:gd name="connsiteX183" fmla="*/ 8648576 w 12103357"/>
                  <a:gd name="connsiteY183" fmla="*/ 33158 h 222980"/>
                  <a:gd name="connsiteX184" fmla="*/ 8665611 w 12103357"/>
                  <a:gd name="connsiteY184" fmla="*/ 27074 h 222980"/>
                  <a:gd name="connsiteX185" fmla="*/ 8681810 w 12103357"/>
                  <a:gd name="connsiteY185" fmla="*/ 19925 h 222980"/>
                  <a:gd name="connsiteX186" fmla="*/ 8697933 w 12103357"/>
                  <a:gd name="connsiteY186" fmla="*/ 11104 h 222980"/>
                  <a:gd name="connsiteX187" fmla="*/ 8714740 w 12103357"/>
                  <a:gd name="connsiteY187" fmla="*/ 0 h 222980"/>
                  <a:gd name="connsiteX188" fmla="*/ 8565883 w 12103357"/>
                  <a:gd name="connsiteY188" fmla="*/ 0 h 222980"/>
                  <a:gd name="connsiteX189" fmla="*/ 8580789 w 12103357"/>
                  <a:gd name="connsiteY189" fmla="*/ 0 h 222980"/>
                  <a:gd name="connsiteX190" fmla="*/ 8580789 w 12103357"/>
                  <a:gd name="connsiteY190" fmla="*/ 222980 h 222980"/>
                  <a:gd name="connsiteX191" fmla="*/ 8545501 w 12103357"/>
                  <a:gd name="connsiteY191" fmla="*/ 222980 h 222980"/>
                  <a:gd name="connsiteX192" fmla="*/ 8545501 w 12103357"/>
                  <a:gd name="connsiteY192" fmla="*/ 43197 h 222980"/>
                  <a:gd name="connsiteX193" fmla="*/ 8524892 w 12103357"/>
                  <a:gd name="connsiteY193" fmla="*/ 54832 h 222980"/>
                  <a:gd name="connsiteX194" fmla="*/ 8499719 w 12103357"/>
                  <a:gd name="connsiteY194" fmla="*/ 63274 h 222980"/>
                  <a:gd name="connsiteX195" fmla="*/ 8499719 w 12103357"/>
                  <a:gd name="connsiteY195" fmla="*/ 33158 h 222980"/>
                  <a:gd name="connsiteX196" fmla="*/ 8516754 w 12103357"/>
                  <a:gd name="connsiteY196" fmla="*/ 27074 h 222980"/>
                  <a:gd name="connsiteX197" fmla="*/ 8532953 w 12103357"/>
                  <a:gd name="connsiteY197" fmla="*/ 19925 h 222980"/>
                  <a:gd name="connsiteX198" fmla="*/ 8549076 w 12103357"/>
                  <a:gd name="connsiteY198" fmla="*/ 11104 h 222980"/>
                  <a:gd name="connsiteX199" fmla="*/ 8565883 w 12103357"/>
                  <a:gd name="connsiteY199" fmla="*/ 0 h 222980"/>
                  <a:gd name="connsiteX200" fmla="*/ 7821715 w 12103357"/>
                  <a:gd name="connsiteY200" fmla="*/ 0 h 222980"/>
                  <a:gd name="connsiteX201" fmla="*/ 7836621 w 12103357"/>
                  <a:gd name="connsiteY201" fmla="*/ 0 h 222980"/>
                  <a:gd name="connsiteX202" fmla="*/ 7836621 w 12103357"/>
                  <a:gd name="connsiteY202" fmla="*/ 222980 h 222980"/>
                  <a:gd name="connsiteX203" fmla="*/ 7801333 w 12103357"/>
                  <a:gd name="connsiteY203" fmla="*/ 222980 h 222980"/>
                  <a:gd name="connsiteX204" fmla="*/ 7801333 w 12103357"/>
                  <a:gd name="connsiteY204" fmla="*/ 43197 h 222980"/>
                  <a:gd name="connsiteX205" fmla="*/ 7780724 w 12103357"/>
                  <a:gd name="connsiteY205" fmla="*/ 54832 h 222980"/>
                  <a:gd name="connsiteX206" fmla="*/ 7755551 w 12103357"/>
                  <a:gd name="connsiteY206" fmla="*/ 63274 h 222980"/>
                  <a:gd name="connsiteX207" fmla="*/ 7755551 w 12103357"/>
                  <a:gd name="connsiteY207" fmla="*/ 33158 h 222980"/>
                  <a:gd name="connsiteX208" fmla="*/ 7772586 w 12103357"/>
                  <a:gd name="connsiteY208" fmla="*/ 27074 h 222980"/>
                  <a:gd name="connsiteX209" fmla="*/ 7788785 w 12103357"/>
                  <a:gd name="connsiteY209" fmla="*/ 19925 h 222980"/>
                  <a:gd name="connsiteX210" fmla="*/ 7804908 w 12103357"/>
                  <a:gd name="connsiteY210" fmla="*/ 11104 h 222980"/>
                  <a:gd name="connsiteX211" fmla="*/ 7821715 w 12103357"/>
                  <a:gd name="connsiteY211" fmla="*/ 0 h 222980"/>
                  <a:gd name="connsiteX212" fmla="*/ 7671709 w 12103357"/>
                  <a:gd name="connsiteY212" fmla="*/ 0 h 222980"/>
                  <a:gd name="connsiteX213" fmla="*/ 7686615 w 12103357"/>
                  <a:gd name="connsiteY213" fmla="*/ 0 h 222980"/>
                  <a:gd name="connsiteX214" fmla="*/ 7686615 w 12103357"/>
                  <a:gd name="connsiteY214" fmla="*/ 222980 h 222980"/>
                  <a:gd name="connsiteX215" fmla="*/ 7651327 w 12103357"/>
                  <a:gd name="connsiteY215" fmla="*/ 222980 h 222980"/>
                  <a:gd name="connsiteX216" fmla="*/ 7651327 w 12103357"/>
                  <a:gd name="connsiteY216" fmla="*/ 43197 h 222980"/>
                  <a:gd name="connsiteX217" fmla="*/ 7630718 w 12103357"/>
                  <a:gd name="connsiteY217" fmla="*/ 54832 h 222980"/>
                  <a:gd name="connsiteX218" fmla="*/ 7605545 w 12103357"/>
                  <a:gd name="connsiteY218" fmla="*/ 63274 h 222980"/>
                  <a:gd name="connsiteX219" fmla="*/ 7605545 w 12103357"/>
                  <a:gd name="connsiteY219" fmla="*/ 33158 h 222980"/>
                  <a:gd name="connsiteX220" fmla="*/ 7622580 w 12103357"/>
                  <a:gd name="connsiteY220" fmla="*/ 27074 h 222980"/>
                  <a:gd name="connsiteX221" fmla="*/ 7638779 w 12103357"/>
                  <a:gd name="connsiteY221" fmla="*/ 19925 h 222980"/>
                  <a:gd name="connsiteX222" fmla="*/ 7654902 w 12103357"/>
                  <a:gd name="connsiteY222" fmla="*/ 11104 h 222980"/>
                  <a:gd name="connsiteX223" fmla="*/ 7671709 w 12103357"/>
                  <a:gd name="connsiteY223" fmla="*/ 0 h 222980"/>
                  <a:gd name="connsiteX224" fmla="*/ 7373995 w 12103357"/>
                  <a:gd name="connsiteY224" fmla="*/ 0 h 222980"/>
                  <a:gd name="connsiteX225" fmla="*/ 7388901 w 12103357"/>
                  <a:gd name="connsiteY225" fmla="*/ 0 h 222980"/>
                  <a:gd name="connsiteX226" fmla="*/ 7388901 w 12103357"/>
                  <a:gd name="connsiteY226" fmla="*/ 222980 h 222980"/>
                  <a:gd name="connsiteX227" fmla="*/ 7353613 w 12103357"/>
                  <a:gd name="connsiteY227" fmla="*/ 222980 h 222980"/>
                  <a:gd name="connsiteX228" fmla="*/ 7353613 w 12103357"/>
                  <a:gd name="connsiteY228" fmla="*/ 43197 h 222980"/>
                  <a:gd name="connsiteX229" fmla="*/ 7333004 w 12103357"/>
                  <a:gd name="connsiteY229" fmla="*/ 54832 h 222980"/>
                  <a:gd name="connsiteX230" fmla="*/ 7307831 w 12103357"/>
                  <a:gd name="connsiteY230" fmla="*/ 63274 h 222980"/>
                  <a:gd name="connsiteX231" fmla="*/ 7307831 w 12103357"/>
                  <a:gd name="connsiteY231" fmla="*/ 33158 h 222980"/>
                  <a:gd name="connsiteX232" fmla="*/ 7324866 w 12103357"/>
                  <a:gd name="connsiteY232" fmla="*/ 27074 h 222980"/>
                  <a:gd name="connsiteX233" fmla="*/ 7341065 w 12103357"/>
                  <a:gd name="connsiteY233" fmla="*/ 19925 h 222980"/>
                  <a:gd name="connsiteX234" fmla="*/ 7357188 w 12103357"/>
                  <a:gd name="connsiteY234" fmla="*/ 11104 h 222980"/>
                  <a:gd name="connsiteX235" fmla="*/ 7373995 w 12103357"/>
                  <a:gd name="connsiteY235" fmla="*/ 0 h 222980"/>
                  <a:gd name="connsiteX236" fmla="*/ 6993040 w 12103357"/>
                  <a:gd name="connsiteY236" fmla="*/ 0 h 222980"/>
                  <a:gd name="connsiteX237" fmla="*/ 7007946 w 12103357"/>
                  <a:gd name="connsiteY237" fmla="*/ 0 h 222980"/>
                  <a:gd name="connsiteX238" fmla="*/ 7007946 w 12103357"/>
                  <a:gd name="connsiteY238" fmla="*/ 222980 h 222980"/>
                  <a:gd name="connsiteX239" fmla="*/ 6972658 w 12103357"/>
                  <a:gd name="connsiteY239" fmla="*/ 222980 h 222980"/>
                  <a:gd name="connsiteX240" fmla="*/ 6972658 w 12103357"/>
                  <a:gd name="connsiteY240" fmla="*/ 43197 h 222980"/>
                  <a:gd name="connsiteX241" fmla="*/ 6952049 w 12103357"/>
                  <a:gd name="connsiteY241" fmla="*/ 54832 h 222980"/>
                  <a:gd name="connsiteX242" fmla="*/ 6926876 w 12103357"/>
                  <a:gd name="connsiteY242" fmla="*/ 63274 h 222980"/>
                  <a:gd name="connsiteX243" fmla="*/ 6926876 w 12103357"/>
                  <a:gd name="connsiteY243" fmla="*/ 33158 h 222980"/>
                  <a:gd name="connsiteX244" fmla="*/ 6943911 w 12103357"/>
                  <a:gd name="connsiteY244" fmla="*/ 27074 h 222980"/>
                  <a:gd name="connsiteX245" fmla="*/ 6960110 w 12103357"/>
                  <a:gd name="connsiteY245" fmla="*/ 19925 h 222980"/>
                  <a:gd name="connsiteX246" fmla="*/ 6976233 w 12103357"/>
                  <a:gd name="connsiteY246" fmla="*/ 11104 h 222980"/>
                  <a:gd name="connsiteX247" fmla="*/ 6993040 w 12103357"/>
                  <a:gd name="connsiteY247" fmla="*/ 0 h 222980"/>
                  <a:gd name="connsiteX248" fmla="*/ 6843034 w 12103357"/>
                  <a:gd name="connsiteY248" fmla="*/ 0 h 222980"/>
                  <a:gd name="connsiteX249" fmla="*/ 6857940 w 12103357"/>
                  <a:gd name="connsiteY249" fmla="*/ 0 h 222980"/>
                  <a:gd name="connsiteX250" fmla="*/ 6857940 w 12103357"/>
                  <a:gd name="connsiteY250" fmla="*/ 222980 h 222980"/>
                  <a:gd name="connsiteX251" fmla="*/ 6822652 w 12103357"/>
                  <a:gd name="connsiteY251" fmla="*/ 222980 h 222980"/>
                  <a:gd name="connsiteX252" fmla="*/ 6822652 w 12103357"/>
                  <a:gd name="connsiteY252" fmla="*/ 43197 h 222980"/>
                  <a:gd name="connsiteX253" fmla="*/ 6802043 w 12103357"/>
                  <a:gd name="connsiteY253" fmla="*/ 54832 h 222980"/>
                  <a:gd name="connsiteX254" fmla="*/ 6776870 w 12103357"/>
                  <a:gd name="connsiteY254" fmla="*/ 63274 h 222980"/>
                  <a:gd name="connsiteX255" fmla="*/ 6776870 w 12103357"/>
                  <a:gd name="connsiteY255" fmla="*/ 33158 h 222980"/>
                  <a:gd name="connsiteX256" fmla="*/ 6793905 w 12103357"/>
                  <a:gd name="connsiteY256" fmla="*/ 27074 h 222980"/>
                  <a:gd name="connsiteX257" fmla="*/ 6810104 w 12103357"/>
                  <a:gd name="connsiteY257" fmla="*/ 19925 h 222980"/>
                  <a:gd name="connsiteX258" fmla="*/ 6826227 w 12103357"/>
                  <a:gd name="connsiteY258" fmla="*/ 11104 h 222980"/>
                  <a:gd name="connsiteX259" fmla="*/ 6843034 w 12103357"/>
                  <a:gd name="connsiteY259" fmla="*/ 0 h 222980"/>
                  <a:gd name="connsiteX260" fmla="*/ 6694177 w 12103357"/>
                  <a:gd name="connsiteY260" fmla="*/ 0 h 222980"/>
                  <a:gd name="connsiteX261" fmla="*/ 6709083 w 12103357"/>
                  <a:gd name="connsiteY261" fmla="*/ 0 h 222980"/>
                  <a:gd name="connsiteX262" fmla="*/ 6709083 w 12103357"/>
                  <a:gd name="connsiteY262" fmla="*/ 222980 h 222980"/>
                  <a:gd name="connsiteX263" fmla="*/ 6673795 w 12103357"/>
                  <a:gd name="connsiteY263" fmla="*/ 222980 h 222980"/>
                  <a:gd name="connsiteX264" fmla="*/ 6673795 w 12103357"/>
                  <a:gd name="connsiteY264" fmla="*/ 43197 h 222980"/>
                  <a:gd name="connsiteX265" fmla="*/ 6653186 w 12103357"/>
                  <a:gd name="connsiteY265" fmla="*/ 54832 h 222980"/>
                  <a:gd name="connsiteX266" fmla="*/ 6628013 w 12103357"/>
                  <a:gd name="connsiteY266" fmla="*/ 63274 h 222980"/>
                  <a:gd name="connsiteX267" fmla="*/ 6628013 w 12103357"/>
                  <a:gd name="connsiteY267" fmla="*/ 33158 h 222980"/>
                  <a:gd name="connsiteX268" fmla="*/ 6645048 w 12103357"/>
                  <a:gd name="connsiteY268" fmla="*/ 27074 h 222980"/>
                  <a:gd name="connsiteX269" fmla="*/ 6661247 w 12103357"/>
                  <a:gd name="connsiteY269" fmla="*/ 19925 h 222980"/>
                  <a:gd name="connsiteX270" fmla="*/ 6677370 w 12103357"/>
                  <a:gd name="connsiteY270" fmla="*/ 11104 h 222980"/>
                  <a:gd name="connsiteX271" fmla="*/ 6694177 w 12103357"/>
                  <a:gd name="connsiteY271" fmla="*/ 0 h 222980"/>
                  <a:gd name="connsiteX272" fmla="*/ 6545320 w 12103357"/>
                  <a:gd name="connsiteY272" fmla="*/ 0 h 222980"/>
                  <a:gd name="connsiteX273" fmla="*/ 6560226 w 12103357"/>
                  <a:gd name="connsiteY273" fmla="*/ 0 h 222980"/>
                  <a:gd name="connsiteX274" fmla="*/ 6560226 w 12103357"/>
                  <a:gd name="connsiteY274" fmla="*/ 222980 h 222980"/>
                  <a:gd name="connsiteX275" fmla="*/ 6524938 w 12103357"/>
                  <a:gd name="connsiteY275" fmla="*/ 222980 h 222980"/>
                  <a:gd name="connsiteX276" fmla="*/ 6524938 w 12103357"/>
                  <a:gd name="connsiteY276" fmla="*/ 43197 h 222980"/>
                  <a:gd name="connsiteX277" fmla="*/ 6504329 w 12103357"/>
                  <a:gd name="connsiteY277" fmla="*/ 54832 h 222980"/>
                  <a:gd name="connsiteX278" fmla="*/ 6479156 w 12103357"/>
                  <a:gd name="connsiteY278" fmla="*/ 63274 h 222980"/>
                  <a:gd name="connsiteX279" fmla="*/ 6479156 w 12103357"/>
                  <a:gd name="connsiteY279" fmla="*/ 33158 h 222980"/>
                  <a:gd name="connsiteX280" fmla="*/ 6496191 w 12103357"/>
                  <a:gd name="connsiteY280" fmla="*/ 27074 h 222980"/>
                  <a:gd name="connsiteX281" fmla="*/ 6512390 w 12103357"/>
                  <a:gd name="connsiteY281" fmla="*/ 19925 h 222980"/>
                  <a:gd name="connsiteX282" fmla="*/ 6528513 w 12103357"/>
                  <a:gd name="connsiteY282" fmla="*/ 11104 h 222980"/>
                  <a:gd name="connsiteX283" fmla="*/ 6545320 w 12103357"/>
                  <a:gd name="connsiteY283" fmla="*/ 0 h 222980"/>
                  <a:gd name="connsiteX284" fmla="*/ 6331922 w 12103357"/>
                  <a:gd name="connsiteY284" fmla="*/ 0 h 222980"/>
                  <a:gd name="connsiteX285" fmla="*/ 6403089 w 12103357"/>
                  <a:gd name="connsiteY285" fmla="*/ 110588 h 222980"/>
                  <a:gd name="connsiteX286" fmla="*/ 6383003 w 12103357"/>
                  <a:gd name="connsiteY286" fmla="*/ 194167 h 222980"/>
                  <a:gd name="connsiteX287" fmla="*/ 6326806 w 12103357"/>
                  <a:gd name="connsiteY287" fmla="*/ 222980 h 222980"/>
                  <a:gd name="connsiteX288" fmla="*/ 6274221 w 12103357"/>
                  <a:gd name="connsiteY288" fmla="*/ 195446 h 222980"/>
                  <a:gd name="connsiteX289" fmla="*/ 6255338 w 12103357"/>
                  <a:gd name="connsiteY289" fmla="*/ 115854 h 222980"/>
                  <a:gd name="connsiteX290" fmla="*/ 6275048 w 12103357"/>
                  <a:gd name="connsiteY290" fmla="*/ 29340 h 222980"/>
                  <a:gd name="connsiteX291" fmla="*/ 6331922 w 12103357"/>
                  <a:gd name="connsiteY291" fmla="*/ 0 h 222980"/>
                  <a:gd name="connsiteX292" fmla="*/ 6150427 w 12103357"/>
                  <a:gd name="connsiteY292" fmla="*/ 0 h 222980"/>
                  <a:gd name="connsiteX293" fmla="*/ 6221594 w 12103357"/>
                  <a:gd name="connsiteY293" fmla="*/ 110588 h 222980"/>
                  <a:gd name="connsiteX294" fmla="*/ 6201508 w 12103357"/>
                  <a:gd name="connsiteY294" fmla="*/ 194167 h 222980"/>
                  <a:gd name="connsiteX295" fmla="*/ 6145311 w 12103357"/>
                  <a:gd name="connsiteY295" fmla="*/ 222980 h 222980"/>
                  <a:gd name="connsiteX296" fmla="*/ 6092726 w 12103357"/>
                  <a:gd name="connsiteY296" fmla="*/ 195446 h 222980"/>
                  <a:gd name="connsiteX297" fmla="*/ 6073843 w 12103357"/>
                  <a:gd name="connsiteY297" fmla="*/ 115854 h 222980"/>
                  <a:gd name="connsiteX298" fmla="*/ 6093553 w 12103357"/>
                  <a:gd name="connsiteY298" fmla="*/ 29340 h 222980"/>
                  <a:gd name="connsiteX299" fmla="*/ 6150427 w 12103357"/>
                  <a:gd name="connsiteY299" fmla="*/ 0 h 222980"/>
                  <a:gd name="connsiteX300" fmla="*/ 6019295 w 12103357"/>
                  <a:gd name="connsiteY300" fmla="*/ 0 h 222980"/>
                  <a:gd name="connsiteX301" fmla="*/ 6034202 w 12103357"/>
                  <a:gd name="connsiteY301" fmla="*/ 0 h 222980"/>
                  <a:gd name="connsiteX302" fmla="*/ 6034202 w 12103357"/>
                  <a:gd name="connsiteY302" fmla="*/ 222980 h 222980"/>
                  <a:gd name="connsiteX303" fmla="*/ 5998913 w 12103357"/>
                  <a:gd name="connsiteY303" fmla="*/ 222980 h 222980"/>
                  <a:gd name="connsiteX304" fmla="*/ 5998913 w 12103357"/>
                  <a:gd name="connsiteY304" fmla="*/ 43197 h 222980"/>
                  <a:gd name="connsiteX305" fmla="*/ 5978304 w 12103357"/>
                  <a:gd name="connsiteY305" fmla="*/ 54832 h 222980"/>
                  <a:gd name="connsiteX306" fmla="*/ 5953131 w 12103357"/>
                  <a:gd name="connsiteY306" fmla="*/ 63274 h 222980"/>
                  <a:gd name="connsiteX307" fmla="*/ 5953131 w 12103357"/>
                  <a:gd name="connsiteY307" fmla="*/ 33158 h 222980"/>
                  <a:gd name="connsiteX308" fmla="*/ 5970166 w 12103357"/>
                  <a:gd name="connsiteY308" fmla="*/ 27074 h 222980"/>
                  <a:gd name="connsiteX309" fmla="*/ 5986365 w 12103357"/>
                  <a:gd name="connsiteY309" fmla="*/ 19925 h 222980"/>
                  <a:gd name="connsiteX310" fmla="*/ 6002489 w 12103357"/>
                  <a:gd name="connsiteY310" fmla="*/ 11104 h 222980"/>
                  <a:gd name="connsiteX311" fmla="*/ 6019295 w 12103357"/>
                  <a:gd name="connsiteY311" fmla="*/ 0 h 222980"/>
                  <a:gd name="connsiteX312" fmla="*/ 5818969 w 12103357"/>
                  <a:gd name="connsiteY312" fmla="*/ 0 h 222980"/>
                  <a:gd name="connsiteX313" fmla="*/ 5890136 w 12103357"/>
                  <a:gd name="connsiteY313" fmla="*/ 110588 h 222980"/>
                  <a:gd name="connsiteX314" fmla="*/ 5870050 w 12103357"/>
                  <a:gd name="connsiteY314" fmla="*/ 194167 h 222980"/>
                  <a:gd name="connsiteX315" fmla="*/ 5813853 w 12103357"/>
                  <a:gd name="connsiteY315" fmla="*/ 222980 h 222980"/>
                  <a:gd name="connsiteX316" fmla="*/ 5761268 w 12103357"/>
                  <a:gd name="connsiteY316" fmla="*/ 195446 h 222980"/>
                  <a:gd name="connsiteX317" fmla="*/ 5742385 w 12103357"/>
                  <a:gd name="connsiteY317" fmla="*/ 115854 h 222980"/>
                  <a:gd name="connsiteX318" fmla="*/ 5762095 w 12103357"/>
                  <a:gd name="connsiteY318" fmla="*/ 29340 h 222980"/>
                  <a:gd name="connsiteX319" fmla="*/ 5818969 w 12103357"/>
                  <a:gd name="connsiteY319" fmla="*/ 0 h 222980"/>
                  <a:gd name="connsiteX320" fmla="*/ 5119402 w 12103357"/>
                  <a:gd name="connsiteY320" fmla="*/ 0 h 222980"/>
                  <a:gd name="connsiteX321" fmla="*/ 5190569 w 12103357"/>
                  <a:gd name="connsiteY321" fmla="*/ 110588 h 222980"/>
                  <a:gd name="connsiteX322" fmla="*/ 5170484 w 12103357"/>
                  <a:gd name="connsiteY322" fmla="*/ 194167 h 222980"/>
                  <a:gd name="connsiteX323" fmla="*/ 5114286 w 12103357"/>
                  <a:gd name="connsiteY323" fmla="*/ 222980 h 222980"/>
                  <a:gd name="connsiteX324" fmla="*/ 5061702 w 12103357"/>
                  <a:gd name="connsiteY324" fmla="*/ 195446 h 222980"/>
                  <a:gd name="connsiteX325" fmla="*/ 5042818 w 12103357"/>
                  <a:gd name="connsiteY325" fmla="*/ 115854 h 222980"/>
                  <a:gd name="connsiteX326" fmla="*/ 5062528 w 12103357"/>
                  <a:gd name="connsiteY326" fmla="*/ 29340 h 222980"/>
                  <a:gd name="connsiteX327" fmla="*/ 5119402 w 12103357"/>
                  <a:gd name="connsiteY327" fmla="*/ 0 h 222980"/>
                  <a:gd name="connsiteX328" fmla="*/ 4734952 w 12103357"/>
                  <a:gd name="connsiteY328" fmla="*/ 0 h 222980"/>
                  <a:gd name="connsiteX329" fmla="*/ 4749857 w 12103357"/>
                  <a:gd name="connsiteY329" fmla="*/ 0 h 222980"/>
                  <a:gd name="connsiteX330" fmla="*/ 4749857 w 12103357"/>
                  <a:gd name="connsiteY330" fmla="*/ 222980 h 222980"/>
                  <a:gd name="connsiteX331" fmla="*/ 4714570 w 12103357"/>
                  <a:gd name="connsiteY331" fmla="*/ 222980 h 222980"/>
                  <a:gd name="connsiteX332" fmla="*/ 4714570 w 12103357"/>
                  <a:gd name="connsiteY332" fmla="*/ 43197 h 222980"/>
                  <a:gd name="connsiteX333" fmla="*/ 4693960 w 12103357"/>
                  <a:gd name="connsiteY333" fmla="*/ 54832 h 222980"/>
                  <a:gd name="connsiteX334" fmla="*/ 4668787 w 12103357"/>
                  <a:gd name="connsiteY334" fmla="*/ 63274 h 222980"/>
                  <a:gd name="connsiteX335" fmla="*/ 4668787 w 12103357"/>
                  <a:gd name="connsiteY335" fmla="*/ 33158 h 222980"/>
                  <a:gd name="connsiteX336" fmla="*/ 4685823 w 12103357"/>
                  <a:gd name="connsiteY336" fmla="*/ 27074 h 222980"/>
                  <a:gd name="connsiteX337" fmla="*/ 4702021 w 12103357"/>
                  <a:gd name="connsiteY337" fmla="*/ 19925 h 222980"/>
                  <a:gd name="connsiteX338" fmla="*/ 4718144 w 12103357"/>
                  <a:gd name="connsiteY338" fmla="*/ 11104 h 222980"/>
                  <a:gd name="connsiteX339" fmla="*/ 4734952 w 12103357"/>
                  <a:gd name="connsiteY339" fmla="*/ 0 h 222980"/>
                  <a:gd name="connsiteX340" fmla="*/ 4377442 w 12103357"/>
                  <a:gd name="connsiteY340" fmla="*/ 0 h 222980"/>
                  <a:gd name="connsiteX341" fmla="*/ 4392347 w 12103357"/>
                  <a:gd name="connsiteY341" fmla="*/ 0 h 222980"/>
                  <a:gd name="connsiteX342" fmla="*/ 4392347 w 12103357"/>
                  <a:gd name="connsiteY342" fmla="*/ 222980 h 222980"/>
                  <a:gd name="connsiteX343" fmla="*/ 4357059 w 12103357"/>
                  <a:gd name="connsiteY343" fmla="*/ 222980 h 222980"/>
                  <a:gd name="connsiteX344" fmla="*/ 4357059 w 12103357"/>
                  <a:gd name="connsiteY344" fmla="*/ 43197 h 222980"/>
                  <a:gd name="connsiteX345" fmla="*/ 4336450 w 12103357"/>
                  <a:gd name="connsiteY345" fmla="*/ 54832 h 222980"/>
                  <a:gd name="connsiteX346" fmla="*/ 4311277 w 12103357"/>
                  <a:gd name="connsiteY346" fmla="*/ 63274 h 222980"/>
                  <a:gd name="connsiteX347" fmla="*/ 4311277 w 12103357"/>
                  <a:gd name="connsiteY347" fmla="*/ 33158 h 222980"/>
                  <a:gd name="connsiteX348" fmla="*/ 4328312 w 12103357"/>
                  <a:gd name="connsiteY348" fmla="*/ 27074 h 222980"/>
                  <a:gd name="connsiteX349" fmla="*/ 4344511 w 12103357"/>
                  <a:gd name="connsiteY349" fmla="*/ 19925 h 222980"/>
                  <a:gd name="connsiteX350" fmla="*/ 4360635 w 12103357"/>
                  <a:gd name="connsiteY350" fmla="*/ 11104 h 222980"/>
                  <a:gd name="connsiteX351" fmla="*/ 4377442 w 12103357"/>
                  <a:gd name="connsiteY351" fmla="*/ 0 h 222980"/>
                  <a:gd name="connsiteX352" fmla="*/ 4078579 w 12103357"/>
                  <a:gd name="connsiteY352" fmla="*/ 0 h 222980"/>
                  <a:gd name="connsiteX353" fmla="*/ 4093484 w 12103357"/>
                  <a:gd name="connsiteY353" fmla="*/ 0 h 222980"/>
                  <a:gd name="connsiteX354" fmla="*/ 4093484 w 12103357"/>
                  <a:gd name="connsiteY354" fmla="*/ 222980 h 222980"/>
                  <a:gd name="connsiteX355" fmla="*/ 4058197 w 12103357"/>
                  <a:gd name="connsiteY355" fmla="*/ 222980 h 222980"/>
                  <a:gd name="connsiteX356" fmla="*/ 4058197 w 12103357"/>
                  <a:gd name="connsiteY356" fmla="*/ 43197 h 222980"/>
                  <a:gd name="connsiteX357" fmla="*/ 4037588 w 12103357"/>
                  <a:gd name="connsiteY357" fmla="*/ 54832 h 222980"/>
                  <a:gd name="connsiteX358" fmla="*/ 4012416 w 12103357"/>
                  <a:gd name="connsiteY358" fmla="*/ 63274 h 222980"/>
                  <a:gd name="connsiteX359" fmla="*/ 4012416 w 12103357"/>
                  <a:gd name="connsiteY359" fmla="*/ 33158 h 222980"/>
                  <a:gd name="connsiteX360" fmla="*/ 4029450 w 12103357"/>
                  <a:gd name="connsiteY360" fmla="*/ 27074 h 222980"/>
                  <a:gd name="connsiteX361" fmla="*/ 4045649 w 12103357"/>
                  <a:gd name="connsiteY361" fmla="*/ 19925 h 222980"/>
                  <a:gd name="connsiteX362" fmla="*/ 4061772 w 12103357"/>
                  <a:gd name="connsiteY362" fmla="*/ 11104 h 222980"/>
                  <a:gd name="connsiteX363" fmla="*/ 4078579 w 12103357"/>
                  <a:gd name="connsiteY363" fmla="*/ 0 h 222980"/>
                  <a:gd name="connsiteX364" fmla="*/ 3858890 w 12103357"/>
                  <a:gd name="connsiteY364" fmla="*/ 0 h 222980"/>
                  <a:gd name="connsiteX365" fmla="*/ 3930057 w 12103357"/>
                  <a:gd name="connsiteY365" fmla="*/ 110588 h 222980"/>
                  <a:gd name="connsiteX366" fmla="*/ 3909971 w 12103357"/>
                  <a:gd name="connsiteY366" fmla="*/ 194167 h 222980"/>
                  <a:gd name="connsiteX367" fmla="*/ 3853774 w 12103357"/>
                  <a:gd name="connsiteY367" fmla="*/ 222980 h 222980"/>
                  <a:gd name="connsiteX368" fmla="*/ 3801189 w 12103357"/>
                  <a:gd name="connsiteY368" fmla="*/ 195446 h 222980"/>
                  <a:gd name="connsiteX369" fmla="*/ 3782306 w 12103357"/>
                  <a:gd name="connsiteY369" fmla="*/ 115854 h 222980"/>
                  <a:gd name="connsiteX370" fmla="*/ 3802016 w 12103357"/>
                  <a:gd name="connsiteY370" fmla="*/ 29340 h 222980"/>
                  <a:gd name="connsiteX371" fmla="*/ 3858890 w 12103357"/>
                  <a:gd name="connsiteY371" fmla="*/ 0 h 222980"/>
                  <a:gd name="connsiteX372" fmla="*/ 3641996 w 12103357"/>
                  <a:gd name="connsiteY372" fmla="*/ 0 h 222980"/>
                  <a:gd name="connsiteX373" fmla="*/ 3713163 w 12103357"/>
                  <a:gd name="connsiteY373" fmla="*/ 110588 h 222980"/>
                  <a:gd name="connsiteX374" fmla="*/ 3693077 w 12103357"/>
                  <a:gd name="connsiteY374" fmla="*/ 194167 h 222980"/>
                  <a:gd name="connsiteX375" fmla="*/ 3636880 w 12103357"/>
                  <a:gd name="connsiteY375" fmla="*/ 222980 h 222980"/>
                  <a:gd name="connsiteX376" fmla="*/ 3584295 w 12103357"/>
                  <a:gd name="connsiteY376" fmla="*/ 195446 h 222980"/>
                  <a:gd name="connsiteX377" fmla="*/ 3565412 w 12103357"/>
                  <a:gd name="connsiteY377" fmla="*/ 115854 h 222980"/>
                  <a:gd name="connsiteX378" fmla="*/ 3585122 w 12103357"/>
                  <a:gd name="connsiteY378" fmla="*/ 29340 h 222980"/>
                  <a:gd name="connsiteX379" fmla="*/ 3641996 w 12103357"/>
                  <a:gd name="connsiteY379" fmla="*/ 0 h 222980"/>
                  <a:gd name="connsiteX380" fmla="*/ 3482114 w 12103357"/>
                  <a:gd name="connsiteY380" fmla="*/ 0 h 222980"/>
                  <a:gd name="connsiteX381" fmla="*/ 3497020 w 12103357"/>
                  <a:gd name="connsiteY381" fmla="*/ 0 h 222980"/>
                  <a:gd name="connsiteX382" fmla="*/ 3497020 w 12103357"/>
                  <a:gd name="connsiteY382" fmla="*/ 222980 h 222980"/>
                  <a:gd name="connsiteX383" fmla="*/ 3461732 w 12103357"/>
                  <a:gd name="connsiteY383" fmla="*/ 222980 h 222980"/>
                  <a:gd name="connsiteX384" fmla="*/ 3461732 w 12103357"/>
                  <a:gd name="connsiteY384" fmla="*/ 43197 h 222980"/>
                  <a:gd name="connsiteX385" fmla="*/ 3441123 w 12103357"/>
                  <a:gd name="connsiteY385" fmla="*/ 54832 h 222980"/>
                  <a:gd name="connsiteX386" fmla="*/ 3415950 w 12103357"/>
                  <a:gd name="connsiteY386" fmla="*/ 63274 h 222980"/>
                  <a:gd name="connsiteX387" fmla="*/ 3415950 w 12103357"/>
                  <a:gd name="connsiteY387" fmla="*/ 33158 h 222980"/>
                  <a:gd name="connsiteX388" fmla="*/ 3432985 w 12103357"/>
                  <a:gd name="connsiteY388" fmla="*/ 27074 h 222980"/>
                  <a:gd name="connsiteX389" fmla="*/ 3449184 w 12103357"/>
                  <a:gd name="connsiteY389" fmla="*/ 19925 h 222980"/>
                  <a:gd name="connsiteX390" fmla="*/ 3465307 w 12103357"/>
                  <a:gd name="connsiteY390" fmla="*/ 11104 h 222980"/>
                  <a:gd name="connsiteX391" fmla="*/ 3482114 w 12103357"/>
                  <a:gd name="connsiteY391" fmla="*/ 0 h 222980"/>
                  <a:gd name="connsiteX392" fmla="*/ 3183251 w 12103357"/>
                  <a:gd name="connsiteY392" fmla="*/ 0 h 222980"/>
                  <a:gd name="connsiteX393" fmla="*/ 3198157 w 12103357"/>
                  <a:gd name="connsiteY393" fmla="*/ 0 h 222980"/>
                  <a:gd name="connsiteX394" fmla="*/ 3198157 w 12103357"/>
                  <a:gd name="connsiteY394" fmla="*/ 222980 h 222980"/>
                  <a:gd name="connsiteX395" fmla="*/ 3162869 w 12103357"/>
                  <a:gd name="connsiteY395" fmla="*/ 222980 h 222980"/>
                  <a:gd name="connsiteX396" fmla="*/ 3162869 w 12103357"/>
                  <a:gd name="connsiteY396" fmla="*/ 43197 h 222980"/>
                  <a:gd name="connsiteX397" fmla="*/ 3142260 w 12103357"/>
                  <a:gd name="connsiteY397" fmla="*/ 54832 h 222980"/>
                  <a:gd name="connsiteX398" fmla="*/ 3117087 w 12103357"/>
                  <a:gd name="connsiteY398" fmla="*/ 63274 h 222980"/>
                  <a:gd name="connsiteX399" fmla="*/ 3117087 w 12103357"/>
                  <a:gd name="connsiteY399" fmla="*/ 33158 h 222980"/>
                  <a:gd name="connsiteX400" fmla="*/ 3134122 w 12103357"/>
                  <a:gd name="connsiteY400" fmla="*/ 27074 h 222980"/>
                  <a:gd name="connsiteX401" fmla="*/ 3150321 w 12103357"/>
                  <a:gd name="connsiteY401" fmla="*/ 19925 h 222980"/>
                  <a:gd name="connsiteX402" fmla="*/ 3166444 w 12103357"/>
                  <a:gd name="connsiteY402" fmla="*/ 11104 h 222980"/>
                  <a:gd name="connsiteX403" fmla="*/ 3183251 w 12103357"/>
                  <a:gd name="connsiteY403" fmla="*/ 0 h 222980"/>
                  <a:gd name="connsiteX404" fmla="*/ 2804036 w 12103357"/>
                  <a:gd name="connsiteY404" fmla="*/ 0 h 222980"/>
                  <a:gd name="connsiteX405" fmla="*/ 2818942 w 12103357"/>
                  <a:gd name="connsiteY405" fmla="*/ 0 h 222980"/>
                  <a:gd name="connsiteX406" fmla="*/ 2818942 w 12103357"/>
                  <a:gd name="connsiteY406" fmla="*/ 222980 h 222980"/>
                  <a:gd name="connsiteX407" fmla="*/ 2783654 w 12103357"/>
                  <a:gd name="connsiteY407" fmla="*/ 222980 h 222980"/>
                  <a:gd name="connsiteX408" fmla="*/ 2783654 w 12103357"/>
                  <a:gd name="connsiteY408" fmla="*/ 43197 h 222980"/>
                  <a:gd name="connsiteX409" fmla="*/ 2763045 w 12103357"/>
                  <a:gd name="connsiteY409" fmla="*/ 54832 h 222980"/>
                  <a:gd name="connsiteX410" fmla="*/ 2737872 w 12103357"/>
                  <a:gd name="connsiteY410" fmla="*/ 63274 h 222980"/>
                  <a:gd name="connsiteX411" fmla="*/ 2737872 w 12103357"/>
                  <a:gd name="connsiteY411" fmla="*/ 33158 h 222980"/>
                  <a:gd name="connsiteX412" fmla="*/ 2754907 w 12103357"/>
                  <a:gd name="connsiteY412" fmla="*/ 27074 h 222980"/>
                  <a:gd name="connsiteX413" fmla="*/ 2771106 w 12103357"/>
                  <a:gd name="connsiteY413" fmla="*/ 19925 h 222980"/>
                  <a:gd name="connsiteX414" fmla="*/ 2787229 w 12103357"/>
                  <a:gd name="connsiteY414" fmla="*/ 11104 h 222980"/>
                  <a:gd name="connsiteX415" fmla="*/ 2804036 w 12103357"/>
                  <a:gd name="connsiteY415" fmla="*/ 0 h 222980"/>
                  <a:gd name="connsiteX416" fmla="*/ 2654030 w 12103357"/>
                  <a:gd name="connsiteY416" fmla="*/ 0 h 222980"/>
                  <a:gd name="connsiteX417" fmla="*/ 2668936 w 12103357"/>
                  <a:gd name="connsiteY417" fmla="*/ 0 h 222980"/>
                  <a:gd name="connsiteX418" fmla="*/ 2668936 w 12103357"/>
                  <a:gd name="connsiteY418" fmla="*/ 222980 h 222980"/>
                  <a:gd name="connsiteX419" fmla="*/ 2633648 w 12103357"/>
                  <a:gd name="connsiteY419" fmla="*/ 222980 h 222980"/>
                  <a:gd name="connsiteX420" fmla="*/ 2633648 w 12103357"/>
                  <a:gd name="connsiteY420" fmla="*/ 43197 h 222980"/>
                  <a:gd name="connsiteX421" fmla="*/ 2613039 w 12103357"/>
                  <a:gd name="connsiteY421" fmla="*/ 54832 h 222980"/>
                  <a:gd name="connsiteX422" fmla="*/ 2587866 w 12103357"/>
                  <a:gd name="connsiteY422" fmla="*/ 63274 h 222980"/>
                  <a:gd name="connsiteX423" fmla="*/ 2587866 w 12103357"/>
                  <a:gd name="connsiteY423" fmla="*/ 33158 h 222980"/>
                  <a:gd name="connsiteX424" fmla="*/ 2604901 w 12103357"/>
                  <a:gd name="connsiteY424" fmla="*/ 27074 h 222980"/>
                  <a:gd name="connsiteX425" fmla="*/ 2621100 w 12103357"/>
                  <a:gd name="connsiteY425" fmla="*/ 19925 h 222980"/>
                  <a:gd name="connsiteX426" fmla="*/ 2637223 w 12103357"/>
                  <a:gd name="connsiteY426" fmla="*/ 11104 h 222980"/>
                  <a:gd name="connsiteX427" fmla="*/ 2654030 w 12103357"/>
                  <a:gd name="connsiteY427" fmla="*/ 0 h 222980"/>
                  <a:gd name="connsiteX428" fmla="*/ 2505173 w 12103357"/>
                  <a:gd name="connsiteY428" fmla="*/ 0 h 222980"/>
                  <a:gd name="connsiteX429" fmla="*/ 2520079 w 12103357"/>
                  <a:gd name="connsiteY429" fmla="*/ 0 h 222980"/>
                  <a:gd name="connsiteX430" fmla="*/ 2520079 w 12103357"/>
                  <a:gd name="connsiteY430" fmla="*/ 222980 h 222980"/>
                  <a:gd name="connsiteX431" fmla="*/ 2484791 w 12103357"/>
                  <a:gd name="connsiteY431" fmla="*/ 222980 h 222980"/>
                  <a:gd name="connsiteX432" fmla="*/ 2484791 w 12103357"/>
                  <a:gd name="connsiteY432" fmla="*/ 43197 h 222980"/>
                  <a:gd name="connsiteX433" fmla="*/ 2464182 w 12103357"/>
                  <a:gd name="connsiteY433" fmla="*/ 54832 h 222980"/>
                  <a:gd name="connsiteX434" fmla="*/ 2439009 w 12103357"/>
                  <a:gd name="connsiteY434" fmla="*/ 63274 h 222980"/>
                  <a:gd name="connsiteX435" fmla="*/ 2439009 w 12103357"/>
                  <a:gd name="connsiteY435" fmla="*/ 33158 h 222980"/>
                  <a:gd name="connsiteX436" fmla="*/ 2456044 w 12103357"/>
                  <a:gd name="connsiteY436" fmla="*/ 27074 h 222980"/>
                  <a:gd name="connsiteX437" fmla="*/ 2472243 w 12103357"/>
                  <a:gd name="connsiteY437" fmla="*/ 19925 h 222980"/>
                  <a:gd name="connsiteX438" fmla="*/ 2488366 w 12103357"/>
                  <a:gd name="connsiteY438" fmla="*/ 11104 h 222980"/>
                  <a:gd name="connsiteX439" fmla="*/ 2505173 w 12103357"/>
                  <a:gd name="connsiteY439" fmla="*/ 0 h 222980"/>
                  <a:gd name="connsiteX440" fmla="*/ 1749921 w 12103357"/>
                  <a:gd name="connsiteY440" fmla="*/ 0 h 222980"/>
                  <a:gd name="connsiteX441" fmla="*/ 1764827 w 12103357"/>
                  <a:gd name="connsiteY441" fmla="*/ 0 h 222980"/>
                  <a:gd name="connsiteX442" fmla="*/ 1764827 w 12103357"/>
                  <a:gd name="connsiteY442" fmla="*/ 222980 h 222980"/>
                  <a:gd name="connsiteX443" fmla="*/ 1729539 w 12103357"/>
                  <a:gd name="connsiteY443" fmla="*/ 222980 h 222980"/>
                  <a:gd name="connsiteX444" fmla="*/ 1729539 w 12103357"/>
                  <a:gd name="connsiteY444" fmla="*/ 43197 h 222980"/>
                  <a:gd name="connsiteX445" fmla="*/ 1708930 w 12103357"/>
                  <a:gd name="connsiteY445" fmla="*/ 54832 h 222980"/>
                  <a:gd name="connsiteX446" fmla="*/ 1683757 w 12103357"/>
                  <a:gd name="connsiteY446" fmla="*/ 63274 h 222980"/>
                  <a:gd name="connsiteX447" fmla="*/ 1683757 w 12103357"/>
                  <a:gd name="connsiteY447" fmla="*/ 33158 h 222980"/>
                  <a:gd name="connsiteX448" fmla="*/ 1700792 w 12103357"/>
                  <a:gd name="connsiteY448" fmla="*/ 27074 h 222980"/>
                  <a:gd name="connsiteX449" fmla="*/ 1716991 w 12103357"/>
                  <a:gd name="connsiteY449" fmla="*/ 19925 h 222980"/>
                  <a:gd name="connsiteX450" fmla="*/ 1733114 w 12103357"/>
                  <a:gd name="connsiteY450" fmla="*/ 11104 h 222980"/>
                  <a:gd name="connsiteX451" fmla="*/ 1749921 w 12103357"/>
                  <a:gd name="connsiteY451" fmla="*/ 0 h 222980"/>
                  <a:gd name="connsiteX452" fmla="*/ 1599915 w 12103357"/>
                  <a:gd name="connsiteY452" fmla="*/ 0 h 222980"/>
                  <a:gd name="connsiteX453" fmla="*/ 1614821 w 12103357"/>
                  <a:gd name="connsiteY453" fmla="*/ 0 h 222980"/>
                  <a:gd name="connsiteX454" fmla="*/ 1614821 w 12103357"/>
                  <a:gd name="connsiteY454" fmla="*/ 222980 h 222980"/>
                  <a:gd name="connsiteX455" fmla="*/ 1579533 w 12103357"/>
                  <a:gd name="connsiteY455" fmla="*/ 222980 h 222980"/>
                  <a:gd name="connsiteX456" fmla="*/ 1579533 w 12103357"/>
                  <a:gd name="connsiteY456" fmla="*/ 43197 h 222980"/>
                  <a:gd name="connsiteX457" fmla="*/ 1558924 w 12103357"/>
                  <a:gd name="connsiteY457" fmla="*/ 54832 h 222980"/>
                  <a:gd name="connsiteX458" fmla="*/ 1533751 w 12103357"/>
                  <a:gd name="connsiteY458" fmla="*/ 63274 h 222980"/>
                  <a:gd name="connsiteX459" fmla="*/ 1533751 w 12103357"/>
                  <a:gd name="connsiteY459" fmla="*/ 33158 h 222980"/>
                  <a:gd name="connsiteX460" fmla="*/ 1550786 w 12103357"/>
                  <a:gd name="connsiteY460" fmla="*/ 27074 h 222980"/>
                  <a:gd name="connsiteX461" fmla="*/ 1566985 w 12103357"/>
                  <a:gd name="connsiteY461" fmla="*/ 19925 h 222980"/>
                  <a:gd name="connsiteX462" fmla="*/ 1583108 w 12103357"/>
                  <a:gd name="connsiteY462" fmla="*/ 11104 h 222980"/>
                  <a:gd name="connsiteX463" fmla="*/ 1599915 w 12103357"/>
                  <a:gd name="connsiteY463" fmla="*/ 0 h 222980"/>
                  <a:gd name="connsiteX464" fmla="*/ 1302201 w 12103357"/>
                  <a:gd name="connsiteY464" fmla="*/ 0 h 222980"/>
                  <a:gd name="connsiteX465" fmla="*/ 1317107 w 12103357"/>
                  <a:gd name="connsiteY465" fmla="*/ 0 h 222980"/>
                  <a:gd name="connsiteX466" fmla="*/ 1317107 w 12103357"/>
                  <a:gd name="connsiteY466" fmla="*/ 222980 h 222980"/>
                  <a:gd name="connsiteX467" fmla="*/ 1281819 w 12103357"/>
                  <a:gd name="connsiteY467" fmla="*/ 222980 h 222980"/>
                  <a:gd name="connsiteX468" fmla="*/ 1281819 w 12103357"/>
                  <a:gd name="connsiteY468" fmla="*/ 43197 h 222980"/>
                  <a:gd name="connsiteX469" fmla="*/ 1261210 w 12103357"/>
                  <a:gd name="connsiteY469" fmla="*/ 54832 h 222980"/>
                  <a:gd name="connsiteX470" fmla="*/ 1236037 w 12103357"/>
                  <a:gd name="connsiteY470" fmla="*/ 63274 h 222980"/>
                  <a:gd name="connsiteX471" fmla="*/ 1236037 w 12103357"/>
                  <a:gd name="connsiteY471" fmla="*/ 33158 h 222980"/>
                  <a:gd name="connsiteX472" fmla="*/ 1253072 w 12103357"/>
                  <a:gd name="connsiteY472" fmla="*/ 27074 h 222980"/>
                  <a:gd name="connsiteX473" fmla="*/ 1269271 w 12103357"/>
                  <a:gd name="connsiteY473" fmla="*/ 19925 h 222980"/>
                  <a:gd name="connsiteX474" fmla="*/ 1285394 w 12103357"/>
                  <a:gd name="connsiteY474" fmla="*/ 11104 h 222980"/>
                  <a:gd name="connsiteX475" fmla="*/ 1302201 w 12103357"/>
                  <a:gd name="connsiteY475" fmla="*/ 0 h 222980"/>
                  <a:gd name="connsiteX476" fmla="*/ 927321 w 12103357"/>
                  <a:gd name="connsiteY476" fmla="*/ 0 h 222980"/>
                  <a:gd name="connsiteX477" fmla="*/ 942227 w 12103357"/>
                  <a:gd name="connsiteY477" fmla="*/ 0 h 222980"/>
                  <a:gd name="connsiteX478" fmla="*/ 942227 w 12103357"/>
                  <a:gd name="connsiteY478" fmla="*/ 222980 h 222980"/>
                  <a:gd name="connsiteX479" fmla="*/ 906939 w 12103357"/>
                  <a:gd name="connsiteY479" fmla="*/ 222980 h 222980"/>
                  <a:gd name="connsiteX480" fmla="*/ 906939 w 12103357"/>
                  <a:gd name="connsiteY480" fmla="*/ 43197 h 222980"/>
                  <a:gd name="connsiteX481" fmla="*/ 886330 w 12103357"/>
                  <a:gd name="connsiteY481" fmla="*/ 54832 h 222980"/>
                  <a:gd name="connsiteX482" fmla="*/ 861157 w 12103357"/>
                  <a:gd name="connsiteY482" fmla="*/ 63274 h 222980"/>
                  <a:gd name="connsiteX483" fmla="*/ 861157 w 12103357"/>
                  <a:gd name="connsiteY483" fmla="*/ 33158 h 222980"/>
                  <a:gd name="connsiteX484" fmla="*/ 878192 w 12103357"/>
                  <a:gd name="connsiteY484" fmla="*/ 27074 h 222980"/>
                  <a:gd name="connsiteX485" fmla="*/ 894391 w 12103357"/>
                  <a:gd name="connsiteY485" fmla="*/ 19925 h 222980"/>
                  <a:gd name="connsiteX486" fmla="*/ 910514 w 12103357"/>
                  <a:gd name="connsiteY486" fmla="*/ 11104 h 222980"/>
                  <a:gd name="connsiteX487" fmla="*/ 927321 w 12103357"/>
                  <a:gd name="connsiteY487" fmla="*/ 0 h 222980"/>
                  <a:gd name="connsiteX488" fmla="*/ 778464 w 12103357"/>
                  <a:gd name="connsiteY488" fmla="*/ 0 h 222980"/>
                  <a:gd name="connsiteX489" fmla="*/ 793370 w 12103357"/>
                  <a:gd name="connsiteY489" fmla="*/ 0 h 222980"/>
                  <a:gd name="connsiteX490" fmla="*/ 793370 w 12103357"/>
                  <a:gd name="connsiteY490" fmla="*/ 222980 h 222980"/>
                  <a:gd name="connsiteX491" fmla="*/ 758082 w 12103357"/>
                  <a:gd name="connsiteY491" fmla="*/ 222980 h 222980"/>
                  <a:gd name="connsiteX492" fmla="*/ 758082 w 12103357"/>
                  <a:gd name="connsiteY492" fmla="*/ 43197 h 222980"/>
                  <a:gd name="connsiteX493" fmla="*/ 737473 w 12103357"/>
                  <a:gd name="connsiteY493" fmla="*/ 54832 h 222980"/>
                  <a:gd name="connsiteX494" fmla="*/ 712300 w 12103357"/>
                  <a:gd name="connsiteY494" fmla="*/ 63274 h 222980"/>
                  <a:gd name="connsiteX495" fmla="*/ 712300 w 12103357"/>
                  <a:gd name="connsiteY495" fmla="*/ 33158 h 222980"/>
                  <a:gd name="connsiteX496" fmla="*/ 729335 w 12103357"/>
                  <a:gd name="connsiteY496" fmla="*/ 27074 h 222980"/>
                  <a:gd name="connsiteX497" fmla="*/ 745534 w 12103357"/>
                  <a:gd name="connsiteY497" fmla="*/ 19925 h 222980"/>
                  <a:gd name="connsiteX498" fmla="*/ 761657 w 12103357"/>
                  <a:gd name="connsiteY498" fmla="*/ 11104 h 222980"/>
                  <a:gd name="connsiteX499" fmla="*/ 778464 w 12103357"/>
                  <a:gd name="connsiteY499" fmla="*/ 0 h 222980"/>
                  <a:gd name="connsiteX500" fmla="*/ 629607 w 12103357"/>
                  <a:gd name="connsiteY500" fmla="*/ 0 h 222980"/>
                  <a:gd name="connsiteX501" fmla="*/ 644513 w 12103357"/>
                  <a:gd name="connsiteY501" fmla="*/ 0 h 222980"/>
                  <a:gd name="connsiteX502" fmla="*/ 644513 w 12103357"/>
                  <a:gd name="connsiteY502" fmla="*/ 222980 h 222980"/>
                  <a:gd name="connsiteX503" fmla="*/ 609225 w 12103357"/>
                  <a:gd name="connsiteY503" fmla="*/ 222980 h 222980"/>
                  <a:gd name="connsiteX504" fmla="*/ 609225 w 12103357"/>
                  <a:gd name="connsiteY504" fmla="*/ 43197 h 222980"/>
                  <a:gd name="connsiteX505" fmla="*/ 588616 w 12103357"/>
                  <a:gd name="connsiteY505" fmla="*/ 54832 h 222980"/>
                  <a:gd name="connsiteX506" fmla="*/ 563443 w 12103357"/>
                  <a:gd name="connsiteY506" fmla="*/ 63274 h 222980"/>
                  <a:gd name="connsiteX507" fmla="*/ 563443 w 12103357"/>
                  <a:gd name="connsiteY507" fmla="*/ 33158 h 222980"/>
                  <a:gd name="connsiteX508" fmla="*/ 580478 w 12103357"/>
                  <a:gd name="connsiteY508" fmla="*/ 27074 h 222980"/>
                  <a:gd name="connsiteX509" fmla="*/ 596677 w 12103357"/>
                  <a:gd name="connsiteY509" fmla="*/ 19925 h 222980"/>
                  <a:gd name="connsiteX510" fmla="*/ 612800 w 12103357"/>
                  <a:gd name="connsiteY510" fmla="*/ 11104 h 222980"/>
                  <a:gd name="connsiteX511" fmla="*/ 629607 w 12103357"/>
                  <a:gd name="connsiteY511" fmla="*/ 0 h 222980"/>
                  <a:gd name="connsiteX512" fmla="*/ 480750 w 12103357"/>
                  <a:gd name="connsiteY512" fmla="*/ 0 h 222980"/>
                  <a:gd name="connsiteX513" fmla="*/ 495656 w 12103357"/>
                  <a:gd name="connsiteY513" fmla="*/ 0 h 222980"/>
                  <a:gd name="connsiteX514" fmla="*/ 495656 w 12103357"/>
                  <a:gd name="connsiteY514" fmla="*/ 222980 h 222980"/>
                  <a:gd name="connsiteX515" fmla="*/ 460368 w 12103357"/>
                  <a:gd name="connsiteY515" fmla="*/ 222980 h 222980"/>
                  <a:gd name="connsiteX516" fmla="*/ 460368 w 12103357"/>
                  <a:gd name="connsiteY516" fmla="*/ 43197 h 222980"/>
                  <a:gd name="connsiteX517" fmla="*/ 439759 w 12103357"/>
                  <a:gd name="connsiteY517" fmla="*/ 54832 h 222980"/>
                  <a:gd name="connsiteX518" fmla="*/ 414586 w 12103357"/>
                  <a:gd name="connsiteY518" fmla="*/ 63274 h 222980"/>
                  <a:gd name="connsiteX519" fmla="*/ 414586 w 12103357"/>
                  <a:gd name="connsiteY519" fmla="*/ 33158 h 222980"/>
                  <a:gd name="connsiteX520" fmla="*/ 431621 w 12103357"/>
                  <a:gd name="connsiteY520" fmla="*/ 27074 h 222980"/>
                  <a:gd name="connsiteX521" fmla="*/ 447820 w 12103357"/>
                  <a:gd name="connsiteY521" fmla="*/ 19925 h 222980"/>
                  <a:gd name="connsiteX522" fmla="*/ 463943 w 12103357"/>
                  <a:gd name="connsiteY522" fmla="*/ 11104 h 222980"/>
                  <a:gd name="connsiteX523" fmla="*/ 480750 w 12103357"/>
                  <a:gd name="connsiteY523" fmla="*/ 0 h 222980"/>
                  <a:gd name="connsiteX524" fmla="*/ 275106 w 12103357"/>
                  <a:gd name="connsiteY524" fmla="*/ 0 h 222980"/>
                  <a:gd name="connsiteX525" fmla="*/ 346273 w 12103357"/>
                  <a:gd name="connsiteY525" fmla="*/ 110588 h 222980"/>
                  <a:gd name="connsiteX526" fmla="*/ 326187 w 12103357"/>
                  <a:gd name="connsiteY526" fmla="*/ 194167 h 222980"/>
                  <a:gd name="connsiteX527" fmla="*/ 269990 w 12103357"/>
                  <a:gd name="connsiteY527" fmla="*/ 222980 h 222980"/>
                  <a:gd name="connsiteX528" fmla="*/ 217405 w 12103357"/>
                  <a:gd name="connsiteY528" fmla="*/ 195446 h 222980"/>
                  <a:gd name="connsiteX529" fmla="*/ 198522 w 12103357"/>
                  <a:gd name="connsiteY529" fmla="*/ 115854 h 222980"/>
                  <a:gd name="connsiteX530" fmla="*/ 218232 w 12103357"/>
                  <a:gd name="connsiteY530" fmla="*/ 29340 h 222980"/>
                  <a:gd name="connsiteX531" fmla="*/ 275106 w 12103357"/>
                  <a:gd name="connsiteY531" fmla="*/ 0 h 222980"/>
                  <a:gd name="connsiteX532" fmla="*/ 76584 w 12103357"/>
                  <a:gd name="connsiteY532" fmla="*/ 0 h 222980"/>
                  <a:gd name="connsiteX533" fmla="*/ 147751 w 12103357"/>
                  <a:gd name="connsiteY533" fmla="*/ 110588 h 222980"/>
                  <a:gd name="connsiteX534" fmla="*/ 127665 w 12103357"/>
                  <a:gd name="connsiteY534" fmla="*/ 194167 h 222980"/>
                  <a:gd name="connsiteX535" fmla="*/ 71468 w 12103357"/>
                  <a:gd name="connsiteY535" fmla="*/ 222980 h 222980"/>
                  <a:gd name="connsiteX536" fmla="*/ 18883 w 12103357"/>
                  <a:gd name="connsiteY536" fmla="*/ 195446 h 222980"/>
                  <a:gd name="connsiteX537" fmla="*/ 0 w 12103357"/>
                  <a:gd name="connsiteY537" fmla="*/ 115854 h 222980"/>
                  <a:gd name="connsiteX538" fmla="*/ 19710 w 12103357"/>
                  <a:gd name="connsiteY538" fmla="*/ 29340 h 222980"/>
                  <a:gd name="connsiteX539" fmla="*/ 76584 w 12103357"/>
                  <a:gd name="connsiteY5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Lst>
                <a:rect l="l" t="t" r="r" b="b"/>
                <a:pathLst>
                  <a:path w="12103357" h="222980">
                    <a:moveTo>
                      <a:pt x="11868819" y="27835"/>
                    </a:moveTo>
                    <a:cubicBezTo>
                      <a:pt x="11842639" y="27835"/>
                      <a:pt x="11829549" y="56673"/>
                      <a:pt x="11829549" y="114349"/>
                    </a:cubicBezTo>
                    <a:cubicBezTo>
                      <a:pt x="11829549" y="168313"/>
                      <a:pt x="11842388" y="195296"/>
                      <a:pt x="11868067" y="195296"/>
                    </a:cubicBezTo>
                    <a:cubicBezTo>
                      <a:pt x="11893343" y="195296"/>
                      <a:pt x="11905982" y="167862"/>
                      <a:pt x="11905982" y="112995"/>
                    </a:cubicBezTo>
                    <a:cubicBezTo>
                      <a:pt x="11905982" y="56221"/>
                      <a:pt x="11893594" y="27835"/>
                      <a:pt x="11868819" y="27835"/>
                    </a:cubicBezTo>
                    <a:close/>
                    <a:moveTo>
                      <a:pt x="11181654" y="27835"/>
                    </a:moveTo>
                    <a:cubicBezTo>
                      <a:pt x="11155474" y="27835"/>
                      <a:pt x="11142384" y="56673"/>
                      <a:pt x="11142384" y="114349"/>
                    </a:cubicBezTo>
                    <a:cubicBezTo>
                      <a:pt x="11142384" y="168313"/>
                      <a:pt x="11155223" y="195296"/>
                      <a:pt x="11180902" y="195296"/>
                    </a:cubicBezTo>
                    <a:cubicBezTo>
                      <a:pt x="11206178" y="195296"/>
                      <a:pt x="11218817" y="167862"/>
                      <a:pt x="11218817" y="112995"/>
                    </a:cubicBezTo>
                    <a:cubicBezTo>
                      <a:pt x="11218817" y="56221"/>
                      <a:pt x="11206429" y="27835"/>
                      <a:pt x="11181654" y="27835"/>
                    </a:cubicBezTo>
                    <a:close/>
                    <a:moveTo>
                      <a:pt x="9924168" y="27835"/>
                    </a:moveTo>
                    <a:cubicBezTo>
                      <a:pt x="9897988" y="27835"/>
                      <a:pt x="9884898" y="56673"/>
                      <a:pt x="9884898" y="114349"/>
                    </a:cubicBezTo>
                    <a:cubicBezTo>
                      <a:pt x="9884898" y="168313"/>
                      <a:pt x="9897737" y="195296"/>
                      <a:pt x="9923416" y="195296"/>
                    </a:cubicBezTo>
                    <a:cubicBezTo>
                      <a:pt x="9948692" y="195296"/>
                      <a:pt x="9961331" y="167862"/>
                      <a:pt x="9961331" y="112995"/>
                    </a:cubicBezTo>
                    <a:cubicBezTo>
                      <a:pt x="9961331" y="56221"/>
                      <a:pt x="9948943" y="27835"/>
                      <a:pt x="9924168" y="27835"/>
                    </a:cubicBezTo>
                    <a:close/>
                    <a:moveTo>
                      <a:pt x="9707274" y="27835"/>
                    </a:moveTo>
                    <a:cubicBezTo>
                      <a:pt x="9681094" y="27835"/>
                      <a:pt x="9668004" y="56673"/>
                      <a:pt x="9668004" y="114349"/>
                    </a:cubicBezTo>
                    <a:cubicBezTo>
                      <a:pt x="9668004" y="168313"/>
                      <a:pt x="9680843" y="195296"/>
                      <a:pt x="9706522" y="195296"/>
                    </a:cubicBezTo>
                    <a:cubicBezTo>
                      <a:pt x="9731798" y="195296"/>
                      <a:pt x="9744437" y="167862"/>
                      <a:pt x="9744437" y="112995"/>
                    </a:cubicBezTo>
                    <a:cubicBezTo>
                      <a:pt x="9744437" y="56221"/>
                      <a:pt x="9732049" y="27835"/>
                      <a:pt x="9707274" y="27835"/>
                    </a:cubicBezTo>
                    <a:close/>
                    <a:moveTo>
                      <a:pt x="6330267" y="27835"/>
                    </a:moveTo>
                    <a:cubicBezTo>
                      <a:pt x="6304087" y="27835"/>
                      <a:pt x="6290997" y="56673"/>
                      <a:pt x="6290997" y="114349"/>
                    </a:cubicBezTo>
                    <a:cubicBezTo>
                      <a:pt x="6290997" y="168313"/>
                      <a:pt x="6303836" y="195296"/>
                      <a:pt x="6329515" y="195296"/>
                    </a:cubicBezTo>
                    <a:cubicBezTo>
                      <a:pt x="6354792" y="195296"/>
                      <a:pt x="6367430" y="167862"/>
                      <a:pt x="6367430" y="112995"/>
                    </a:cubicBezTo>
                    <a:cubicBezTo>
                      <a:pt x="6367430" y="56221"/>
                      <a:pt x="6355042" y="27835"/>
                      <a:pt x="6330267" y="27835"/>
                    </a:cubicBezTo>
                    <a:close/>
                    <a:moveTo>
                      <a:pt x="6148772" y="27835"/>
                    </a:moveTo>
                    <a:cubicBezTo>
                      <a:pt x="6122592" y="27835"/>
                      <a:pt x="6109502" y="56673"/>
                      <a:pt x="6109502" y="114349"/>
                    </a:cubicBezTo>
                    <a:cubicBezTo>
                      <a:pt x="6109502" y="168313"/>
                      <a:pt x="6122341" y="195296"/>
                      <a:pt x="6148020" y="195296"/>
                    </a:cubicBezTo>
                    <a:cubicBezTo>
                      <a:pt x="6173297" y="195296"/>
                      <a:pt x="6185935" y="167862"/>
                      <a:pt x="6185935" y="112995"/>
                    </a:cubicBezTo>
                    <a:cubicBezTo>
                      <a:pt x="6185935" y="56221"/>
                      <a:pt x="6173547" y="27835"/>
                      <a:pt x="6148772" y="27835"/>
                    </a:cubicBezTo>
                    <a:close/>
                    <a:moveTo>
                      <a:pt x="5817314" y="27835"/>
                    </a:moveTo>
                    <a:cubicBezTo>
                      <a:pt x="5791134" y="27835"/>
                      <a:pt x="5778044" y="56673"/>
                      <a:pt x="5778044" y="114349"/>
                    </a:cubicBezTo>
                    <a:cubicBezTo>
                      <a:pt x="5778044" y="168313"/>
                      <a:pt x="5790883" y="195296"/>
                      <a:pt x="5816562" y="195296"/>
                    </a:cubicBezTo>
                    <a:cubicBezTo>
                      <a:pt x="5841839" y="195296"/>
                      <a:pt x="5854478" y="167862"/>
                      <a:pt x="5854478" y="112995"/>
                    </a:cubicBezTo>
                    <a:cubicBezTo>
                      <a:pt x="5854478" y="56221"/>
                      <a:pt x="5842089" y="27835"/>
                      <a:pt x="5817314" y="27835"/>
                    </a:cubicBezTo>
                    <a:close/>
                    <a:moveTo>
                      <a:pt x="5117747" y="27835"/>
                    </a:moveTo>
                    <a:cubicBezTo>
                      <a:pt x="5091567" y="27835"/>
                      <a:pt x="5078477" y="56673"/>
                      <a:pt x="5078477" y="114349"/>
                    </a:cubicBezTo>
                    <a:cubicBezTo>
                      <a:pt x="5078477" y="168313"/>
                      <a:pt x="5091316" y="195296"/>
                      <a:pt x="5116995" y="195296"/>
                    </a:cubicBezTo>
                    <a:cubicBezTo>
                      <a:pt x="5142272" y="195296"/>
                      <a:pt x="5154910" y="167862"/>
                      <a:pt x="5154910" y="112995"/>
                    </a:cubicBezTo>
                    <a:cubicBezTo>
                      <a:pt x="5154910" y="56221"/>
                      <a:pt x="5142522" y="27835"/>
                      <a:pt x="5117747" y="27835"/>
                    </a:cubicBezTo>
                    <a:close/>
                    <a:moveTo>
                      <a:pt x="3857235" y="27835"/>
                    </a:moveTo>
                    <a:cubicBezTo>
                      <a:pt x="3831055" y="27835"/>
                      <a:pt x="3817965" y="56673"/>
                      <a:pt x="3817965" y="114349"/>
                    </a:cubicBezTo>
                    <a:cubicBezTo>
                      <a:pt x="3817965" y="168313"/>
                      <a:pt x="3830804" y="195296"/>
                      <a:pt x="3856483" y="195296"/>
                    </a:cubicBezTo>
                    <a:cubicBezTo>
                      <a:pt x="3881760" y="195296"/>
                      <a:pt x="3894398" y="167862"/>
                      <a:pt x="3894398" y="112995"/>
                    </a:cubicBezTo>
                    <a:cubicBezTo>
                      <a:pt x="3894398" y="56221"/>
                      <a:pt x="3882010" y="27835"/>
                      <a:pt x="3857235" y="27835"/>
                    </a:cubicBezTo>
                    <a:close/>
                    <a:moveTo>
                      <a:pt x="3640341" y="27835"/>
                    </a:moveTo>
                    <a:cubicBezTo>
                      <a:pt x="3614161" y="27835"/>
                      <a:pt x="3601071" y="56673"/>
                      <a:pt x="3601071" y="114349"/>
                    </a:cubicBezTo>
                    <a:cubicBezTo>
                      <a:pt x="3601071" y="168313"/>
                      <a:pt x="3613910" y="195296"/>
                      <a:pt x="3639589" y="195296"/>
                    </a:cubicBezTo>
                    <a:cubicBezTo>
                      <a:pt x="3664866" y="195296"/>
                      <a:pt x="3677504" y="167862"/>
                      <a:pt x="3677504" y="112995"/>
                    </a:cubicBezTo>
                    <a:cubicBezTo>
                      <a:pt x="3677504" y="56221"/>
                      <a:pt x="3665116" y="27835"/>
                      <a:pt x="3640341" y="27835"/>
                    </a:cubicBezTo>
                    <a:close/>
                    <a:moveTo>
                      <a:pt x="273451" y="27835"/>
                    </a:moveTo>
                    <a:cubicBezTo>
                      <a:pt x="247271" y="27835"/>
                      <a:pt x="234181" y="56673"/>
                      <a:pt x="234181" y="114349"/>
                    </a:cubicBezTo>
                    <a:cubicBezTo>
                      <a:pt x="234181" y="168313"/>
                      <a:pt x="247020" y="195296"/>
                      <a:pt x="272699" y="195296"/>
                    </a:cubicBezTo>
                    <a:cubicBezTo>
                      <a:pt x="297976" y="195296"/>
                      <a:pt x="310614" y="167862"/>
                      <a:pt x="310614" y="112995"/>
                    </a:cubicBezTo>
                    <a:cubicBezTo>
                      <a:pt x="310614" y="56221"/>
                      <a:pt x="298226" y="27835"/>
                      <a:pt x="27345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2088451" y="0"/>
                    </a:moveTo>
                    <a:lnTo>
                      <a:pt x="12103357" y="0"/>
                    </a:lnTo>
                    <a:lnTo>
                      <a:pt x="12103357" y="222980"/>
                    </a:lnTo>
                    <a:lnTo>
                      <a:pt x="12068069" y="222980"/>
                    </a:lnTo>
                    <a:lnTo>
                      <a:pt x="12068069" y="43197"/>
                    </a:lnTo>
                    <a:cubicBezTo>
                      <a:pt x="12061681" y="47760"/>
                      <a:pt x="12054811" y="51638"/>
                      <a:pt x="12047460" y="54832"/>
                    </a:cubicBezTo>
                    <a:cubicBezTo>
                      <a:pt x="12040108" y="58027"/>
                      <a:pt x="12031717" y="60840"/>
                      <a:pt x="12022287" y="63274"/>
                    </a:cubicBezTo>
                    <a:lnTo>
                      <a:pt x="12022287" y="33158"/>
                    </a:lnTo>
                    <a:cubicBezTo>
                      <a:pt x="12028168" y="31232"/>
                      <a:pt x="12033847" y="29204"/>
                      <a:pt x="12039322" y="27074"/>
                    </a:cubicBezTo>
                    <a:cubicBezTo>
                      <a:pt x="12044798" y="24945"/>
                      <a:pt x="12050198" y="22562"/>
                      <a:pt x="12055521" y="19925"/>
                    </a:cubicBezTo>
                    <a:cubicBezTo>
                      <a:pt x="12060845" y="17289"/>
                      <a:pt x="12066219" y="14348"/>
                      <a:pt x="12071644" y="11104"/>
                    </a:cubicBezTo>
                    <a:cubicBezTo>
                      <a:pt x="12077069" y="7859"/>
                      <a:pt x="12082671" y="4158"/>
                      <a:pt x="12088451" y="0"/>
                    </a:cubicBezTo>
                    <a:close/>
                    <a:moveTo>
                      <a:pt x="11870474" y="0"/>
                    </a:moveTo>
                    <a:cubicBezTo>
                      <a:pt x="11917918" y="0"/>
                      <a:pt x="11941641" y="36863"/>
                      <a:pt x="11941641" y="110588"/>
                    </a:cubicBezTo>
                    <a:cubicBezTo>
                      <a:pt x="11941641" y="147099"/>
                      <a:pt x="11934945" y="174959"/>
                      <a:pt x="11921555" y="194167"/>
                    </a:cubicBezTo>
                    <a:cubicBezTo>
                      <a:pt x="11908164" y="213376"/>
                      <a:pt x="11889432" y="222980"/>
                      <a:pt x="11865358" y="222980"/>
                    </a:cubicBezTo>
                    <a:cubicBezTo>
                      <a:pt x="11842890" y="222980"/>
                      <a:pt x="11825361" y="213802"/>
                      <a:pt x="11812773" y="195446"/>
                    </a:cubicBezTo>
                    <a:cubicBezTo>
                      <a:pt x="11800184" y="177090"/>
                      <a:pt x="11793890" y="150559"/>
                      <a:pt x="11793890" y="115854"/>
                    </a:cubicBezTo>
                    <a:cubicBezTo>
                      <a:pt x="11793890" y="77737"/>
                      <a:pt x="11800460" y="48900"/>
                      <a:pt x="11813600" y="29340"/>
                    </a:cubicBezTo>
                    <a:cubicBezTo>
                      <a:pt x="11826741" y="9780"/>
                      <a:pt x="11845698" y="0"/>
                      <a:pt x="11870474" y="0"/>
                    </a:cubicBezTo>
                    <a:close/>
                    <a:moveTo>
                      <a:pt x="11183309" y="0"/>
                    </a:moveTo>
                    <a:cubicBezTo>
                      <a:pt x="11230753" y="0"/>
                      <a:pt x="11254476" y="36863"/>
                      <a:pt x="11254476" y="110588"/>
                    </a:cubicBezTo>
                    <a:cubicBezTo>
                      <a:pt x="11254476" y="147099"/>
                      <a:pt x="11247780" y="174959"/>
                      <a:pt x="11234390" y="194167"/>
                    </a:cubicBezTo>
                    <a:cubicBezTo>
                      <a:pt x="11220999" y="213376"/>
                      <a:pt x="11202267" y="222980"/>
                      <a:pt x="11178193" y="222980"/>
                    </a:cubicBezTo>
                    <a:cubicBezTo>
                      <a:pt x="11155725" y="222980"/>
                      <a:pt x="11138196" y="213802"/>
                      <a:pt x="11125608" y="195446"/>
                    </a:cubicBezTo>
                    <a:cubicBezTo>
                      <a:pt x="11113019" y="177090"/>
                      <a:pt x="11106725" y="150559"/>
                      <a:pt x="11106725" y="115854"/>
                    </a:cubicBezTo>
                    <a:cubicBezTo>
                      <a:pt x="11106725" y="77737"/>
                      <a:pt x="11113295" y="48900"/>
                      <a:pt x="11126435" y="29340"/>
                    </a:cubicBezTo>
                    <a:cubicBezTo>
                      <a:pt x="11139576" y="9780"/>
                      <a:pt x="11158533" y="0"/>
                      <a:pt x="11183309" y="0"/>
                    </a:cubicBezTo>
                    <a:close/>
                    <a:moveTo>
                      <a:pt x="10794578" y="0"/>
                    </a:moveTo>
                    <a:lnTo>
                      <a:pt x="10809484" y="0"/>
                    </a:lnTo>
                    <a:lnTo>
                      <a:pt x="10809484" y="222980"/>
                    </a:lnTo>
                    <a:lnTo>
                      <a:pt x="10774196" y="222980"/>
                    </a:lnTo>
                    <a:lnTo>
                      <a:pt x="10774196" y="43197"/>
                    </a:lnTo>
                    <a:cubicBezTo>
                      <a:pt x="10767808" y="47760"/>
                      <a:pt x="10760938" y="51638"/>
                      <a:pt x="10753587" y="54832"/>
                    </a:cubicBezTo>
                    <a:cubicBezTo>
                      <a:pt x="10746235" y="58027"/>
                      <a:pt x="10737844" y="60840"/>
                      <a:pt x="10728414" y="63274"/>
                    </a:cubicBezTo>
                    <a:lnTo>
                      <a:pt x="10728414" y="33158"/>
                    </a:lnTo>
                    <a:cubicBezTo>
                      <a:pt x="10734295" y="31232"/>
                      <a:pt x="10739974" y="29204"/>
                      <a:pt x="10745449" y="27074"/>
                    </a:cubicBezTo>
                    <a:cubicBezTo>
                      <a:pt x="10750925" y="24945"/>
                      <a:pt x="10756325" y="22562"/>
                      <a:pt x="10761648" y="19925"/>
                    </a:cubicBezTo>
                    <a:cubicBezTo>
                      <a:pt x="10766972" y="17289"/>
                      <a:pt x="10772346" y="14348"/>
                      <a:pt x="10777771" y="11104"/>
                    </a:cubicBezTo>
                    <a:cubicBezTo>
                      <a:pt x="10783196" y="7859"/>
                      <a:pt x="10788798" y="4158"/>
                      <a:pt x="10794578" y="0"/>
                    </a:cubicBezTo>
                    <a:close/>
                    <a:moveTo>
                      <a:pt x="10431056" y="0"/>
                    </a:moveTo>
                    <a:lnTo>
                      <a:pt x="10445962" y="0"/>
                    </a:lnTo>
                    <a:lnTo>
                      <a:pt x="10445962" y="222980"/>
                    </a:lnTo>
                    <a:lnTo>
                      <a:pt x="10410674" y="222980"/>
                    </a:lnTo>
                    <a:lnTo>
                      <a:pt x="10410674" y="43197"/>
                    </a:lnTo>
                    <a:cubicBezTo>
                      <a:pt x="10404286" y="47760"/>
                      <a:pt x="10397416" y="51638"/>
                      <a:pt x="10390065" y="54832"/>
                    </a:cubicBezTo>
                    <a:cubicBezTo>
                      <a:pt x="10382713" y="58027"/>
                      <a:pt x="10374322" y="60840"/>
                      <a:pt x="10364892" y="63274"/>
                    </a:cubicBezTo>
                    <a:lnTo>
                      <a:pt x="10364892" y="33158"/>
                    </a:lnTo>
                    <a:cubicBezTo>
                      <a:pt x="10370773" y="31232"/>
                      <a:pt x="10376452" y="29204"/>
                      <a:pt x="10381927" y="27074"/>
                    </a:cubicBezTo>
                    <a:cubicBezTo>
                      <a:pt x="10387403" y="24945"/>
                      <a:pt x="10392803" y="22562"/>
                      <a:pt x="10398126" y="19925"/>
                    </a:cubicBezTo>
                    <a:cubicBezTo>
                      <a:pt x="10403450" y="17289"/>
                      <a:pt x="10408824" y="14348"/>
                      <a:pt x="10414249" y="11104"/>
                    </a:cubicBezTo>
                    <a:cubicBezTo>
                      <a:pt x="10419674" y="7859"/>
                      <a:pt x="10425276" y="4158"/>
                      <a:pt x="10431056" y="0"/>
                    </a:cubicBezTo>
                    <a:close/>
                    <a:moveTo>
                      <a:pt x="10132193" y="0"/>
                    </a:moveTo>
                    <a:lnTo>
                      <a:pt x="10147099" y="0"/>
                    </a:lnTo>
                    <a:lnTo>
                      <a:pt x="10147099" y="222980"/>
                    </a:lnTo>
                    <a:lnTo>
                      <a:pt x="10111811" y="222980"/>
                    </a:lnTo>
                    <a:lnTo>
                      <a:pt x="10111811" y="43197"/>
                    </a:lnTo>
                    <a:cubicBezTo>
                      <a:pt x="10105423" y="47760"/>
                      <a:pt x="10098553" y="51638"/>
                      <a:pt x="10091202" y="54832"/>
                    </a:cubicBezTo>
                    <a:cubicBezTo>
                      <a:pt x="10083850" y="58027"/>
                      <a:pt x="10075459" y="60840"/>
                      <a:pt x="10066029" y="63274"/>
                    </a:cubicBezTo>
                    <a:lnTo>
                      <a:pt x="10066029" y="33158"/>
                    </a:lnTo>
                    <a:cubicBezTo>
                      <a:pt x="10071910" y="31232"/>
                      <a:pt x="10077589" y="29204"/>
                      <a:pt x="10083064" y="27074"/>
                    </a:cubicBezTo>
                    <a:cubicBezTo>
                      <a:pt x="10088540" y="24945"/>
                      <a:pt x="10093940" y="22562"/>
                      <a:pt x="10099263" y="19925"/>
                    </a:cubicBezTo>
                    <a:cubicBezTo>
                      <a:pt x="10104587" y="17289"/>
                      <a:pt x="10109961" y="14348"/>
                      <a:pt x="10115386" y="11104"/>
                    </a:cubicBezTo>
                    <a:cubicBezTo>
                      <a:pt x="10120811" y="7859"/>
                      <a:pt x="10126413" y="4158"/>
                      <a:pt x="10132193" y="0"/>
                    </a:cubicBezTo>
                    <a:close/>
                    <a:moveTo>
                      <a:pt x="9925823" y="0"/>
                    </a:moveTo>
                    <a:cubicBezTo>
                      <a:pt x="9973267" y="0"/>
                      <a:pt x="9996990" y="36863"/>
                      <a:pt x="9996990" y="110588"/>
                    </a:cubicBezTo>
                    <a:cubicBezTo>
                      <a:pt x="9996990" y="147099"/>
                      <a:pt x="9990294" y="174959"/>
                      <a:pt x="9976904" y="194167"/>
                    </a:cubicBezTo>
                    <a:cubicBezTo>
                      <a:pt x="9963513" y="213376"/>
                      <a:pt x="9944781" y="222980"/>
                      <a:pt x="9920707" y="222980"/>
                    </a:cubicBezTo>
                    <a:cubicBezTo>
                      <a:pt x="9898239" y="222980"/>
                      <a:pt x="9880710" y="213802"/>
                      <a:pt x="9868122" y="195446"/>
                    </a:cubicBezTo>
                    <a:cubicBezTo>
                      <a:pt x="9855533" y="177090"/>
                      <a:pt x="9849239" y="150559"/>
                      <a:pt x="9849239" y="115854"/>
                    </a:cubicBezTo>
                    <a:cubicBezTo>
                      <a:pt x="9849239" y="77737"/>
                      <a:pt x="9855809" y="48900"/>
                      <a:pt x="9868949" y="29340"/>
                    </a:cubicBezTo>
                    <a:cubicBezTo>
                      <a:pt x="9882090" y="9780"/>
                      <a:pt x="9901047" y="0"/>
                      <a:pt x="9925823" y="0"/>
                    </a:cubicBezTo>
                    <a:close/>
                    <a:moveTo>
                      <a:pt x="9708929" y="0"/>
                    </a:moveTo>
                    <a:cubicBezTo>
                      <a:pt x="9756373" y="0"/>
                      <a:pt x="9780096" y="36863"/>
                      <a:pt x="9780096" y="110588"/>
                    </a:cubicBezTo>
                    <a:cubicBezTo>
                      <a:pt x="9780096" y="147099"/>
                      <a:pt x="9773400" y="174959"/>
                      <a:pt x="9760010" y="194167"/>
                    </a:cubicBezTo>
                    <a:cubicBezTo>
                      <a:pt x="9746619" y="213376"/>
                      <a:pt x="9727887" y="222980"/>
                      <a:pt x="9703813" y="222980"/>
                    </a:cubicBezTo>
                    <a:cubicBezTo>
                      <a:pt x="9681345" y="222980"/>
                      <a:pt x="9663816" y="213802"/>
                      <a:pt x="9651228" y="195446"/>
                    </a:cubicBezTo>
                    <a:cubicBezTo>
                      <a:pt x="9638639" y="177090"/>
                      <a:pt x="9632345" y="150559"/>
                      <a:pt x="9632345" y="115854"/>
                    </a:cubicBezTo>
                    <a:cubicBezTo>
                      <a:pt x="9632345" y="77737"/>
                      <a:pt x="9638915" y="48900"/>
                      <a:pt x="9652055" y="29340"/>
                    </a:cubicBezTo>
                    <a:cubicBezTo>
                      <a:pt x="9665196" y="9780"/>
                      <a:pt x="9684153" y="0"/>
                      <a:pt x="9708929" y="0"/>
                    </a:cubicBezTo>
                    <a:close/>
                    <a:moveTo>
                      <a:pt x="9539028" y="0"/>
                    </a:moveTo>
                    <a:lnTo>
                      <a:pt x="9553934" y="0"/>
                    </a:lnTo>
                    <a:lnTo>
                      <a:pt x="9553934" y="222980"/>
                    </a:lnTo>
                    <a:lnTo>
                      <a:pt x="9518646" y="222980"/>
                    </a:lnTo>
                    <a:lnTo>
                      <a:pt x="9518646" y="43197"/>
                    </a:lnTo>
                    <a:cubicBezTo>
                      <a:pt x="9512258" y="47760"/>
                      <a:pt x="9505388" y="51638"/>
                      <a:pt x="9498037" y="54832"/>
                    </a:cubicBezTo>
                    <a:cubicBezTo>
                      <a:pt x="9490685" y="58027"/>
                      <a:pt x="9482294" y="60840"/>
                      <a:pt x="9472864" y="63274"/>
                    </a:cubicBezTo>
                    <a:lnTo>
                      <a:pt x="9472864" y="33158"/>
                    </a:lnTo>
                    <a:cubicBezTo>
                      <a:pt x="9478745" y="31232"/>
                      <a:pt x="9484424" y="29204"/>
                      <a:pt x="9489899" y="27074"/>
                    </a:cubicBezTo>
                    <a:cubicBezTo>
                      <a:pt x="9495375" y="24945"/>
                      <a:pt x="9500775" y="22562"/>
                      <a:pt x="9506098" y="19925"/>
                    </a:cubicBezTo>
                    <a:cubicBezTo>
                      <a:pt x="9511422" y="17289"/>
                      <a:pt x="9516796" y="14348"/>
                      <a:pt x="9522221" y="11104"/>
                    </a:cubicBezTo>
                    <a:cubicBezTo>
                      <a:pt x="9527646" y="7859"/>
                      <a:pt x="9533248" y="4158"/>
                      <a:pt x="9539028" y="0"/>
                    </a:cubicBezTo>
                    <a:close/>
                    <a:moveTo>
                      <a:pt x="9240165" y="0"/>
                    </a:moveTo>
                    <a:lnTo>
                      <a:pt x="9255071" y="0"/>
                    </a:lnTo>
                    <a:lnTo>
                      <a:pt x="9255071" y="222980"/>
                    </a:lnTo>
                    <a:lnTo>
                      <a:pt x="9219783" y="222980"/>
                    </a:lnTo>
                    <a:lnTo>
                      <a:pt x="9219783" y="43197"/>
                    </a:lnTo>
                    <a:cubicBezTo>
                      <a:pt x="9213395" y="47760"/>
                      <a:pt x="9206525" y="51638"/>
                      <a:pt x="9199174" y="54832"/>
                    </a:cubicBezTo>
                    <a:cubicBezTo>
                      <a:pt x="9191822" y="58027"/>
                      <a:pt x="9183431" y="60840"/>
                      <a:pt x="9174001" y="63274"/>
                    </a:cubicBezTo>
                    <a:lnTo>
                      <a:pt x="9174001" y="33158"/>
                    </a:lnTo>
                    <a:cubicBezTo>
                      <a:pt x="9179882" y="31232"/>
                      <a:pt x="9185561" y="29204"/>
                      <a:pt x="9191036" y="27074"/>
                    </a:cubicBezTo>
                    <a:cubicBezTo>
                      <a:pt x="9196512" y="24945"/>
                      <a:pt x="9201912" y="22562"/>
                      <a:pt x="9207235" y="19925"/>
                    </a:cubicBezTo>
                    <a:cubicBezTo>
                      <a:pt x="9212559" y="17289"/>
                      <a:pt x="9217933" y="14348"/>
                      <a:pt x="9223358" y="11104"/>
                    </a:cubicBezTo>
                    <a:cubicBezTo>
                      <a:pt x="9228783" y="7859"/>
                      <a:pt x="9234385" y="4158"/>
                      <a:pt x="9240165" y="0"/>
                    </a:cubicBezTo>
                    <a:close/>
                    <a:moveTo>
                      <a:pt x="8864746" y="0"/>
                    </a:moveTo>
                    <a:lnTo>
                      <a:pt x="8879652" y="0"/>
                    </a:lnTo>
                    <a:lnTo>
                      <a:pt x="8879652" y="222980"/>
                    </a:lnTo>
                    <a:lnTo>
                      <a:pt x="8844364" y="222980"/>
                    </a:lnTo>
                    <a:lnTo>
                      <a:pt x="8844364" y="43197"/>
                    </a:lnTo>
                    <a:cubicBezTo>
                      <a:pt x="8837976" y="47760"/>
                      <a:pt x="8831106" y="51638"/>
                      <a:pt x="8823755" y="54832"/>
                    </a:cubicBezTo>
                    <a:cubicBezTo>
                      <a:pt x="8816403" y="58027"/>
                      <a:pt x="8808012" y="60840"/>
                      <a:pt x="8798582" y="63274"/>
                    </a:cubicBezTo>
                    <a:lnTo>
                      <a:pt x="8798582" y="33158"/>
                    </a:lnTo>
                    <a:cubicBezTo>
                      <a:pt x="8804463" y="31232"/>
                      <a:pt x="8810142" y="29204"/>
                      <a:pt x="8815617" y="27074"/>
                    </a:cubicBezTo>
                    <a:cubicBezTo>
                      <a:pt x="8821093" y="24945"/>
                      <a:pt x="8826493" y="22562"/>
                      <a:pt x="8831816" y="19925"/>
                    </a:cubicBezTo>
                    <a:cubicBezTo>
                      <a:pt x="8837140" y="17289"/>
                      <a:pt x="8842514" y="14348"/>
                      <a:pt x="8847939" y="11104"/>
                    </a:cubicBezTo>
                    <a:cubicBezTo>
                      <a:pt x="8853364" y="7859"/>
                      <a:pt x="8858966" y="4158"/>
                      <a:pt x="8864746" y="0"/>
                    </a:cubicBezTo>
                    <a:close/>
                    <a:moveTo>
                      <a:pt x="8714740" y="0"/>
                    </a:moveTo>
                    <a:lnTo>
                      <a:pt x="8729646" y="0"/>
                    </a:lnTo>
                    <a:lnTo>
                      <a:pt x="8729646" y="222980"/>
                    </a:lnTo>
                    <a:lnTo>
                      <a:pt x="8694358" y="222980"/>
                    </a:lnTo>
                    <a:lnTo>
                      <a:pt x="8694358" y="43197"/>
                    </a:lnTo>
                    <a:cubicBezTo>
                      <a:pt x="8687970" y="47760"/>
                      <a:pt x="8681100" y="51638"/>
                      <a:pt x="8673749" y="54832"/>
                    </a:cubicBezTo>
                    <a:cubicBezTo>
                      <a:pt x="8666397" y="58027"/>
                      <a:pt x="8658006" y="60840"/>
                      <a:pt x="8648576" y="63274"/>
                    </a:cubicBezTo>
                    <a:lnTo>
                      <a:pt x="8648576" y="33158"/>
                    </a:lnTo>
                    <a:cubicBezTo>
                      <a:pt x="8654457" y="31232"/>
                      <a:pt x="8660136" y="29204"/>
                      <a:pt x="8665611" y="27074"/>
                    </a:cubicBezTo>
                    <a:cubicBezTo>
                      <a:pt x="8671087" y="24945"/>
                      <a:pt x="8676487" y="22562"/>
                      <a:pt x="8681810" y="19925"/>
                    </a:cubicBezTo>
                    <a:cubicBezTo>
                      <a:pt x="8687134" y="17289"/>
                      <a:pt x="8692508" y="14348"/>
                      <a:pt x="8697933" y="11104"/>
                    </a:cubicBezTo>
                    <a:cubicBezTo>
                      <a:pt x="8703358" y="7859"/>
                      <a:pt x="8708960" y="4158"/>
                      <a:pt x="8714740" y="0"/>
                    </a:cubicBezTo>
                    <a:close/>
                    <a:moveTo>
                      <a:pt x="8565883" y="0"/>
                    </a:moveTo>
                    <a:lnTo>
                      <a:pt x="8580789" y="0"/>
                    </a:lnTo>
                    <a:lnTo>
                      <a:pt x="8580789" y="222980"/>
                    </a:lnTo>
                    <a:lnTo>
                      <a:pt x="8545501" y="222980"/>
                    </a:lnTo>
                    <a:lnTo>
                      <a:pt x="8545501" y="43197"/>
                    </a:lnTo>
                    <a:cubicBezTo>
                      <a:pt x="8539113" y="47760"/>
                      <a:pt x="8532243" y="51638"/>
                      <a:pt x="8524892" y="54832"/>
                    </a:cubicBezTo>
                    <a:cubicBezTo>
                      <a:pt x="8517540" y="58027"/>
                      <a:pt x="8509149" y="60840"/>
                      <a:pt x="8499719" y="63274"/>
                    </a:cubicBezTo>
                    <a:lnTo>
                      <a:pt x="8499719" y="33158"/>
                    </a:lnTo>
                    <a:cubicBezTo>
                      <a:pt x="8505600" y="31232"/>
                      <a:pt x="8511279" y="29204"/>
                      <a:pt x="8516754" y="27074"/>
                    </a:cubicBezTo>
                    <a:cubicBezTo>
                      <a:pt x="8522230" y="24945"/>
                      <a:pt x="8527630" y="22562"/>
                      <a:pt x="8532953" y="19925"/>
                    </a:cubicBezTo>
                    <a:cubicBezTo>
                      <a:pt x="8538277" y="17289"/>
                      <a:pt x="8543651" y="14348"/>
                      <a:pt x="8549076" y="11104"/>
                    </a:cubicBezTo>
                    <a:cubicBezTo>
                      <a:pt x="8554501" y="7859"/>
                      <a:pt x="8560103" y="4158"/>
                      <a:pt x="8565883" y="0"/>
                    </a:cubicBezTo>
                    <a:close/>
                    <a:moveTo>
                      <a:pt x="7821715" y="0"/>
                    </a:moveTo>
                    <a:lnTo>
                      <a:pt x="7836621" y="0"/>
                    </a:lnTo>
                    <a:lnTo>
                      <a:pt x="7836621" y="222980"/>
                    </a:lnTo>
                    <a:lnTo>
                      <a:pt x="7801333" y="222980"/>
                    </a:lnTo>
                    <a:lnTo>
                      <a:pt x="7801333" y="43197"/>
                    </a:lnTo>
                    <a:cubicBezTo>
                      <a:pt x="7794945" y="47760"/>
                      <a:pt x="7788076" y="51638"/>
                      <a:pt x="7780724" y="54832"/>
                    </a:cubicBezTo>
                    <a:cubicBezTo>
                      <a:pt x="7773372" y="58027"/>
                      <a:pt x="7764982" y="60840"/>
                      <a:pt x="7755551" y="63274"/>
                    </a:cubicBezTo>
                    <a:lnTo>
                      <a:pt x="7755551" y="33158"/>
                    </a:lnTo>
                    <a:cubicBezTo>
                      <a:pt x="7761432" y="31232"/>
                      <a:pt x="7767111" y="29204"/>
                      <a:pt x="7772586" y="27074"/>
                    </a:cubicBezTo>
                    <a:cubicBezTo>
                      <a:pt x="7778062" y="24945"/>
                      <a:pt x="7783462" y="22562"/>
                      <a:pt x="7788785" y="19925"/>
                    </a:cubicBezTo>
                    <a:cubicBezTo>
                      <a:pt x="7794109" y="17289"/>
                      <a:pt x="7799483" y="14348"/>
                      <a:pt x="7804908" y="11104"/>
                    </a:cubicBezTo>
                    <a:cubicBezTo>
                      <a:pt x="7810333" y="7859"/>
                      <a:pt x="7815935" y="4158"/>
                      <a:pt x="7821715" y="0"/>
                    </a:cubicBezTo>
                    <a:close/>
                    <a:moveTo>
                      <a:pt x="7671709" y="0"/>
                    </a:moveTo>
                    <a:lnTo>
                      <a:pt x="7686615" y="0"/>
                    </a:lnTo>
                    <a:lnTo>
                      <a:pt x="7686615" y="222980"/>
                    </a:lnTo>
                    <a:lnTo>
                      <a:pt x="7651327" y="222980"/>
                    </a:lnTo>
                    <a:lnTo>
                      <a:pt x="7651327" y="43197"/>
                    </a:lnTo>
                    <a:cubicBezTo>
                      <a:pt x="7644939" y="47760"/>
                      <a:pt x="7638070" y="51638"/>
                      <a:pt x="7630718" y="54832"/>
                    </a:cubicBezTo>
                    <a:cubicBezTo>
                      <a:pt x="7623366" y="58027"/>
                      <a:pt x="7614976" y="60840"/>
                      <a:pt x="7605545" y="63274"/>
                    </a:cubicBezTo>
                    <a:lnTo>
                      <a:pt x="7605545" y="33158"/>
                    </a:lnTo>
                    <a:cubicBezTo>
                      <a:pt x="7611426" y="31232"/>
                      <a:pt x="7617105" y="29204"/>
                      <a:pt x="7622580" y="27074"/>
                    </a:cubicBezTo>
                    <a:cubicBezTo>
                      <a:pt x="7628056" y="24945"/>
                      <a:pt x="7633456" y="22562"/>
                      <a:pt x="7638779" y="19925"/>
                    </a:cubicBezTo>
                    <a:cubicBezTo>
                      <a:pt x="7644103" y="17289"/>
                      <a:pt x="7649477" y="14348"/>
                      <a:pt x="7654902" y="11104"/>
                    </a:cubicBezTo>
                    <a:cubicBezTo>
                      <a:pt x="7660327" y="7859"/>
                      <a:pt x="7665929" y="4158"/>
                      <a:pt x="7671709" y="0"/>
                    </a:cubicBezTo>
                    <a:close/>
                    <a:moveTo>
                      <a:pt x="7373995" y="0"/>
                    </a:moveTo>
                    <a:lnTo>
                      <a:pt x="7388901" y="0"/>
                    </a:lnTo>
                    <a:lnTo>
                      <a:pt x="7388901" y="222980"/>
                    </a:lnTo>
                    <a:lnTo>
                      <a:pt x="7353613" y="222980"/>
                    </a:lnTo>
                    <a:lnTo>
                      <a:pt x="7353613" y="43197"/>
                    </a:lnTo>
                    <a:cubicBezTo>
                      <a:pt x="7347225" y="47760"/>
                      <a:pt x="7340356" y="51638"/>
                      <a:pt x="7333004" y="54832"/>
                    </a:cubicBezTo>
                    <a:cubicBezTo>
                      <a:pt x="7325652" y="58027"/>
                      <a:pt x="7317262" y="60840"/>
                      <a:pt x="7307831" y="63274"/>
                    </a:cubicBezTo>
                    <a:lnTo>
                      <a:pt x="7307831" y="33158"/>
                    </a:lnTo>
                    <a:cubicBezTo>
                      <a:pt x="7313712" y="31232"/>
                      <a:pt x="7319391" y="29204"/>
                      <a:pt x="7324866" y="27074"/>
                    </a:cubicBezTo>
                    <a:cubicBezTo>
                      <a:pt x="7330342" y="24945"/>
                      <a:pt x="7335742" y="22562"/>
                      <a:pt x="7341065" y="19925"/>
                    </a:cubicBezTo>
                    <a:cubicBezTo>
                      <a:pt x="7346389" y="17289"/>
                      <a:pt x="7351763" y="14348"/>
                      <a:pt x="7357188" y="11104"/>
                    </a:cubicBezTo>
                    <a:cubicBezTo>
                      <a:pt x="7362613" y="7859"/>
                      <a:pt x="7368215" y="4158"/>
                      <a:pt x="7373995" y="0"/>
                    </a:cubicBezTo>
                    <a:close/>
                    <a:moveTo>
                      <a:pt x="6993040" y="0"/>
                    </a:moveTo>
                    <a:lnTo>
                      <a:pt x="7007946" y="0"/>
                    </a:lnTo>
                    <a:lnTo>
                      <a:pt x="7007946" y="222980"/>
                    </a:lnTo>
                    <a:lnTo>
                      <a:pt x="6972658" y="222980"/>
                    </a:lnTo>
                    <a:lnTo>
                      <a:pt x="6972658" y="43197"/>
                    </a:lnTo>
                    <a:cubicBezTo>
                      <a:pt x="6966270" y="47760"/>
                      <a:pt x="6959401" y="51638"/>
                      <a:pt x="6952049" y="54832"/>
                    </a:cubicBezTo>
                    <a:cubicBezTo>
                      <a:pt x="6944697" y="58027"/>
                      <a:pt x="6936307" y="60840"/>
                      <a:pt x="6926876" y="63274"/>
                    </a:cubicBezTo>
                    <a:lnTo>
                      <a:pt x="6926876" y="33158"/>
                    </a:lnTo>
                    <a:cubicBezTo>
                      <a:pt x="6932757" y="31232"/>
                      <a:pt x="6938436" y="29204"/>
                      <a:pt x="6943911" y="27074"/>
                    </a:cubicBezTo>
                    <a:cubicBezTo>
                      <a:pt x="6949387" y="24945"/>
                      <a:pt x="6954787" y="22562"/>
                      <a:pt x="6960110" y="19925"/>
                    </a:cubicBezTo>
                    <a:cubicBezTo>
                      <a:pt x="6965434" y="17289"/>
                      <a:pt x="6970808" y="14348"/>
                      <a:pt x="6976233" y="11104"/>
                    </a:cubicBezTo>
                    <a:cubicBezTo>
                      <a:pt x="6981658" y="7859"/>
                      <a:pt x="6987260" y="4158"/>
                      <a:pt x="6993040" y="0"/>
                    </a:cubicBezTo>
                    <a:close/>
                    <a:moveTo>
                      <a:pt x="6843034" y="0"/>
                    </a:moveTo>
                    <a:lnTo>
                      <a:pt x="6857940" y="0"/>
                    </a:lnTo>
                    <a:lnTo>
                      <a:pt x="6857940" y="222980"/>
                    </a:lnTo>
                    <a:lnTo>
                      <a:pt x="6822652" y="222980"/>
                    </a:lnTo>
                    <a:lnTo>
                      <a:pt x="6822652" y="43197"/>
                    </a:lnTo>
                    <a:cubicBezTo>
                      <a:pt x="6816264" y="47760"/>
                      <a:pt x="6809395" y="51638"/>
                      <a:pt x="6802043" y="54832"/>
                    </a:cubicBezTo>
                    <a:cubicBezTo>
                      <a:pt x="6794691" y="58027"/>
                      <a:pt x="6786301" y="60840"/>
                      <a:pt x="6776870" y="63274"/>
                    </a:cubicBezTo>
                    <a:lnTo>
                      <a:pt x="6776870" y="33158"/>
                    </a:lnTo>
                    <a:cubicBezTo>
                      <a:pt x="6782751" y="31232"/>
                      <a:pt x="6788430" y="29204"/>
                      <a:pt x="6793905" y="27074"/>
                    </a:cubicBezTo>
                    <a:cubicBezTo>
                      <a:pt x="6799381" y="24945"/>
                      <a:pt x="6804781" y="22562"/>
                      <a:pt x="6810104" y="19925"/>
                    </a:cubicBezTo>
                    <a:cubicBezTo>
                      <a:pt x="6815428" y="17289"/>
                      <a:pt x="6820802" y="14348"/>
                      <a:pt x="6826227" y="11104"/>
                    </a:cubicBezTo>
                    <a:cubicBezTo>
                      <a:pt x="6831652" y="7859"/>
                      <a:pt x="6837254" y="4158"/>
                      <a:pt x="6843034" y="0"/>
                    </a:cubicBezTo>
                    <a:close/>
                    <a:moveTo>
                      <a:pt x="6694177" y="0"/>
                    </a:moveTo>
                    <a:lnTo>
                      <a:pt x="6709083" y="0"/>
                    </a:lnTo>
                    <a:lnTo>
                      <a:pt x="6709083" y="222980"/>
                    </a:lnTo>
                    <a:lnTo>
                      <a:pt x="6673795" y="222980"/>
                    </a:lnTo>
                    <a:lnTo>
                      <a:pt x="6673795" y="43197"/>
                    </a:lnTo>
                    <a:cubicBezTo>
                      <a:pt x="6667407" y="47760"/>
                      <a:pt x="6660538" y="51638"/>
                      <a:pt x="6653186" y="54832"/>
                    </a:cubicBezTo>
                    <a:cubicBezTo>
                      <a:pt x="6645834" y="58027"/>
                      <a:pt x="6637444" y="60840"/>
                      <a:pt x="6628013" y="63274"/>
                    </a:cubicBezTo>
                    <a:lnTo>
                      <a:pt x="6628013" y="33158"/>
                    </a:lnTo>
                    <a:cubicBezTo>
                      <a:pt x="6633894" y="31232"/>
                      <a:pt x="6639573" y="29204"/>
                      <a:pt x="6645048" y="27074"/>
                    </a:cubicBezTo>
                    <a:cubicBezTo>
                      <a:pt x="6650524" y="24945"/>
                      <a:pt x="6655924" y="22562"/>
                      <a:pt x="6661247" y="19925"/>
                    </a:cubicBezTo>
                    <a:cubicBezTo>
                      <a:pt x="6666571" y="17289"/>
                      <a:pt x="6671945" y="14348"/>
                      <a:pt x="6677370" y="11104"/>
                    </a:cubicBezTo>
                    <a:cubicBezTo>
                      <a:pt x="6682795" y="7859"/>
                      <a:pt x="6688397" y="4158"/>
                      <a:pt x="6694177" y="0"/>
                    </a:cubicBezTo>
                    <a:close/>
                    <a:moveTo>
                      <a:pt x="6545320" y="0"/>
                    </a:moveTo>
                    <a:lnTo>
                      <a:pt x="6560226" y="0"/>
                    </a:lnTo>
                    <a:lnTo>
                      <a:pt x="6560226" y="222980"/>
                    </a:lnTo>
                    <a:lnTo>
                      <a:pt x="6524938" y="222980"/>
                    </a:lnTo>
                    <a:lnTo>
                      <a:pt x="6524938" y="43197"/>
                    </a:lnTo>
                    <a:cubicBezTo>
                      <a:pt x="6518550" y="47760"/>
                      <a:pt x="6511681" y="51638"/>
                      <a:pt x="6504329" y="54832"/>
                    </a:cubicBezTo>
                    <a:cubicBezTo>
                      <a:pt x="6496977" y="58027"/>
                      <a:pt x="6488587" y="60840"/>
                      <a:pt x="6479156" y="63274"/>
                    </a:cubicBezTo>
                    <a:lnTo>
                      <a:pt x="6479156" y="33158"/>
                    </a:lnTo>
                    <a:cubicBezTo>
                      <a:pt x="6485037" y="31232"/>
                      <a:pt x="6490716" y="29204"/>
                      <a:pt x="6496191" y="27074"/>
                    </a:cubicBezTo>
                    <a:cubicBezTo>
                      <a:pt x="6501667" y="24945"/>
                      <a:pt x="6507067" y="22562"/>
                      <a:pt x="6512390" y="19925"/>
                    </a:cubicBezTo>
                    <a:cubicBezTo>
                      <a:pt x="6517714" y="17289"/>
                      <a:pt x="6523088" y="14348"/>
                      <a:pt x="6528513" y="11104"/>
                    </a:cubicBezTo>
                    <a:cubicBezTo>
                      <a:pt x="6533938" y="7859"/>
                      <a:pt x="6539540" y="4158"/>
                      <a:pt x="6545320" y="0"/>
                    </a:cubicBezTo>
                    <a:close/>
                    <a:moveTo>
                      <a:pt x="6331922" y="0"/>
                    </a:moveTo>
                    <a:cubicBezTo>
                      <a:pt x="6379367" y="0"/>
                      <a:pt x="6403089" y="36863"/>
                      <a:pt x="6403089" y="110588"/>
                    </a:cubicBezTo>
                    <a:cubicBezTo>
                      <a:pt x="6403089" y="147099"/>
                      <a:pt x="6396394" y="174959"/>
                      <a:pt x="6383003" y="194167"/>
                    </a:cubicBezTo>
                    <a:cubicBezTo>
                      <a:pt x="6369612" y="213376"/>
                      <a:pt x="6350880" y="222980"/>
                      <a:pt x="6326806" y="222980"/>
                    </a:cubicBezTo>
                    <a:cubicBezTo>
                      <a:pt x="6304338" y="222980"/>
                      <a:pt x="6286809" y="213802"/>
                      <a:pt x="6274221" y="195446"/>
                    </a:cubicBezTo>
                    <a:cubicBezTo>
                      <a:pt x="6261632" y="177090"/>
                      <a:pt x="6255338" y="150559"/>
                      <a:pt x="6255338" y="115854"/>
                    </a:cubicBezTo>
                    <a:cubicBezTo>
                      <a:pt x="6255338" y="77737"/>
                      <a:pt x="6261908" y="48900"/>
                      <a:pt x="6275048" y="29340"/>
                    </a:cubicBezTo>
                    <a:cubicBezTo>
                      <a:pt x="6288189" y="9780"/>
                      <a:pt x="6307146" y="0"/>
                      <a:pt x="6331922" y="0"/>
                    </a:cubicBezTo>
                    <a:close/>
                    <a:moveTo>
                      <a:pt x="6150427" y="0"/>
                    </a:moveTo>
                    <a:cubicBezTo>
                      <a:pt x="6197872" y="0"/>
                      <a:pt x="6221594" y="36863"/>
                      <a:pt x="6221594" y="110588"/>
                    </a:cubicBezTo>
                    <a:cubicBezTo>
                      <a:pt x="6221594" y="147099"/>
                      <a:pt x="6214899" y="174959"/>
                      <a:pt x="6201508" y="194167"/>
                    </a:cubicBezTo>
                    <a:cubicBezTo>
                      <a:pt x="6188117" y="213376"/>
                      <a:pt x="6169385" y="222980"/>
                      <a:pt x="6145311" y="222980"/>
                    </a:cubicBezTo>
                    <a:cubicBezTo>
                      <a:pt x="6122843" y="222980"/>
                      <a:pt x="6105314" y="213802"/>
                      <a:pt x="6092726" y="195446"/>
                    </a:cubicBezTo>
                    <a:cubicBezTo>
                      <a:pt x="6080137" y="177090"/>
                      <a:pt x="6073843" y="150559"/>
                      <a:pt x="6073843" y="115854"/>
                    </a:cubicBezTo>
                    <a:cubicBezTo>
                      <a:pt x="6073843" y="77737"/>
                      <a:pt x="6080413" y="48900"/>
                      <a:pt x="6093553" y="29340"/>
                    </a:cubicBezTo>
                    <a:cubicBezTo>
                      <a:pt x="6106694" y="9780"/>
                      <a:pt x="6125651" y="0"/>
                      <a:pt x="6150427" y="0"/>
                    </a:cubicBezTo>
                    <a:close/>
                    <a:moveTo>
                      <a:pt x="6019295" y="0"/>
                    </a:moveTo>
                    <a:lnTo>
                      <a:pt x="6034202" y="0"/>
                    </a:lnTo>
                    <a:lnTo>
                      <a:pt x="6034202" y="222980"/>
                    </a:lnTo>
                    <a:lnTo>
                      <a:pt x="5998913" y="222980"/>
                    </a:lnTo>
                    <a:lnTo>
                      <a:pt x="5998913" y="43197"/>
                    </a:lnTo>
                    <a:cubicBezTo>
                      <a:pt x="5992525" y="47760"/>
                      <a:pt x="5985657" y="51638"/>
                      <a:pt x="5978304" y="54832"/>
                    </a:cubicBezTo>
                    <a:cubicBezTo>
                      <a:pt x="5970952" y="58027"/>
                      <a:pt x="5962562" y="60840"/>
                      <a:pt x="5953131" y="63274"/>
                    </a:cubicBezTo>
                    <a:lnTo>
                      <a:pt x="5953131" y="33158"/>
                    </a:lnTo>
                    <a:cubicBezTo>
                      <a:pt x="5959012" y="31232"/>
                      <a:pt x="5964691" y="29204"/>
                      <a:pt x="5970166" y="27074"/>
                    </a:cubicBezTo>
                    <a:cubicBezTo>
                      <a:pt x="5975642" y="24945"/>
                      <a:pt x="5981043" y="22562"/>
                      <a:pt x="5986365" y="19925"/>
                    </a:cubicBezTo>
                    <a:cubicBezTo>
                      <a:pt x="5991689" y="17289"/>
                      <a:pt x="5997063" y="14348"/>
                      <a:pt x="6002489" y="11104"/>
                    </a:cubicBezTo>
                    <a:cubicBezTo>
                      <a:pt x="6007913" y="7859"/>
                      <a:pt x="6013515" y="4158"/>
                      <a:pt x="6019295" y="0"/>
                    </a:cubicBezTo>
                    <a:close/>
                    <a:moveTo>
                      <a:pt x="5818969" y="0"/>
                    </a:moveTo>
                    <a:cubicBezTo>
                      <a:pt x="5866415" y="0"/>
                      <a:pt x="5890136" y="36863"/>
                      <a:pt x="5890136" y="110588"/>
                    </a:cubicBezTo>
                    <a:cubicBezTo>
                      <a:pt x="5890136" y="147099"/>
                      <a:pt x="5883441" y="174959"/>
                      <a:pt x="5870050" y="194167"/>
                    </a:cubicBezTo>
                    <a:cubicBezTo>
                      <a:pt x="5856660" y="213376"/>
                      <a:pt x="5837928" y="222980"/>
                      <a:pt x="5813853" y="222980"/>
                    </a:cubicBezTo>
                    <a:cubicBezTo>
                      <a:pt x="5791386" y="222980"/>
                      <a:pt x="5773856" y="213802"/>
                      <a:pt x="5761268" y="195446"/>
                    </a:cubicBezTo>
                    <a:cubicBezTo>
                      <a:pt x="5748679" y="177090"/>
                      <a:pt x="5742385" y="150559"/>
                      <a:pt x="5742385" y="115854"/>
                    </a:cubicBezTo>
                    <a:cubicBezTo>
                      <a:pt x="5742385" y="77737"/>
                      <a:pt x="5748955" y="48900"/>
                      <a:pt x="5762095" y="29340"/>
                    </a:cubicBezTo>
                    <a:cubicBezTo>
                      <a:pt x="5775237" y="9780"/>
                      <a:pt x="5794193" y="0"/>
                      <a:pt x="5818969" y="0"/>
                    </a:cubicBezTo>
                    <a:close/>
                    <a:moveTo>
                      <a:pt x="5119402" y="0"/>
                    </a:moveTo>
                    <a:cubicBezTo>
                      <a:pt x="5166848" y="0"/>
                      <a:pt x="5190569" y="36863"/>
                      <a:pt x="5190569" y="110588"/>
                    </a:cubicBezTo>
                    <a:cubicBezTo>
                      <a:pt x="5190569" y="147099"/>
                      <a:pt x="5183874" y="174959"/>
                      <a:pt x="5170484" y="194167"/>
                    </a:cubicBezTo>
                    <a:cubicBezTo>
                      <a:pt x="5157093" y="213376"/>
                      <a:pt x="5138360" y="222980"/>
                      <a:pt x="5114286" y="222980"/>
                    </a:cubicBezTo>
                    <a:cubicBezTo>
                      <a:pt x="5091818" y="222980"/>
                      <a:pt x="5074289" y="213802"/>
                      <a:pt x="5061702" y="195446"/>
                    </a:cubicBezTo>
                    <a:cubicBezTo>
                      <a:pt x="5049112" y="177090"/>
                      <a:pt x="5042818" y="150559"/>
                      <a:pt x="5042818" y="115854"/>
                    </a:cubicBezTo>
                    <a:cubicBezTo>
                      <a:pt x="5042818" y="77737"/>
                      <a:pt x="5049388" y="48900"/>
                      <a:pt x="5062528" y="29340"/>
                    </a:cubicBezTo>
                    <a:cubicBezTo>
                      <a:pt x="5075670" y="9780"/>
                      <a:pt x="5094627" y="0"/>
                      <a:pt x="5119402" y="0"/>
                    </a:cubicBezTo>
                    <a:close/>
                    <a:moveTo>
                      <a:pt x="4734952" y="0"/>
                    </a:moveTo>
                    <a:lnTo>
                      <a:pt x="4749857" y="0"/>
                    </a:lnTo>
                    <a:lnTo>
                      <a:pt x="4749857" y="222980"/>
                    </a:lnTo>
                    <a:lnTo>
                      <a:pt x="4714570" y="222980"/>
                    </a:lnTo>
                    <a:lnTo>
                      <a:pt x="4714570" y="43197"/>
                    </a:lnTo>
                    <a:cubicBezTo>
                      <a:pt x="4708181" y="47760"/>
                      <a:pt x="4701312" y="51638"/>
                      <a:pt x="4693960" y="54832"/>
                    </a:cubicBezTo>
                    <a:cubicBezTo>
                      <a:pt x="4686608" y="58027"/>
                      <a:pt x="4678218" y="60840"/>
                      <a:pt x="4668787" y="63274"/>
                    </a:cubicBezTo>
                    <a:lnTo>
                      <a:pt x="4668787" y="33158"/>
                    </a:lnTo>
                    <a:cubicBezTo>
                      <a:pt x="4674669" y="31232"/>
                      <a:pt x="4680348" y="29204"/>
                      <a:pt x="4685823" y="27074"/>
                    </a:cubicBezTo>
                    <a:cubicBezTo>
                      <a:pt x="4691298" y="24945"/>
                      <a:pt x="4696698" y="22562"/>
                      <a:pt x="4702021" y="19925"/>
                    </a:cubicBezTo>
                    <a:cubicBezTo>
                      <a:pt x="4707345" y="17289"/>
                      <a:pt x="4712719" y="14348"/>
                      <a:pt x="4718144" y="11104"/>
                    </a:cubicBezTo>
                    <a:cubicBezTo>
                      <a:pt x="4723569" y="7859"/>
                      <a:pt x="4729172" y="4158"/>
                      <a:pt x="4734952" y="0"/>
                    </a:cubicBezTo>
                    <a:close/>
                    <a:moveTo>
                      <a:pt x="4377442" y="0"/>
                    </a:moveTo>
                    <a:lnTo>
                      <a:pt x="4392347" y="0"/>
                    </a:lnTo>
                    <a:lnTo>
                      <a:pt x="4392347" y="222980"/>
                    </a:lnTo>
                    <a:lnTo>
                      <a:pt x="4357059" y="222980"/>
                    </a:lnTo>
                    <a:lnTo>
                      <a:pt x="4357059" y="43197"/>
                    </a:lnTo>
                    <a:cubicBezTo>
                      <a:pt x="4350671" y="47760"/>
                      <a:pt x="4343802" y="51638"/>
                      <a:pt x="4336450" y="54832"/>
                    </a:cubicBezTo>
                    <a:cubicBezTo>
                      <a:pt x="4329099" y="58027"/>
                      <a:pt x="4320708" y="60840"/>
                      <a:pt x="4311277" y="63274"/>
                    </a:cubicBezTo>
                    <a:lnTo>
                      <a:pt x="4311277" y="33158"/>
                    </a:lnTo>
                    <a:cubicBezTo>
                      <a:pt x="4317158" y="31232"/>
                      <a:pt x="4322837" y="29204"/>
                      <a:pt x="4328312" y="27074"/>
                    </a:cubicBezTo>
                    <a:cubicBezTo>
                      <a:pt x="4333788" y="24945"/>
                      <a:pt x="4339188" y="22562"/>
                      <a:pt x="4344511" y="19925"/>
                    </a:cubicBezTo>
                    <a:cubicBezTo>
                      <a:pt x="4349835" y="17289"/>
                      <a:pt x="4355210" y="14348"/>
                      <a:pt x="4360635" y="11104"/>
                    </a:cubicBezTo>
                    <a:cubicBezTo>
                      <a:pt x="4366059" y="7859"/>
                      <a:pt x="4371661" y="4158"/>
                      <a:pt x="4377442" y="0"/>
                    </a:cubicBezTo>
                    <a:close/>
                    <a:moveTo>
                      <a:pt x="4078579" y="0"/>
                    </a:moveTo>
                    <a:lnTo>
                      <a:pt x="4093484" y="0"/>
                    </a:lnTo>
                    <a:lnTo>
                      <a:pt x="4093484" y="222980"/>
                    </a:lnTo>
                    <a:lnTo>
                      <a:pt x="4058197" y="222980"/>
                    </a:lnTo>
                    <a:lnTo>
                      <a:pt x="4058197" y="43197"/>
                    </a:lnTo>
                    <a:cubicBezTo>
                      <a:pt x="4051809" y="47760"/>
                      <a:pt x="4044939" y="51638"/>
                      <a:pt x="4037588" y="54832"/>
                    </a:cubicBezTo>
                    <a:cubicBezTo>
                      <a:pt x="4030236" y="58027"/>
                      <a:pt x="4021846" y="60840"/>
                      <a:pt x="4012416" y="63274"/>
                    </a:cubicBezTo>
                    <a:lnTo>
                      <a:pt x="4012416" y="33158"/>
                    </a:lnTo>
                    <a:cubicBezTo>
                      <a:pt x="4018297" y="31232"/>
                      <a:pt x="4023974" y="29204"/>
                      <a:pt x="4029450" y="27074"/>
                    </a:cubicBezTo>
                    <a:cubicBezTo>
                      <a:pt x="4034926" y="24945"/>
                      <a:pt x="4040325" y="22562"/>
                      <a:pt x="4045649" y="19925"/>
                    </a:cubicBezTo>
                    <a:cubicBezTo>
                      <a:pt x="4050973" y="17289"/>
                      <a:pt x="4056347" y="14348"/>
                      <a:pt x="4061772" y="11104"/>
                    </a:cubicBezTo>
                    <a:cubicBezTo>
                      <a:pt x="4067197" y="7859"/>
                      <a:pt x="4072798" y="4158"/>
                      <a:pt x="4078579" y="0"/>
                    </a:cubicBezTo>
                    <a:close/>
                    <a:moveTo>
                      <a:pt x="3858890" y="0"/>
                    </a:moveTo>
                    <a:cubicBezTo>
                      <a:pt x="3906334" y="0"/>
                      <a:pt x="3930057" y="36863"/>
                      <a:pt x="3930057" y="110588"/>
                    </a:cubicBezTo>
                    <a:cubicBezTo>
                      <a:pt x="3930057" y="147099"/>
                      <a:pt x="3923362" y="174959"/>
                      <a:pt x="3909971" y="194167"/>
                    </a:cubicBezTo>
                    <a:cubicBezTo>
                      <a:pt x="3896580" y="213376"/>
                      <a:pt x="3877848" y="222980"/>
                      <a:pt x="3853774" y="222980"/>
                    </a:cubicBezTo>
                    <a:cubicBezTo>
                      <a:pt x="3831306" y="222980"/>
                      <a:pt x="3813777" y="213802"/>
                      <a:pt x="3801189" y="195446"/>
                    </a:cubicBezTo>
                    <a:cubicBezTo>
                      <a:pt x="3788600" y="177090"/>
                      <a:pt x="3782306" y="150559"/>
                      <a:pt x="3782306" y="115854"/>
                    </a:cubicBezTo>
                    <a:cubicBezTo>
                      <a:pt x="3782306" y="77737"/>
                      <a:pt x="3788876" y="48900"/>
                      <a:pt x="3802016" y="29340"/>
                    </a:cubicBezTo>
                    <a:cubicBezTo>
                      <a:pt x="3815157" y="9780"/>
                      <a:pt x="3834114" y="0"/>
                      <a:pt x="3858890" y="0"/>
                    </a:cubicBezTo>
                    <a:close/>
                    <a:moveTo>
                      <a:pt x="3641996" y="0"/>
                    </a:moveTo>
                    <a:cubicBezTo>
                      <a:pt x="3689440" y="0"/>
                      <a:pt x="3713163" y="36863"/>
                      <a:pt x="3713163" y="110588"/>
                    </a:cubicBezTo>
                    <a:cubicBezTo>
                      <a:pt x="3713163" y="147099"/>
                      <a:pt x="3706468" y="174959"/>
                      <a:pt x="3693077" y="194167"/>
                    </a:cubicBezTo>
                    <a:cubicBezTo>
                      <a:pt x="3679686" y="213376"/>
                      <a:pt x="3660954" y="222980"/>
                      <a:pt x="3636880" y="222980"/>
                    </a:cubicBezTo>
                    <a:cubicBezTo>
                      <a:pt x="3614412" y="222980"/>
                      <a:pt x="3596883" y="213802"/>
                      <a:pt x="3584295" y="195446"/>
                    </a:cubicBezTo>
                    <a:cubicBezTo>
                      <a:pt x="3571706" y="177090"/>
                      <a:pt x="3565412" y="150559"/>
                      <a:pt x="3565412" y="115854"/>
                    </a:cubicBezTo>
                    <a:cubicBezTo>
                      <a:pt x="3565412" y="77737"/>
                      <a:pt x="3571982" y="48900"/>
                      <a:pt x="3585122" y="29340"/>
                    </a:cubicBezTo>
                    <a:cubicBezTo>
                      <a:pt x="3598263" y="9780"/>
                      <a:pt x="3617220" y="0"/>
                      <a:pt x="3641996" y="0"/>
                    </a:cubicBezTo>
                    <a:close/>
                    <a:moveTo>
                      <a:pt x="3482114" y="0"/>
                    </a:moveTo>
                    <a:lnTo>
                      <a:pt x="3497020" y="0"/>
                    </a:lnTo>
                    <a:lnTo>
                      <a:pt x="3497020" y="222980"/>
                    </a:lnTo>
                    <a:lnTo>
                      <a:pt x="3461732" y="222980"/>
                    </a:lnTo>
                    <a:lnTo>
                      <a:pt x="3461732" y="43197"/>
                    </a:lnTo>
                    <a:cubicBezTo>
                      <a:pt x="3455344" y="47760"/>
                      <a:pt x="3448474" y="51638"/>
                      <a:pt x="3441123" y="54832"/>
                    </a:cubicBezTo>
                    <a:cubicBezTo>
                      <a:pt x="3433771" y="58027"/>
                      <a:pt x="3425381" y="60840"/>
                      <a:pt x="3415950" y="63274"/>
                    </a:cubicBezTo>
                    <a:lnTo>
                      <a:pt x="3415950" y="33158"/>
                    </a:lnTo>
                    <a:cubicBezTo>
                      <a:pt x="3421831" y="31232"/>
                      <a:pt x="3427510" y="29204"/>
                      <a:pt x="3432985" y="27074"/>
                    </a:cubicBezTo>
                    <a:cubicBezTo>
                      <a:pt x="3438461" y="24945"/>
                      <a:pt x="3443861" y="22562"/>
                      <a:pt x="3449184" y="19925"/>
                    </a:cubicBezTo>
                    <a:cubicBezTo>
                      <a:pt x="3454508" y="17289"/>
                      <a:pt x="3459882" y="14348"/>
                      <a:pt x="3465307" y="11104"/>
                    </a:cubicBezTo>
                    <a:cubicBezTo>
                      <a:pt x="3470732" y="7859"/>
                      <a:pt x="3476334" y="4158"/>
                      <a:pt x="3482114" y="0"/>
                    </a:cubicBezTo>
                    <a:close/>
                    <a:moveTo>
                      <a:pt x="3183251" y="0"/>
                    </a:moveTo>
                    <a:lnTo>
                      <a:pt x="3198157" y="0"/>
                    </a:lnTo>
                    <a:lnTo>
                      <a:pt x="3198157" y="222980"/>
                    </a:lnTo>
                    <a:lnTo>
                      <a:pt x="3162869" y="222980"/>
                    </a:lnTo>
                    <a:lnTo>
                      <a:pt x="3162869" y="43197"/>
                    </a:lnTo>
                    <a:cubicBezTo>
                      <a:pt x="3156481" y="47760"/>
                      <a:pt x="3149611" y="51638"/>
                      <a:pt x="3142260" y="54832"/>
                    </a:cubicBezTo>
                    <a:cubicBezTo>
                      <a:pt x="3134908" y="58027"/>
                      <a:pt x="3126518" y="60840"/>
                      <a:pt x="3117087" y="63274"/>
                    </a:cubicBezTo>
                    <a:lnTo>
                      <a:pt x="3117087" y="33158"/>
                    </a:lnTo>
                    <a:cubicBezTo>
                      <a:pt x="3122968" y="31232"/>
                      <a:pt x="3128647" y="29204"/>
                      <a:pt x="3134122" y="27074"/>
                    </a:cubicBezTo>
                    <a:cubicBezTo>
                      <a:pt x="3139598" y="24945"/>
                      <a:pt x="3144998" y="22562"/>
                      <a:pt x="3150321" y="19925"/>
                    </a:cubicBezTo>
                    <a:cubicBezTo>
                      <a:pt x="3155645" y="17289"/>
                      <a:pt x="3161019" y="14348"/>
                      <a:pt x="3166444" y="11104"/>
                    </a:cubicBezTo>
                    <a:cubicBezTo>
                      <a:pt x="3171869" y="7859"/>
                      <a:pt x="3177471" y="4158"/>
                      <a:pt x="3183251" y="0"/>
                    </a:cubicBezTo>
                    <a:close/>
                    <a:moveTo>
                      <a:pt x="2804036" y="0"/>
                    </a:moveTo>
                    <a:lnTo>
                      <a:pt x="2818942" y="0"/>
                    </a:lnTo>
                    <a:lnTo>
                      <a:pt x="2818942" y="222980"/>
                    </a:lnTo>
                    <a:lnTo>
                      <a:pt x="2783654" y="222980"/>
                    </a:lnTo>
                    <a:lnTo>
                      <a:pt x="2783654" y="43197"/>
                    </a:lnTo>
                    <a:cubicBezTo>
                      <a:pt x="2777266" y="47760"/>
                      <a:pt x="2770396" y="51638"/>
                      <a:pt x="2763045" y="54832"/>
                    </a:cubicBezTo>
                    <a:cubicBezTo>
                      <a:pt x="2755693" y="58027"/>
                      <a:pt x="2747303" y="60840"/>
                      <a:pt x="2737872" y="63274"/>
                    </a:cubicBezTo>
                    <a:lnTo>
                      <a:pt x="2737872" y="33158"/>
                    </a:lnTo>
                    <a:cubicBezTo>
                      <a:pt x="2743753" y="31232"/>
                      <a:pt x="2749432" y="29204"/>
                      <a:pt x="2754907" y="27074"/>
                    </a:cubicBezTo>
                    <a:cubicBezTo>
                      <a:pt x="2760383" y="24945"/>
                      <a:pt x="2765783" y="22562"/>
                      <a:pt x="2771106" y="19925"/>
                    </a:cubicBezTo>
                    <a:cubicBezTo>
                      <a:pt x="2776430" y="17289"/>
                      <a:pt x="2781804" y="14348"/>
                      <a:pt x="2787229" y="11104"/>
                    </a:cubicBezTo>
                    <a:cubicBezTo>
                      <a:pt x="2792654" y="7859"/>
                      <a:pt x="2798256" y="4158"/>
                      <a:pt x="2804036" y="0"/>
                    </a:cubicBezTo>
                    <a:close/>
                    <a:moveTo>
                      <a:pt x="2654030" y="0"/>
                    </a:moveTo>
                    <a:lnTo>
                      <a:pt x="2668936" y="0"/>
                    </a:lnTo>
                    <a:lnTo>
                      <a:pt x="2668936" y="222980"/>
                    </a:lnTo>
                    <a:lnTo>
                      <a:pt x="2633648" y="222980"/>
                    </a:lnTo>
                    <a:lnTo>
                      <a:pt x="2633648" y="43197"/>
                    </a:lnTo>
                    <a:cubicBezTo>
                      <a:pt x="2627260" y="47760"/>
                      <a:pt x="2620390" y="51638"/>
                      <a:pt x="2613039" y="54832"/>
                    </a:cubicBezTo>
                    <a:cubicBezTo>
                      <a:pt x="2605687" y="58027"/>
                      <a:pt x="2597297" y="60840"/>
                      <a:pt x="2587866" y="63274"/>
                    </a:cubicBezTo>
                    <a:lnTo>
                      <a:pt x="2587866" y="33158"/>
                    </a:lnTo>
                    <a:cubicBezTo>
                      <a:pt x="2593747" y="31232"/>
                      <a:pt x="2599426" y="29204"/>
                      <a:pt x="2604901" y="27074"/>
                    </a:cubicBezTo>
                    <a:cubicBezTo>
                      <a:pt x="2610377" y="24945"/>
                      <a:pt x="2615777" y="22562"/>
                      <a:pt x="2621100" y="19925"/>
                    </a:cubicBezTo>
                    <a:cubicBezTo>
                      <a:pt x="2626424" y="17289"/>
                      <a:pt x="2631798" y="14348"/>
                      <a:pt x="2637223" y="11104"/>
                    </a:cubicBezTo>
                    <a:cubicBezTo>
                      <a:pt x="2642648" y="7859"/>
                      <a:pt x="2648250" y="4158"/>
                      <a:pt x="2654030" y="0"/>
                    </a:cubicBezTo>
                    <a:close/>
                    <a:moveTo>
                      <a:pt x="2505173" y="0"/>
                    </a:moveTo>
                    <a:lnTo>
                      <a:pt x="2520079" y="0"/>
                    </a:lnTo>
                    <a:lnTo>
                      <a:pt x="2520079" y="222980"/>
                    </a:lnTo>
                    <a:lnTo>
                      <a:pt x="2484791" y="222980"/>
                    </a:lnTo>
                    <a:lnTo>
                      <a:pt x="2484791" y="43197"/>
                    </a:lnTo>
                    <a:cubicBezTo>
                      <a:pt x="2478403" y="47760"/>
                      <a:pt x="2471533" y="51638"/>
                      <a:pt x="2464182" y="54832"/>
                    </a:cubicBezTo>
                    <a:cubicBezTo>
                      <a:pt x="2456830" y="58027"/>
                      <a:pt x="2448440" y="60840"/>
                      <a:pt x="2439009" y="63274"/>
                    </a:cubicBezTo>
                    <a:lnTo>
                      <a:pt x="2439009" y="33158"/>
                    </a:lnTo>
                    <a:cubicBezTo>
                      <a:pt x="2444890" y="31232"/>
                      <a:pt x="2450569" y="29204"/>
                      <a:pt x="2456044" y="27074"/>
                    </a:cubicBezTo>
                    <a:cubicBezTo>
                      <a:pt x="2461520" y="24945"/>
                      <a:pt x="2466920" y="22562"/>
                      <a:pt x="2472243" y="19925"/>
                    </a:cubicBezTo>
                    <a:cubicBezTo>
                      <a:pt x="2477567" y="17289"/>
                      <a:pt x="2482941" y="14348"/>
                      <a:pt x="2488366" y="11104"/>
                    </a:cubicBezTo>
                    <a:cubicBezTo>
                      <a:pt x="2493791" y="7859"/>
                      <a:pt x="2499393" y="4158"/>
                      <a:pt x="2505173" y="0"/>
                    </a:cubicBezTo>
                    <a:close/>
                    <a:moveTo>
                      <a:pt x="1749921" y="0"/>
                    </a:moveTo>
                    <a:lnTo>
                      <a:pt x="1764827" y="0"/>
                    </a:lnTo>
                    <a:lnTo>
                      <a:pt x="1764827" y="222980"/>
                    </a:lnTo>
                    <a:lnTo>
                      <a:pt x="1729539" y="222980"/>
                    </a:lnTo>
                    <a:lnTo>
                      <a:pt x="1729539" y="43197"/>
                    </a:lnTo>
                    <a:cubicBezTo>
                      <a:pt x="1723151" y="47760"/>
                      <a:pt x="1716281" y="51638"/>
                      <a:pt x="1708930" y="54832"/>
                    </a:cubicBezTo>
                    <a:cubicBezTo>
                      <a:pt x="1701578" y="58027"/>
                      <a:pt x="1693187" y="60840"/>
                      <a:pt x="1683757" y="63274"/>
                    </a:cubicBezTo>
                    <a:lnTo>
                      <a:pt x="1683757" y="33158"/>
                    </a:lnTo>
                    <a:cubicBezTo>
                      <a:pt x="1689638" y="31232"/>
                      <a:pt x="1695317" y="29204"/>
                      <a:pt x="1700792" y="27074"/>
                    </a:cubicBezTo>
                    <a:cubicBezTo>
                      <a:pt x="1706268" y="24945"/>
                      <a:pt x="1711668" y="22562"/>
                      <a:pt x="1716991" y="19925"/>
                    </a:cubicBezTo>
                    <a:cubicBezTo>
                      <a:pt x="1722315" y="17289"/>
                      <a:pt x="1727689" y="14348"/>
                      <a:pt x="1733114" y="11104"/>
                    </a:cubicBezTo>
                    <a:cubicBezTo>
                      <a:pt x="1738539" y="7859"/>
                      <a:pt x="1744141" y="4158"/>
                      <a:pt x="1749921" y="0"/>
                    </a:cubicBezTo>
                    <a:close/>
                    <a:moveTo>
                      <a:pt x="1599915" y="0"/>
                    </a:moveTo>
                    <a:lnTo>
                      <a:pt x="1614821" y="0"/>
                    </a:lnTo>
                    <a:lnTo>
                      <a:pt x="1614821" y="222980"/>
                    </a:lnTo>
                    <a:lnTo>
                      <a:pt x="1579533" y="222980"/>
                    </a:lnTo>
                    <a:lnTo>
                      <a:pt x="1579533" y="43197"/>
                    </a:lnTo>
                    <a:cubicBezTo>
                      <a:pt x="1573145" y="47760"/>
                      <a:pt x="1566275" y="51638"/>
                      <a:pt x="1558924" y="54832"/>
                    </a:cubicBezTo>
                    <a:cubicBezTo>
                      <a:pt x="1551572" y="58027"/>
                      <a:pt x="1543181" y="60840"/>
                      <a:pt x="1533751" y="63274"/>
                    </a:cubicBezTo>
                    <a:lnTo>
                      <a:pt x="1533751" y="33158"/>
                    </a:lnTo>
                    <a:cubicBezTo>
                      <a:pt x="1539632" y="31232"/>
                      <a:pt x="1545311" y="29204"/>
                      <a:pt x="1550786" y="27074"/>
                    </a:cubicBezTo>
                    <a:cubicBezTo>
                      <a:pt x="1556262" y="24945"/>
                      <a:pt x="1561662" y="22562"/>
                      <a:pt x="1566985" y="19925"/>
                    </a:cubicBezTo>
                    <a:cubicBezTo>
                      <a:pt x="1572309" y="17289"/>
                      <a:pt x="1577683" y="14348"/>
                      <a:pt x="1583108" y="11104"/>
                    </a:cubicBezTo>
                    <a:cubicBezTo>
                      <a:pt x="1588533" y="7859"/>
                      <a:pt x="1594135" y="4158"/>
                      <a:pt x="1599915" y="0"/>
                    </a:cubicBezTo>
                    <a:close/>
                    <a:moveTo>
                      <a:pt x="1302201" y="0"/>
                    </a:moveTo>
                    <a:lnTo>
                      <a:pt x="1317107" y="0"/>
                    </a:lnTo>
                    <a:lnTo>
                      <a:pt x="1317107" y="222980"/>
                    </a:lnTo>
                    <a:lnTo>
                      <a:pt x="1281819" y="222980"/>
                    </a:lnTo>
                    <a:lnTo>
                      <a:pt x="1281819" y="43197"/>
                    </a:lnTo>
                    <a:cubicBezTo>
                      <a:pt x="1275431" y="47760"/>
                      <a:pt x="1268561" y="51638"/>
                      <a:pt x="1261210" y="54832"/>
                    </a:cubicBezTo>
                    <a:cubicBezTo>
                      <a:pt x="1253858" y="58027"/>
                      <a:pt x="1245467" y="60840"/>
                      <a:pt x="1236037" y="63274"/>
                    </a:cubicBezTo>
                    <a:lnTo>
                      <a:pt x="1236037" y="33158"/>
                    </a:lnTo>
                    <a:cubicBezTo>
                      <a:pt x="1241918" y="31232"/>
                      <a:pt x="1247597" y="29204"/>
                      <a:pt x="1253072" y="27074"/>
                    </a:cubicBezTo>
                    <a:cubicBezTo>
                      <a:pt x="1258548" y="24945"/>
                      <a:pt x="1263948" y="22562"/>
                      <a:pt x="1269271" y="19925"/>
                    </a:cubicBezTo>
                    <a:cubicBezTo>
                      <a:pt x="1274595" y="17289"/>
                      <a:pt x="1279969" y="14348"/>
                      <a:pt x="1285394" y="11104"/>
                    </a:cubicBezTo>
                    <a:cubicBezTo>
                      <a:pt x="1290819" y="7859"/>
                      <a:pt x="1296421" y="4158"/>
                      <a:pt x="1302201" y="0"/>
                    </a:cubicBezTo>
                    <a:close/>
                    <a:moveTo>
                      <a:pt x="927321" y="0"/>
                    </a:moveTo>
                    <a:lnTo>
                      <a:pt x="942227" y="0"/>
                    </a:lnTo>
                    <a:lnTo>
                      <a:pt x="942227" y="222980"/>
                    </a:lnTo>
                    <a:lnTo>
                      <a:pt x="906939" y="222980"/>
                    </a:lnTo>
                    <a:lnTo>
                      <a:pt x="906939" y="43197"/>
                    </a:lnTo>
                    <a:cubicBezTo>
                      <a:pt x="900551" y="47760"/>
                      <a:pt x="893681" y="51638"/>
                      <a:pt x="886330" y="54832"/>
                    </a:cubicBezTo>
                    <a:cubicBezTo>
                      <a:pt x="878978" y="58027"/>
                      <a:pt x="870587" y="60840"/>
                      <a:pt x="861157" y="63274"/>
                    </a:cubicBezTo>
                    <a:lnTo>
                      <a:pt x="861157" y="33158"/>
                    </a:lnTo>
                    <a:cubicBezTo>
                      <a:pt x="867038" y="31232"/>
                      <a:pt x="872717" y="29204"/>
                      <a:pt x="878192" y="27074"/>
                    </a:cubicBezTo>
                    <a:cubicBezTo>
                      <a:pt x="883668" y="24945"/>
                      <a:pt x="889068" y="22562"/>
                      <a:pt x="894391" y="19925"/>
                    </a:cubicBezTo>
                    <a:cubicBezTo>
                      <a:pt x="899715" y="17289"/>
                      <a:pt x="905089" y="14348"/>
                      <a:pt x="910514" y="11104"/>
                    </a:cubicBezTo>
                    <a:cubicBezTo>
                      <a:pt x="915939" y="7859"/>
                      <a:pt x="921541" y="4158"/>
                      <a:pt x="927321" y="0"/>
                    </a:cubicBezTo>
                    <a:close/>
                    <a:moveTo>
                      <a:pt x="778464" y="0"/>
                    </a:moveTo>
                    <a:lnTo>
                      <a:pt x="793370" y="0"/>
                    </a:lnTo>
                    <a:lnTo>
                      <a:pt x="793370" y="222980"/>
                    </a:lnTo>
                    <a:lnTo>
                      <a:pt x="758082" y="222980"/>
                    </a:lnTo>
                    <a:lnTo>
                      <a:pt x="758082" y="43197"/>
                    </a:lnTo>
                    <a:cubicBezTo>
                      <a:pt x="751694" y="47760"/>
                      <a:pt x="744824" y="51638"/>
                      <a:pt x="737473" y="54832"/>
                    </a:cubicBezTo>
                    <a:cubicBezTo>
                      <a:pt x="730121" y="58027"/>
                      <a:pt x="721731" y="60840"/>
                      <a:pt x="712300" y="63274"/>
                    </a:cubicBezTo>
                    <a:lnTo>
                      <a:pt x="712300" y="33158"/>
                    </a:lnTo>
                    <a:cubicBezTo>
                      <a:pt x="718181" y="31232"/>
                      <a:pt x="723860" y="29204"/>
                      <a:pt x="729335" y="27074"/>
                    </a:cubicBezTo>
                    <a:cubicBezTo>
                      <a:pt x="734811" y="24945"/>
                      <a:pt x="740211" y="22562"/>
                      <a:pt x="745534" y="19925"/>
                    </a:cubicBezTo>
                    <a:cubicBezTo>
                      <a:pt x="750858" y="17289"/>
                      <a:pt x="756232" y="14348"/>
                      <a:pt x="761657" y="11104"/>
                    </a:cubicBezTo>
                    <a:cubicBezTo>
                      <a:pt x="767082" y="7859"/>
                      <a:pt x="772684" y="4158"/>
                      <a:pt x="778464" y="0"/>
                    </a:cubicBezTo>
                    <a:close/>
                    <a:moveTo>
                      <a:pt x="629607" y="0"/>
                    </a:moveTo>
                    <a:lnTo>
                      <a:pt x="644513" y="0"/>
                    </a:lnTo>
                    <a:lnTo>
                      <a:pt x="644513" y="222980"/>
                    </a:lnTo>
                    <a:lnTo>
                      <a:pt x="609225" y="222980"/>
                    </a:lnTo>
                    <a:lnTo>
                      <a:pt x="609225" y="43197"/>
                    </a:lnTo>
                    <a:cubicBezTo>
                      <a:pt x="602837" y="47760"/>
                      <a:pt x="595967" y="51638"/>
                      <a:pt x="588616" y="54832"/>
                    </a:cubicBezTo>
                    <a:cubicBezTo>
                      <a:pt x="581264" y="58027"/>
                      <a:pt x="572873" y="60840"/>
                      <a:pt x="563443" y="63274"/>
                    </a:cubicBezTo>
                    <a:lnTo>
                      <a:pt x="563443" y="33158"/>
                    </a:lnTo>
                    <a:cubicBezTo>
                      <a:pt x="569324" y="31232"/>
                      <a:pt x="575003" y="29204"/>
                      <a:pt x="580478" y="27074"/>
                    </a:cubicBezTo>
                    <a:cubicBezTo>
                      <a:pt x="585954" y="24945"/>
                      <a:pt x="591354" y="22562"/>
                      <a:pt x="596677" y="19925"/>
                    </a:cubicBezTo>
                    <a:cubicBezTo>
                      <a:pt x="602001" y="17289"/>
                      <a:pt x="607375" y="14348"/>
                      <a:pt x="612800" y="11104"/>
                    </a:cubicBezTo>
                    <a:cubicBezTo>
                      <a:pt x="618225" y="7859"/>
                      <a:pt x="623827" y="4158"/>
                      <a:pt x="629607" y="0"/>
                    </a:cubicBezTo>
                    <a:close/>
                    <a:moveTo>
                      <a:pt x="480750" y="0"/>
                    </a:moveTo>
                    <a:lnTo>
                      <a:pt x="495656" y="0"/>
                    </a:lnTo>
                    <a:lnTo>
                      <a:pt x="495656" y="222980"/>
                    </a:lnTo>
                    <a:lnTo>
                      <a:pt x="460368" y="222980"/>
                    </a:lnTo>
                    <a:lnTo>
                      <a:pt x="460368" y="43197"/>
                    </a:lnTo>
                    <a:cubicBezTo>
                      <a:pt x="453980" y="47760"/>
                      <a:pt x="447111" y="51638"/>
                      <a:pt x="439759" y="54832"/>
                    </a:cubicBezTo>
                    <a:cubicBezTo>
                      <a:pt x="432407" y="58027"/>
                      <a:pt x="424017" y="60840"/>
                      <a:pt x="414586" y="63274"/>
                    </a:cubicBezTo>
                    <a:lnTo>
                      <a:pt x="414586" y="33158"/>
                    </a:lnTo>
                    <a:cubicBezTo>
                      <a:pt x="420467" y="31232"/>
                      <a:pt x="426146" y="29204"/>
                      <a:pt x="431621" y="27074"/>
                    </a:cubicBezTo>
                    <a:cubicBezTo>
                      <a:pt x="437097" y="24945"/>
                      <a:pt x="442497" y="22562"/>
                      <a:pt x="447820" y="19925"/>
                    </a:cubicBezTo>
                    <a:cubicBezTo>
                      <a:pt x="453144" y="17289"/>
                      <a:pt x="458518" y="14348"/>
                      <a:pt x="463943" y="11104"/>
                    </a:cubicBezTo>
                    <a:cubicBezTo>
                      <a:pt x="469368" y="7859"/>
                      <a:pt x="474970" y="4158"/>
                      <a:pt x="480750" y="0"/>
                    </a:cubicBezTo>
                    <a:close/>
                    <a:moveTo>
                      <a:pt x="275106" y="0"/>
                    </a:moveTo>
                    <a:cubicBezTo>
                      <a:pt x="322550" y="0"/>
                      <a:pt x="346273" y="36863"/>
                      <a:pt x="346273" y="110588"/>
                    </a:cubicBezTo>
                    <a:cubicBezTo>
                      <a:pt x="346273" y="147099"/>
                      <a:pt x="339578" y="174959"/>
                      <a:pt x="326187" y="194167"/>
                    </a:cubicBezTo>
                    <a:cubicBezTo>
                      <a:pt x="312796" y="213376"/>
                      <a:pt x="294064" y="222980"/>
                      <a:pt x="269990" y="222980"/>
                    </a:cubicBezTo>
                    <a:cubicBezTo>
                      <a:pt x="247522" y="222980"/>
                      <a:pt x="229993" y="213802"/>
                      <a:pt x="217405" y="195446"/>
                    </a:cubicBezTo>
                    <a:cubicBezTo>
                      <a:pt x="204816" y="177090"/>
                      <a:pt x="198522" y="150559"/>
                      <a:pt x="198522" y="115854"/>
                    </a:cubicBezTo>
                    <a:cubicBezTo>
                      <a:pt x="198522" y="77737"/>
                      <a:pt x="205092" y="48900"/>
                      <a:pt x="218232" y="29340"/>
                    </a:cubicBezTo>
                    <a:cubicBezTo>
                      <a:pt x="231373" y="9780"/>
                      <a:pt x="250330" y="0"/>
                      <a:pt x="275106"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61" name="Freeform 560"/>
              <p:cNvSpPr/>
              <p:nvPr/>
            </p:nvSpPr>
            <p:spPr>
              <a:xfrm>
                <a:off x="1062134" y="3181226"/>
                <a:ext cx="10712017" cy="228614"/>
              </a:xfrm>
              <a:custGeom>
                <a:avLst/>
                <a:gdLst>
                  <a:gd name="connsiteX0" fmla="*/ 10596925 w 10712017"/>
                  <a:gd name="connsiteY0" fmla="*/ 91551 h 228614"/>
                  <a:gd name="connsiteX1" fmla="*/ 10586463 w 10712017"/>
                  <a:gd name="connsiteY1" fmla="*/ 139680 h 228614"/>
                  <a:gd name="connsiteX2" fmla="*/ 10629186 w 10712017"/>
                  <a:gd name="connsiteY2" fmla="*/ 139680 h 228614"/>
                  <a:gd name="connsiteX3" fmla="*/ 10639474 w 10712017"/>
                  <a:gd name="connsiteY3" fmla="*/ 91551 h 228614"/>
                  <a:gd name="connsiteX4" fmla="*/ 4546578 w 10712017"/>
                  <a:gd name="connsiteY4" fmla="*/ 91551 h 228614"/>
                  <a:gd name="connsiteX5" fmla="*/ 4536115 w 10712017"/>
                  <a:gd name="connsiteY5" fmla="*/ 139680 h 228614"/>
                  <a:gd name="connsiteX6" fmla="*/ 4578838 w 10712017"/>
                  <a:gd name="connsiteY6" fmla="*/ 139680 h 228614"/>
                  <a:gd name="connsiteX7" fmla="*/ 4589127 w 10712017"/>
                  <a:gd name="connsiteY7" fmla="*/ 91551 h 228614"/>
                  <a:gd name="connsiteX8" fmla="*/ 8014419 w 10712017"/>
                  <a:gd name="connsiteY8" fmla="*/ 2817 h 228614"/>
                  <a:gd name="connsiteX9" fmla="*/ 8059268 w 10712017"/>
                  <a:gd name="connsiteY9" fmla="*/ 41839 h 228614"/>
                  <a:gd name="connsiteX10" fmla="*/ 8059268 w 10712017"/>
                  <a:gd name="connsiteY10" fmla="*/ 78199 h 228614"/>
                  <a:gd name="connsiteX11" fmla="*/ 8078906 w 10712017"/>
                  <a:gd name="connsiteY11" fmla="*/ 105059 h 228614"/>
                  <a:gd name="connsiteX12" fmla="*/ 8078906 w 10712017"/>
                  <a:gd name="connsiteY12" fmla="*/ 123556 h 228614"/>
                  <a:gd name="connsiteX13" fmla="*/ 8059268 w 10712017"/>
                  <a:gd name="connsiteY13" fmla="*/ 149908 h 228614"/>
                  <a:gd name="connsiteX14" fmla="*/ 8059268 w 10712017"/>
                  <a:gd name="connsiteY14" fmla="*/ 187283 h 228614"/>
                  <a:gd name="connsiteX15" fmla="*/ 8014419 w 10712017"/>
                  <a:gd name="connsiteY15" fmla="*/ 225797 h 228614"/>
                  <a:gd name="connsiteX16" fmla="*/ 8014419 w 10712017"/>
                  <a:gd name="connsiteY16" fmla="*/ 206286 h 228614"/>
                  <a:gd name="connsiteX17" fmla="*/ 8030066 w 10712017"/>
                  <a:gd name="connsiteY17" fmla="*/ 200205 h 228614"/>
                  <a:gd name="connsiteX18" fmla="*/ 8034690 w 10712017"/>
                  <a:gd name="connsiteY18" fmla="*/ 180948 h 228614"/>
                  <a:gd name="connsiteX19" fmla="*/ 8034690 w 10712017"/>
                  <a:gd name="connsiteY19" fmla="*/ 145601 h 228614"/>
                  <a:gd name="connsiteX20" fmla="*/ 8059649 w 10712017"/>
                  <a:gd name="connsiteY20" fmla="*/ 114307 h 228614"/>
                  <a:gd name="connsiteX21" fmla="*/ 8059649 w 10712017"/>
                  <a:gd name="connsiteY21" fmla="*/ 113927 h 228614"/>
                  <a:gd name="connsiteX22" fmla="*/ 8034690 w 10712017"/>
                  <a:gd name="connsiteY22" fmla="*/ 82380 h 228614"/>
                  <a:gd name="connsiteX23" fmla="*/ 8034690 w 10712017"/>
                  <a:gd name="connsiteY23" fmla="*/ 46653 h 228614"/>
                  <a:gd name="connsiteX24" fmla="*/ 8014419 w 10712017"/>
                  <a:gd name="connsiteY24" fmla="*/ 22455 h 228614"/>
                  <a:gd name="connsiteX25" fmla="*/ 7996935 w 10712017"/>
                  <a:gd name="connsiteY25" fmla="*/ 2817 h 228614"/>
                  <a:gd name="connsiteX26" fmla="*/ 7996935 w 10712017"/>
                  <a:gd name="connsiteY26" fmla="*/ 22455 h 228614"/>
                  <a:gd name="connsiteX27" fmla="*/ 7976791 w 10712017"/>
                  <a:gd name="connsiteY27" fmla="*/ 46653 h 228614"/>
                  <a:gd name="connsiteX28" fmla="*/ 7976791 w 10712017"/>
                  <a:gd name="connsiteY28" fmla="*/ 82380 h 228614"/>
                  <a:gd name="connsiteX29" fmla="*/ 7951579 w 10712017"/>
                  <a:gd name="connsiteY29" fmla="*/ 113927 h 228614"/>
                  <a:gd name="connsiteX30" fmla="*/ 7951579 w 10712017"/>
                  <a:gd name="connsiteY30" fmla="*/ 114307 h 228614"/>
                  <a:gd name="connsiteX31" fmla="*/ 7976791 w 10712017"/>
                  <a:gd name="connsiteY31" fmla="*/ 145601 h 228614"/>
                  <a:gd name="connsiteX32" fmla="*/ 7976791 w 10712017"/>
                  <a:gd name="connsiteY32" fmla="*/ 180948 h 228614"/>
                  <a:gd name="connsiteX33" fmla="*/ 7981289 w 10712017"/>
                  <a:gd name="connsiteY33" fmla="*/ 200268 h 228614"/>
                  <a:gd name="connsiteX34" fmla="*/ 7996935 w 10712017"/>
                  <a:gd name="connsiteY34" fmla="*/ 206286 h 228614"/>
                  <a:gd name="connsiteX35" fmla="*/ 7996935 w 10712017"/>
                  <a:gd name="connsiteY35" fmla="*/ 225797 h 228614"/>
                  <a:gd name="connsiteX36" fmla="*/ 7951832 w 10712017"/>
                  <a:gd name="connsiteY36" fmla="*/ 187283 h 228614"/>
                  <a:gd name="connsiteX37" fmla="*/ 7951832 w 10712017"/>
                  <a:gd name="connsiteY37" fmla="*/ 149908 h 228614"/>
                  <a:gd name="connsiteX38" fmla="*/ 7932068 w 10712017"/>
                  <a:gd name="connsiteY38" fmla="*/ 123556 h 228614"/>
                  <a:gd name="connsiteX39" fmla="*/ 7932068 w 10712017"/>
                  <a:gd name="connsiteY39" fmla="*/ 105059 h 228614"/>
                  <a:gd name="connsiteX40" fmla="*/ 7951832 w 10712017"/>
                  <a:gd name="connsiteY40" fmla="*/ 78199 h 228614"/>
                  <a:gd name="connsiteX41" fmla="*/ 7951832 w 10712017"/>
                  <a:gd name="connsiteY41" fmla="*/ 41839 h 228614"/>
                  <a:gd name="connsiteX42" fmla="*/ 7996935 w 10712017"/>
                  <a:gd name="connsiteY42" fmla="*/ 2817 h 228614"/>
                  <a:gd name="connsiteX43" fmla="*/ 6135433 w 10712017"/>
                  <a:gd name="connsiteY43" fmla="*/ 2817 h 228614"/>
                  <a:gd name="connsiteX44" fmla="*/ 6180283 w 10712017"/>
                  <a:gd name="connsiteY44" fmla="*/ 41839 h 228614"/>
                  <a:gd name="connsiteX45" fmla="*/ 6180283 w 10712017"/>
                  <a:gd name="connsiteY45" fmla="*/ 78199 h 228614"/>
                  <a:gd name="connsiteX46" fmla="*/ 6199920 w 10712017"/>
                  <a:gd name="connsiteY46" fmla="*/ 105059 h 228614"/>
                  <a:gd name="connsiteX47" fmla="*/ 6199920 w 10712017"/>
                  <a:gd name="connsiteY47" fmla="*/ 123556 h 228614"/>
                  <a:gd name="connsiteX48" fmla="*/ 6180283 w 10712017"/>
                  <a:gd name="connsiteY48" fmla="*/ 149908 h 228614"/>
                  <a:gd name="connsiteX49" fmla="*/ 6180283 w 10712017"/>
                  <a:gd name="connsiteY49" fmla="*/ 187283 h 228614"/>
                  <a:gd name="connsiteX50" fmla="*/ 6135433 w 10712017"/>
                  <a:gd name="connsiteY50" fmla="*/ 225797 h 228614"/>
                  <a:gd name="connsiteX51" fmla="*/ 6135433 w 10712017"/>
                  <a:gd name="connsiteY51" fmla="*/ 206286 h 228614"/>
                  <a:gd name="connsiteX52" fmla="*/ 6151080 w 10712017"/>
                  <a:gd name="connsiteY52" fmla="*/ 200205 h 228614"/>
                  <a:gd name="connsiteX53" fmla="*/ 6155704 w 10712017"/>
                  <a:gd name="connsiteY53" fmla="*/ 180948 h 228614"/>
                  <a:gd name="connsiteX54" fmla="*/ 6155704 w 10712017"/>
                  <a:gd name="connsiteY54" fmla="*/ 145601 h 228614"/>
                  <a:gd name="connsiteX55" fmla="*/ 6180663 w 10712017"/>
                  <a:gd name="connsiteY55" fmla="*/ 114307 h 228614"/>
                  <a:gd name="connsiteX56" fmla="*/ 6180663 w 10712017"/>
                  <a:gd name="connsiteY56" fmla="*/ 113927 h 228614"/>
                  <a:gd name="connsiteX57" fmla="*/ 6155704 w 10712017"/>
                  <a:gd name="connsiteY57" fmla="*/ 82380 h 228614"/>
                  <a:gd name="connsiteX58" fmla="*/ 6155704 w 10712017"/>
                  <a:gd name="connsiteY58" fmla="*/ 46653 h 228614"/>
                  <a:gd name="connsiteX59" fmla="*/ 6135433 w 10712017"/>
                  <a:gd name="connsiteY59" fmla="*/ 22455 h 228614"/>
                  <a:gd name="connsiteX60" fmla="*/ 6117949 w 10712017"/>
                  <a:gd name="connsiteY60" fmla="*/ 2817 h 228614"/>
                  <a:gd name="connsiteX61" fmla="*/ 6117949 w 10712017"/>
                  <a:gd name="connsiteY61" fmla="*/ 22455 h 228614"/>
                  <a:gd name="connsiteX62" fmla="*/ 6097805 w 10712017"/>
                  <a:gd name="connsiteY62" fmla="*/ 46653 h 228614"/>
                  <a:gd name="connsiteX63" fmla="*/ 6097805 w 10712017"/>
                  <a:gd name="connsiteY63" fmla="*/ 82380 h 228614"/>
                  <a:gd name="connsiteX64" fmla="*/ 6072593 w 10712017"/>
                  <a:gd name="connsiteY64" fmla="*/ 113927 h 228614"/>
                  <a:gd name="connsiteX65" fmla="*/ 6072593 w 10712017"/>
                  <a:gd name="connsiteY65" fmla="*/ 114307 h 228614"/>
                  <a:gd name="connsiteX66" fmla="*/ 6097805 w 10712017"/>
                  <a:gd name="connsiteY66" fmla="*/ 145601 h 228614"/>
                  <a:gd name="connsiteX67" fmla="*/ 6097805 w 10712017"/>
                  <a:gd name="connsiteY67" fmla="*/ 180948 h 228614"/>
                  <a:gd name="connsiteX68" fmla="*/ 6102303 w 10712017"/>
                  <a:gd name="connsiteY68" fmla="*/ 200268 h 228614"/>
                  <a:gd name="connsiteX69" fmla="*/ 6117949 w 10712017"/>
                  <a:gd name="connsiteY69" fmla="*/ 206286 h 228614"/>
                  <a:gd name="connsiteX70" fmla="*/ 6117949 w 10712017"/>
                  <a:gd name="connsiteY70" fmla="*/ 225797 h 228614"/>
                  <a:gd name="connsiteX71" fmla="*/ 6072847 w 10712017"/>
                  <a:gd name="connsiteY71" fmla="*/ 187283 h 228614"/>
                  <a:gd name="connsiteX72" fmla="*/ 6072847 w 10712017"/>
                  <a:gd name="connsiteY72" fmla="*/ 149908 h 228614"/>
                  <a:gd name="connsiteX73" fmla="*/ 6053082 w 10712017"/>
                  <a:gd name="connsiteY73" fmla="*/ 123556 h 228614"/>
                  <a:gd name="connsiteX74" fmla="*/ 6053082 w 10712017"/>
                  <a:gd name="connsiteY74" fmla="*/ 105059 h 228614"/>
                  <a:gd name="connsiteX75" fmla="*/ 6072847 w 10712017"/>
                  <a:gd name="connsiteY75" fmla="*/ 78199 h 228614"/>
                  <a:gd name="connsiteX76" fmla="*/ 6072847 w 10712017"/>
                  <a:gd name="connsiteY76" fmla="*/ 41839 h 228614"/>
                  <a:gd name="connsiteX77" fmla="*/ 6117949 w 10712017"/>
                  <a:gd name="connsiteY77" fmla="*/ 2817 h 228614"/>
                  <a:gd name="connsiteX78" fmla="*/ 1949251 w 10712017"/>
                  <a:gd name="connsiteY78" fmla="*/ 2817 h 228614"/>
                  <a:gd name="connsiteX79" fmla="*/ 1994100 w 10712017"/>
                  <a:gd name="connsiteY79" fmla="*/ 41839 h 228614"/>
                  <a:gd name="connsiteX80" fmla="*/ 1994100 w 10712017"/>
                  <a:gd name="connsiteY80" fmla="*/ 78199 h 228614"/>
                  <a:gd name="connsiteX81" fmla="*/ 2013737 w 10712017"/>
                  <a:gd name="connsiteY81" fmla="*/ 105059 h 228614"/>
                  <a:gd name="connsiteX82" fmla="*/ 2013737 w 10712017"/>
                  <a:gd name="connsiteY82" fmla="*/ 123556 h 228614"/>
                  <a:gd name="connsiteX83" fmla="*/ 1994100 w 10712017"/>
                  <a:gd name="connsiteY83" fmla="*/ 149908 h 228614"/>
                  <a:gd name="connsiteX84" fmla="*/ 1994100 w 10712017"/>
                  <a:gd name="connsiteY84" fmla="*/ 187283 h 228614"/>
                  <a:gd name="connsiteX85" fmla="*/ 1949251 w 10712017"/>
                  <a:gd name="connsiteY85" fmla="*/ 225797 h 228614"/>
                  <a:gd name="connsiteX86" fmla="*/ 1949251 w 10712017"/>
                  <a:gd name="connsiteY86" fmla="*/ 206286 h 228614"/>
                  <a:gd name="connsiteX87" fmla="*/ 1964897 w 10712017"/>
                  <a:gd name="connsiteY87" fmla="*/ 200205 h 228614"/>
                  <a:gd name="connsiteX88" fmla="*/ 1969521 w 10712017"/>
                  <a:gd name="connsiteY88" fmla="*/ 180948 h 228614"/>
                  <a:gd name="connsiteX89" fmla="*/ 1969521 w 10712017"/>
                  <a:gd name="connsiteY89" fmla="*/ 145601 h 228614"/>
                  <a:gd name="connsiteX90" fmla="*/ 1994480 w 10712017"/>
                  <a:gd name="connsiteY90" fmla="*/ 114307 h 228614"/>
                  <a:gd name="connsiteX91" fmla="*/ 1994480 w 10712017"/>
                  <a:gd name="connsiteY91" fmla="*/ 113927 h 228614"/>
                  <a:gd name="connsiteX92" fmla="*/ 1969521 w 10712017"/>
                  <a:gd name="connsiteY92" fmla="*/ 82380 h 228614"/>
                  <a:gd name="connsiteX93" fmla="*/ 1969521 w 10712017"/>
                  <a:gd name="connsiteY93" fmla="*/ 46653 h 228614"/>
                  <a:gd name="connsiteX94" fmla="*/ 1949251 w 10712017"/>
                  <a:gd name="connsiteY94" fmla="*/ 22455 h 228614"/>
                  <a:gd name="connsiteX95" fmla="*/ 1931767 w 10712017"/>
                  <a:gd name="connsiteY95" fmla="*/ 2817 h 228614"/>
                  <a:gd name="connsiteX96" fmla="*/ 1931767 w 10712017"/>
                  <a:gd name="connsiteY96" fmla="*/ 22455 h 228614"/>
                  <a:gd name="connsiteX97" fmla="*/ 1911622 w 10712017"/>
                  <a:gd name="connsiteY97" fmla="*/ 46653 h 228614"/>
                  <a:gd name="connsiteX98" fmla="*/ 1911622 w 10712017"/>
                  <a:gd name="connsiteY98" fmla="*/ 82380 h 228614"/>
                  <a:gd name="connsiteX99" fmla="*/ 1886410 w 10712017"/>
                  <a:gd name="connsiteY99" fmla="*/ 113927 h 228614"/>
                  <a:gd name="connsiteX100" fmla="*/ 1886410 w 10712017"/>
                  <a:gd name="connsiteY100" fmla="*/ 114307 h 228614"/>
                  <a:gd name="connsiteX101" fmla="*/ 1911622 w 10712017"/>
                  <a:gd name="connsiteY101" fmla="*/ 145601 h 228614"/>
                  <a:gd name="connsiteX102" fmla="*/ 1911622 w 10712017"/>
                  <a:gd name="connsiteY102" fmla="*/ 180948 h 228614"/>
                  <a:gd name="connsiteX103" fmla="*/ 1916120 w 10712017"/>
                  <a:gd name="connsiteY103" fmla="*/ 200268 h 228614"/>
                  <a:gd name="connsiteX104" fmla="*/ 1931767 w 10712017"/>
                  <a:gd name="connsiteY104" fmla="*/ 206286 h 228614"/>
                  <a:gd name="connsiteX105" fmla="*/ 1931767 w 10712017"/>
                  <a:gd name="connsiteY105" fmla="*/ 225797 h 228614"/>
                  <a:gd name="connsiteX106" fmla="*/ 1886664 w 10712017"/>
                  <a:gd name="connsiteY106" fmla="*/ 187283 h 228614"/>
                  <a:gd name="connsiteX107" fmla="*/ 1886664 w 10712017"/>
                  <a:gd name="connsiteY107" fmla="*/ 149908 h 228614"/>
                  <a:gd name="connsiteX108" fmla="*/ 1866900 w 10712017"/>
                  <a:gd name="connsiteY108" fmla="*/ 123556 h 228614"/>
                  <a:gd name="connsiteX109" fmla="*/ 1866900 w 10712017"/>
                  <a:gd name="connsiteY109" fmla="*/ 105059 h 228614"/>
                  <a:gd name="connsiteX110" fmla="*/ 1886664 w 10712017"/>
                  <a:gd name="connsiteY110" fmla="*/ 78199 h 228614"/>
                  <a:gd name="connsiteX111" fmla="*/ 1886664 w 10712017"/>
                  <a:gd name="connsiteY111" fmla="*/ 41839 h 228614"/>
                  <a:gd name="connsiteX112" fmla="*/ 1931767 w 10712017"/>
                  <a:gd name="connsiteY112" fmla="*/ 2817 h 228614"/>
                  <a:gd name="connsiteX113" fmla="*/ 82352 w 10712017"/>
                  <a:gd name="connsiteY113" fmla="*/ 2817 h 228614"/>
                  <a:gd name="connsiteX114" fmla="*/ 127201 w 10712017"/>
                  <a:gd name="connsiteY114" fmla="*/ 41839 h 228614"/>
                  <a:gd name="connsiteX115" fmla="*/ 127201 w 10712017"/>
                  <a:gd name="connsiteY115" fmla="*/ 78199 h 228614"/>
                  <a:gd name="connsiteX116" fmla="*/ 146838 w 10712017"/>
                  <a:gd name="connsiteY116" fmla="*/ 105059 h 228614"/>
                  <a:gd name="connsiteX117" fmla="*/ 146838 w 10712017"/>
                  <a:gd name="connsiteY117" fmla="*/ 123556 h 228614"/>
                  <a:gd name="connsiteX118" fmla="*/ 127201 w 10712017"/>
                  <a:gd name="connsiteY118" fmla="*/ 149908 h 228614"/>
                  <a:gd name="connsiteX119" fmla="*/ 127201 w 10712017"/>
                  <a:gd name="connsiteY119" fmla="*/ 187283 h 228614"/>
                  <a:gd name="connsiteX120" fmla="*/ 82352 w 10712017"/>
                  <a:gd name="connsiteY120" fmla="*/ 225797 h 228614"/>
                  <a:gd name="connsiteX121" fmla="*/ 82352 w 10712017"/>
                  <a:gd name="connsiteY121" fmla="*/ 206286 h 228614"/>
                  <a:gd name="connsiteX122" fmla="*/ 97998 w 10712017"/>
                  <a:gd name="connsiteY122" fmla="*/ 200205 h 228614"/>
                  <a:gd name="connsiteX123" fmla="*/ 102622 w 10712017"/>
                  <a:gd name="connsiteY123" fmla="*/ 180948 h 228614"/>
                  <a:gd name="connsiteX124" fmla="*/ 102622 w 10712017"/>
                  <a:gd name="connsiteY124" fmla="*/ 145601 h 228614"/>
                  <a:gd name="connsiteX125" fmla="*/ 127581 w 10712017"/>
                  <a:gd name="connsiteY125" fmla="*/ 114307 h 228614"/>
                  <a:gd name="connsiteX126" fmla="*/ 127581 w 10712017"/>
                  <a:gd name="connsiteY126" fmla="*/ 113927 h 228614"/>
                  <a:gd name="connsiteX127" fmla="*/ 102622 w 10712017"/>
                  <a:gd name="connsiteY127" fmla="*/ 82380 h 228614"/>
                  <a:gd name="connsiteX128" fmla="*/ 102622 w 10712017"/>
                  <a:gd name="connsiteY128" fmla="*/ 46653 h 228614"/>
                  <a:gd name="connsiteX129" fmla="*/ 82352 w 10712017"/>
                  <a:gd name="connsiteY129" fmla="*/ 22455 h 228614"/>
                  <a:gd name="connsiteX130" fmla="*/ 64867 w 10712017"/>
                  <a:gd name="connsiteY130" fmla="*/ 2817 h 228614"/>
                  <a:gd name="connsiteX131" fmla="*/ 64867 w 10712017"/>
                  <a:gd name="connsiteY131" fmla="*/ 22455 h 228614"/>
                  <a:gd name="connsiteX132" fmla="*/ 44723 w 10712017"/>
                  <a:gd name="connsiteY132" fmla="*/ 46653 h 228614"/>
                  <a:gd name="connsiteX133" fmla="*/ 44723 w 10712017"/>
                  <a:gd name="connsiteY133" fmla="*/ 82380 h 228614"/>
                  <a:gd name="connsiteX134" fmla="*/ 19511 w 10712017"/>
                  <a:gd name="connsiteY134" fmla="*/ 113927 h 228614"/>
                  <a:gd name="connsiteX135" fmla="*/ 19511 w 10712017"/>
                  <a:gd name="connsiteY135" fmla="*/ 114307 h 228614"/>
                  <a:gd name="connsiteX136" fmla="*/ 44723 w 10712017"/>
                  <a:gd name="connsiteY136" fmla="*/ 145601 h 228614"/>
                  <a:gd name="connsiteX137" fmla="*/ 44723 w 10712017"/>
                  <a:gd name="connsiteY137" fmla="*/ 180948 h 228614"/>
                  <a:gd name="connsiteX138" fmla="*/ 49221 w 10712017"/>
                  <a:gd name="connsiteY138" fmla="*/ 200268 h 228614"/>
                  <a:gd name="connsiteX139" fmla="*/ 64867 w 10712017"/>
                  <a:gd name="connsiteY139" fmla="*/ 206286 h 228614"/>
                  <a:gd name="connsiteX140" fmla="*/ 64867 w 10712017"/>
                  <a:gd name="connsiteY140" fmla="*/ 225797 h 228614"/>
                  <a:gd name="connsiteX141" fmla="*/ 19765 w 10712017"/>
                  <a:gd name="connsiteY141" fmla="*/ 187283 h 228614"/>
                  <a:gd name="connsiteX142" fmla="*/ 19765 w 10712017"/>
                  <a:gd name="connsiteY142" fmla="*/ 149908 h 228614"/>
                  <a:gd name="connsiteX143" fmla="*/ 0 w 10712017"/>
                  <a:gd name="connsiteY143" fmla="*/ 123556 h 228614"/>
                  <a:gd name="connsiteX144" fmla="*/ 0 w 10712017"/>
                  <a:gd name="connsiteY144" fmla="*/ 105059 h 228614"/>
                  <a:gd name="connsiteX145" fmla="*/ 19765 w 10712017"/>
                  <a:gd name="connsiteY145" fmla="*/ 78199 h 228614"/>
                  <a:gd name="connsiteX146" fmla="*/ 19765 w 10712017"/>
                  <a:gd name="connsiteY146" fmla="*/ 41839 h 228614"/>
                  <a:gd name="connsiteX147" fmla="*/ 64867 w 10712017"/>
                  <a:gd name="connsiteY147" fmla="*/ 2817 h 228614"/>
                  <a:gd name="connsiteX148" fmla="*/ 10587858 w 10712017"/>
                  <a:gd name="connsiteY148" fmla="*/ 0 h 228614"/>
                  <a:gd name="connsiteX149" fmla="*/ 10615933 w 10712017"/>
                  <a:gd name="connsiteY149" fmla="*/ 0 h 228614"/>
                  <a:gd name="connsiteX150" fmla="*/ 10602157 w 10712017"/>
                  <a:gd name="connsiteY150" fmla="*/ 67137 h 228614"/>
                  <a:gd name="connsiteX151" fmla="*/ 10644357 w 10712017"/>
                  <a:gd name="connsiteY151" fmla="*/ 67137 h 228614"/>
                  <a:gd name="connsiteX152" fmla="*/ 10658656 w 10712017"/>
                  <a:gd name="connsiteY152" fmla="*/ 0 h 228614"/>
                  <a:gd name="connsiteX153" fmla="*/ 10686209 w 10712017"/>
                  <a:gd name="connsiteY153" fmla="*/ 0 h 228614"/>
                  <a:gd name="connsiteX154" fmla="*/ 10672258 w 10712017"/>
                  <a:gd name="connsiteY154" fmla="*/ 67137 h 228614"/>
                  <a:gd name="connsiteX155" fmla="*/ 10712017 w 10712017"/>
                  <a:gd name="connsiteY155" fmla="*/ 67137 h 228614"/>
                  <a:gd name="connsiteX156" fmla="*/ 10706611 w 10712017"/>
                  <a:gd name="connsiteY156" fmla="*/ 91551 h 228614"/>
                  <a:gd name="connsiteX157" fmla="*/ 10667027 w 10712017"/>
                  <a:gd name="connsiteY157" fmla="*/ 91551 h 228614"/>
                  <a:gd name="connsiteX158" fmla="*/ 10656913 w 10712017"/>
                  <a:gd name="connsiteY158" fmla="*/ 139680 h 228614"/>
                  <a:gd name="connsiteX159" fmla="*/ 10700159 w 10712017"/>
                  <a:gd name="connsiteY159" fmla="*/ 139680 h 228614"/>
                  <a:gd name="connsiteX160" fmla="*/ 10694055 w 10712017"/>
                  <a:gd name="connsiteY160" fmla="*/ 164093 h 228614"/>
                  <a:gd name="connsiteX161" fmla="*/ 10651856 w 10712017"/>
                  <a:gd name="connsiteY161" fmla="*/ 164093 h 228614"/>
                  <a:gd name="connsiteX162" fmla="*/ 10637556 w 10712017"/>
                  <a:gd name="connsiteY162" fmla="*/ 228614 h 228614"/>
                  <a:gd name="connsiteX163" fmla="*/ 10609829 w 10712017"/>
                  <a:gd name="connsiteY163" fmla="*/ 228614 h 228614"/>
                  <a:gd name="connsiteX164" fmla="*/ 10623780 w 10712017"/>
                  <a:gd name="connsiteY164" fmla="*/ 164093 h 228614"/>
                  <a:gd name="connsiteX165" fmla="*/ 10581580 w 10712017"/>
                  <a:gd name="connsiteY165" fmla="*/ 164093 h 228614"/>
                  <a:gd name="connsiteX166" fmla="*/ 10567978 w 10712017"/>
                  <a:gd name="connsiteY166" fmla="*/ 228614 h 228614"/>
                  <a:gd name="connsiteX167" fmla="*/ 10540252 w 10712017"/>
                  <a:gd name="connsiteY167" fmla="*/ 228614 h 228614"/>
                  <a:gd name="connsiteX168" fmla="*/ 10553853 w 10712017"/>
                  <a:gd name="connsiteY168" fmla="*/ 164093 h 228614"/>
                  <a:gd name="connsiteX169" fmla="*/ 10513920 w 10712017"/>
                  <a:gd name="connsiteY169" fmla="*/ 164093 h 228614"/>
                  <a:gd name="connsiteX170" fmla="*/ 10518802 w 10712017"/>
                  <a:gd name="connsiteY170" fmla="*/ 139680 h 228614"/>
                  <a:gd name="connsiteX171" fmla="*/ 10559259 w 10712017"/>
                  <a:gd name="connsiteY171" fmla="*/ 139680 h 228614"/>
                  <a:gd name="connsiteX172" fmla="*/ 10568850 w 10712017"/>
                  <a:gd name="connsiteY172" fmla="*/ 91551 h 228614"/>
                  <a:gd name="connsiteX173" fmla="*/ 10526301 w 10712017"/>
                  <a:gd name="connsiteY173" fmla="*/ 91551 h 228614"/>
                  <a:gd name="connsiteX174" fmla="*/ 10531358 w 10712017"/>
                  <a:gd name="connsiteY174" fmla="*/ 67137 h 228614"/>
                  <a:gd name="connsiteX175" fmla="*/ 10573907 w 10712017"/>
                  <a:gd name="connsiteY175" fmla="*/ 67137 h 228614"/>
                  <a:gd name="connsiteX176" fmla="*/ 4537510 w 10712017"/>
                  <a:gd name="connsiteY176" fmla="*/ 0 h 228614"/>
                  <a:gd name="connsiteX177" fmla="*/ 4565585 w 10712017"/>
                  <a:gd name="connsiteY177" fmla="*/ 0 h 228614"/>
                  <a:gd name="connsiteX178" fmla="*/ 4551809 w 10712017"/>
                  <a:gd name="connsiteY178" fmla="*/ 67137 h 228614"/>
                  <a:gd name="connsiteX179" fmla="*/ 4594009 w 10712017"/>
                  <a:gd name="connsiteY179" fmla="*/ 67137 h 228614"/>
                  <a:gd name="connsiteX180" fmla="*/ 4608308 w 10712017"/>
                  <a:gd name="connsiteY180" fmla="*/ 0 h 228614"/>
                  <a:gd name="connsiteX181" fmla="*/ 4635861 w 10712017"/>
                  <a:gd name="connsiteY181" fmla="*/ 0 h 228614"/>
                  <a:gd name="connsiteX182" fmla="*/ 4621910 w 10712017"/>
                  <a:gd name="connsiteY182" fmla="*/ 67137 h 228614"/>
                  <a:gd name="connsiteX183" fmla="*/ 4661669 w 10712017"/>
                  <a:gd name="connsiteY183" fmla="*/ 67137 h 228614"/>
                  <a:gd name="connsiteX184" fmla="*/ 4656264 w 10712017"/>
                  <a:gd name="connsiteY184" fmla="*/ 91551 h 228614"/>
                  <a:gd name="connsiteX185" fmla="*/ 4616679 w 10712017"/>
                  <a:gd name="connsiteY185" fmla="*/ 91551 h 228614"/>
                  <a:gd name="connsiteX186" fmla="*/ 4606565 w 10712017"/>
                  <a:gd name="connsiteY186" fmla="*/ 139680 h 228614"/>
                  <a:gd name="connsiteX187" fmla="*/ 4649811 w 10712017"/>
                  <a:gd name="connsiteY187" fmla="*/ 139680 h 228614"/>
                  <a:gd name="connsiteX188" fmla="*/ 4643708 w 10712017"/>
                  <a:gd name="connsiteY188" fmla="*/ 164093 h 228614"/>
                  <a:gd name="connsiteX189" fmla="*/ 4601508 w 10712017"/>
                  <a:gd name="connsiteY189" fmla="*/ 164093 h 228614"/>
                  <a:gd name="connsiteX190" fmla="*/ 4587209 w 10712017"/>
                  <a:gd name="connsiteY190" fmla="*/ 228614 h 228614"/>
                  <a:gd name="connsiteX191" fmla="*/ 4559481 w 10712017"/>
                  <a:gd name="connsiteY191" fmla="*/ 228614 h 228614"/>
                  <a:gd name="connsiteX192" fmla="*/ 4573432 w 10712017"/>
                  <a:gd name="connsiteY192" fmla="*/ 164093 h 228614"/>
                  <a:gd name="connsiteX193" fmla="*/ 4531232 w 10712017"/>
                  <a:gd name="connsiteY193" fmla="*/ 164093 h 228614"/>
                  <a:gd name="connsiteX194" fmla="*/ 4517630 w 10712017"/>
                  <a:gd name="connsiteY194" fmla="*/ 228614 h 228614"/>
                  <a:gd name="connsiteX195" fmla="*/ 4489904 w 10712017"/>
                  <a:gd name="connsiteY195" fmla="*/ 228614 h 228614"/>
                  <a:gd name="connsiteX196" fmla="*/ 4503505 w 10712017"/>
                  <a:gd name="connsiteY196" fmla="*/ 164093 h 228614"/>
                  <a:gd name="connsiteX197" fmla="*/ 4463572 w 10712017"/>
                  <a:gd name="connsiteY197" fmla="*/ 164093 h 228614"/>
                  <a:gd name="connsiteX198" fmla="*/ 4468455 w 10712017"/>
                  <a:gd name="connsiteY198" fmla="*/ 139680 h 228614"/>
                  <a:gd name="connsiteX199" fmla="*/ 4508911 w 10712017"/>
                  <a:gd name="connsiteY199" fmla="*/ 139680 h 228614"/>
                  <a:gd name="connsiteX200" fmla="*/ 4518502 w 10712017"/>
                  <a:gd name="connsiteY200" fmla="*/ 91551 h 228614"/>
                  <a:gd name="connsiteX201" fmla="*/ 4475953 w 10712017"/>
                  <a:gd name="connsiteY201" fmla="*/ 91551 h 228614"/>
                  <a:gd name="connsiteX202" fmla="*/ 4481010 w 10712017"/>
                  <a:gd name="connsiteY202" fmla="*/ 67137 h 228614"/>
                  <a:gd name="connsiteX203" fmla="*/ 4523559 w 1071201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0712017" h="228614">
                    <a:moveTo>
                      <a:pt x="10596925" y="91551"/>
                    </a:moveTo>
                    <a:lnTo>
                      <a:pt x="10586463" y="139680"/>
                    </a:lnTo>
                    <a:lnTo>
                      <a:pt x="10629186" y="139680"/>
                    </a:lnTo>
                    <a:lnTo>
                      <a:pt x="10639474" y="91551"/>
                    </a:lnTo>
                    <a:close/>
                    <a:moveTo>
                      <a:pt x="4546578" y="91551"/>
                    </a:moveTo>
                    <a:lnTo>
                      <a:pt x="4536115" y="139680"/>
                    </a:lnTo>
                    <a:lnTo>
                      <a:pt x="4578838" y="139680"/>
                    </a:lnTo>
                    <a:lnTo>
                      <a:pt x="4589127" y="91551"/>
                    </a:lnTo>
                    <a:close/>
                    <a:moveTo>
                      <a:pt x="8014419" y="2817"/>
                    </a:moveTo>
                    <a:cubicBezTo>
                      <a:pt x="8044319" y="3155"/>
                      <a:pt x="8059268" y="16162"/>
                      <a:pt x="8059268" y="41839"/>
                    </a:cubicBezTo>
                    <a:lnTo>
                      <a:pt x="8059268" y="78199"/>
                    </a:lnTo>
                    <a:cubicBezTo>
                      <a:pt x="8059268" y="95261"/>
                      <a:pt x="8065814" y="104214"/>
                      <a:pt x="8078906" y="105059"/>
                    </a:cubicBezTo>
                    <a:lnTo>
                      <a:pt x="8078906" y="123556"/>
                    </a:lnTo>
                    <a:cubicBezTo>
                      <a:pt x="8065814" y="124400"/>
                      <a:pt x="8059268" y="133184"/>
                      <a:pt x="8059268" y="149908"/>
                    </a:cubicBezTo>
                    <a:lnTo>
                      <a:pt x="8059268" y="187283"/>
                    </a:lnTo>
                    <a:cubicBezTo>
                      <a:pt x="8059268" y="212621"/>
                      <a:pt x="8044319" y="225459"/>
                      <a:pt x="8014419" y="225797"/>
                    </a:cubicBezTo>
                    <a:lnTo>
                      <a:pt x="8014419" y="206286"/>
                    </a:lnTo>
                    <a:cubicBezTo>
                      <a:pt x="8021767" y="206117"/>
                      <a:pt x="8026983" y="204091"/>
                      <a:pt x="8030066" y="200205"/>
                    </a:cubicBezTo>
                    <a:cubicBezTo>
                      <a:pt x="8033148" y="196320"/>
                      <a:pt x="8034690" y="189901"/>
                      <a:pt x="8034690" y="180948"/>
                    </a:cubicBezTo>
                    <a:lnTo>
                      <a:pt x="8034690" y="145601"/>
                    </a:lnTo>
                    <a:cubicBezTo>
                      <a:pt x="8034690" y="128455"/>
                      <a:pt x="8043010" y="118024"/>
                      <a:pt x="8059649" y="114307"/>
                    </a:cubicBezTo>
                    <a:lnTo>
                      <a:pt x="8059649" y="113927"/>
                    </a:lnTo>
                    <a:cubicBezTo>
                      <a:pt x="8043010" y="109957"/>
                      <a:pt x="8034690" y="99442"/>
                      <a:pt x="8034690" y="82380"/>
                    </a:cubicBezTo>
                    <a:lnTo>
                      <a:pt x="8034690" y="46653"/>
                    </a:lnTo>
                    <a:cubicBezTo>
                      <a:pt x="8034690" y="30858"/>
                      <a:pt x="8027933" y="22792"/>
                      <a:pt x="8014419" y="22455"/>
                    </a:cubicBezTo>
                    <a:close/>
                    <a:moveTo>
                      <a:pt x="7996935" y="2817"/>
                    </a:moveTo>
                    <a:lnTo>
                      <a:pt x="7996935" y="22455"/>
                    </a:lnTo>
                    <a:cubicBezTo>
                      <a:pt x="7983506" y="22792"/>
                      <a:pt x="7976791" y="30858"/>
                      <a:pt x="7976791" y="46653"/>
                    </a:cubicBezTo>
                    <a:lnTo>
                      <a:pt x="7976791" y="82380"/>
                    </a:lnTo>
                    <a:cubicBezTo>
                      <a:pt x="7976791" y="99442"/>
                      <a:pt x="7968387" y="109957"/>
                      <a:pt x="7951579" y="113927"/>
                    </a:cubicBezTo>
                    <a:lnTo>
                      <a:pt x="7951579" y="114307"/>
                    </a:lnTo>
                    <a:cubicBezTo>
                      <a:pt x="7968387" y="118024"/>
                      <a:pt x="7976791" y="128455"/>
                      <a:pt x="7976791" y="145601"/>
                    </a:cubicBezTo>
                    <a:lnTo>
                      <a:pt x="7976791" y="180948"/>
                    </a:lnTo>
                    <a:cubicBezTo>
                      <a:pt x="7976791" y="189985"/>
                      <a:pt x="7978290" y="196425"/>
                      <a:pt x="7981289" y="200268"/>
                    </a:cubicBezTo>
                    <a:cubicBezTo>
                      <a:pt x="7984287" y="204111"/>
                      <a:pt x="7989502" y="206117"/>
                      <a:pt x="7996935" y="206286"/>
                    </a:cubicBezTo>
                    <a:lnTo>
                      <a:pt x="7996935" y="225797"/>
                    </a:lnTo>
                    <a:cubicBezTo>
                      <a:pt x="7966866" y="225459"/>
                      <a:pt x="7951832" y="212621"/>
                      <a:pt x="7951832" y="187283"/>
                    </a:cubicBezTo>
                    <a:lnTo>
                      <a:pt x="7951832" y="149908"/>
                    </a:lnTo>
                    <a:cubicBezTo>
                      <a:pt x="7951832" y="133184"/>
                      <a:pt x="7945244" y="124400"/>
                      <a:pt x="7932068" y="123556"/>
                    </a:cubicBezTo>
                    <a:lnTo>
                      <a:pt x="7932068" y="105059"/>
                    </a:lnTo>
                    <a:cubicBezTo>
                      <a:pt x="7945244" y="104214"/>
                      <a:pt x="7951832" y="95261"/>
                      <a:pt x="7951832" y="78199"/>
                    </a:cubicBezTo>
                    <a:lnTo>
                      <a:pt x="7951832" y="41839"/>
                    </a:lnTo>
                    <a:cubicBezTo>
                      <a:pt x="7951832" y="16162"/>
                      <a:pt x="7966866" y="3155"/>
                      <a:pt x="7996935" y="2817"/>
                    </a:cubicBezTo>
                    <a:close/>
                    <a:moveTo>
                      <a:pt x="6135433" y="2817"/>
                    </a:moveTo>
                    <a:cubicBezTo>
                      <a:pt x="6165333" y="3155"/>
                      <a:pt x="6180283" y="16162"/>
                      <a:pt x="6180283" y="41839"/>
                    </a:cubicBezTo>
                    <a:lnTo>
                      <a:pt x="6180283" y="78199"/>
                    </a:lnTo>
                    <a:cubicBezTo>
                      <a:pt x="6180283" y="95261"/>
                      <a:pt x="6186829" y="104214"/>
                      <a:pt x="6199920" y="105059"/>
                    </a:cubicBezTo>
                    <a:lnTo>
                      <a:pt x="6199920" y="123556"/>
                    </a:lnTo>
                    <a:cubicBezTo>
                      <a:pt x="6186829" y="124400"/>
                      <a:pt x="6180283" y="133184"/>
                      <a:pt x="6180283" y="149908"/>
                    </a:cubicBezTo>
                    <a:lnTo>
                      <a:pt x="6180283" y="187283"/>
                    </a:lnTo>
                    <a:cubicBezTo>
                      <a:pt x="6180283" y="212621"/>
                      <a:pt x="6165333" y="225459"/>
                      <a:pt x="6135433" y="225797"/>
                    </a:cubicBezTo>
                    <a:lnTo>
                      <a:pt x="6135433" y="206286"/>
                    </a:lnTo>
                    <a:cubicBezTo>
                      <a:pt x="6142782" y="206117"/>
                      <a:pt x="6147997" y="204091"/>
                      <a:pt x="6151080" y="200205"/>
                    </a:cubicBezTo>
                    <a:cubicBezTo>
                      <a:pt x="6154163" y="196320"/>
                      <a:pt x="6155704" y="189901"/>
                      <a:pt x="6155704" y="180948"/>
                    </a:cubicBezTo>
                    <a:lnTo>
                      <a:pt x="6155704" y="145601"/>
                    </a:lnTo>
                    <a:cubicBezTo>
                      <a:pt x="6155704" y="128455"/>
                      <a:pt x="6164024" y="118024"/>
                      <a:pt x="6180663" y="114307"/>
                    </a:cubicBezTo>
                    <a:lnTo>
                      <a:pt x="6180663" y="113927"/>
                    </a:lnTo>
                    <a:cubicBezTo>
                      <a:pt x="6164024" y="109957"/>
                      <a:pt x="6155704" y="99442"/>
                      <a:pt x="6155704" y="82380"/>
                    </a:cubicBezTo>
                    <a:lnTo>
                      <a:pt x="6155704" y="46653"/>
                    </a:lnTo>
                    <a:cubicBezTo>
                      <a:pt x="6155704" y="30858"/>
                      <a:pt x="6148947" y="22792"/>
                      <a:pt x="6135433" y="22455"/>
                    </a:cubicBezTo>
                    <a:close/>
                    <a:moveTo>
                      <a:pt x="6117949" y="2817"/>
                    </a:moveTo>
                    <a:lnTo>
                      <a:pt x="6117949" y="22455"/>
                    </a:lnTo>
                    <a:cubicBezTo>
                      <a:pt x="6104520" y="22792"/>
                      <a:pt x="6097805" y="30858"/>
                      <a:pt x="6097805" y="46653"/>
                    </a:cubicBezTo>
                    <a:lnTo>
                      <a:pt x="6097805" y="82380"/>
                    </a:lnTo>
                    <a:cubicBezTo>
                      <a:pt x="6097805" y="99442"/>
                      <a:pt x="6089401" y="109957"/>
                      <a:pt x="6072593" y="113927"/>
                    </a:cubicBezTo>
                    <a:lnTo>
                      <a:pt x="6072593" y="114307"/>
                    </a:lnTo>
                    <a:cubicBezTo>
                      <a:pt x="6089401" y="118024"/>
                      <a:pt x="6097805" y="128455"/>
                      <a:pt x="6097805" y="145601"/>
                    </a:cubicBezTo>
                    <a:lnTo>
                      <a:pt x="6097805" y="180948"/>
                    </a:lnTo>
                    <a:cubicBezTo>
                      <a:pt x="6097805" y="189985"/>
                      <a:pt x="6099304" y="196425"/>
                      <a:pt x="6102303" y="200268"/>
                    </a:cubicBezTo>
                    <a:cubicBezTo>
                      <a:pt x="6105301" y="204111"/>
                      <a:pt x="6110517" y="206117"/>
                      <a:pt x="6117949" y="206286"/>
                    </a:cubicBezTo>
                    <a:lnTo>
                      <a:pt x="6117949" y="225797"/>
                    </a:lnTo>
                    <a:cubicBezTo>
                      <a:pt x="6087881" y="225459"/>
                      <a:pt x="6072847" y="212621"/>
                      <a:pt x="6072847" y="187283"/>
                    </a:cubicBezTo>
                    <a:lnTo>
                      <a:pt x="6072847" y="149908"/>
                    </a:lnTo>
                    <a:cubicBezTo>
                      <a:pt x="6072847" y="133184"/>
                      <a:pt x="6066258" y="124400"/>
                      <a:pt x="6053082" y="123556"/>
                    </a:cubicBezTo>
                    <a:lnTo>
                      <a:pt x="6053082" y="105059"/>
                    </a:lnTo>
                    <a:cubicBezTo>
                      <a:pt x="6066258" y="104214"/>
                      <a:pt x="6072847" y="95261"/>
                      <a:pt x="6072847" y="78199"/>
                    </a:cubicBezTo>
                    <a:lnTo>
                      <a:pt x="6072847" y="41839"/>
                    </a:lnTo>
                    <a:cubicBezTo>
                      <a:pt x="6072847" y="16162"/>
                      <a:pt x="6087881" y="3155"/>
                      <a:pt x="6117949" y="2817"/>
                    </a:cubicBezTo>
                    <a:close/>
                    <a:moveTo>
                      <a:pt x="1949251" y="2817"/>
                    </a:moveTo>
                    <a:cubicBezTo>
                      <a:pt x="1979150" y="3155"/>
                      <a:pt x="1994100" y="16162"/>
                      <a:pt x="1994100" y="41839"/>
                    </a:cubicBezTo>
                    <a:lnTo>
                      <a:pt x="1994100" y="78199"/>
                    </a:lnTo>
                    <a:cubicBezTo>
                      <a:pt x="1994100" y="95261"/>
                      <a:pt x="2000646" y="104214"/>
                      <a:pt x="2013737" y="105059"/>
                    </a:cubicBezTo>
                    <a:lnTo>
                      <a:pt x="2013737" y="123556"/>
                    </a:lnTo>
                    <a:cubicBezTo>
                      <a:pt x="2000646" y="124400"/>
                      <a:pt x="1994100" y="133184"/>
                      <a:pt x="1994100" y="149908"/>
                    </a:cubicBezTo>
                    <a:lnTo>
                      <a:pt x="1994100" y="187283"/>
                    </a:lnTo>
                    <a:cubicBezTo>
                      <a:pt x="1994100" y="212621"/>
                      <a:pt x="1979150" y="225459"/>
                      <a:pt x="1949251" y="225797"/>
                    </a:cubicBezTo>
                    <a:lnTo>
                      <a:pt x="1949251" y="206286"/>
                    </a:lnTo>
                    <a:cubicBezTo>
                      <a:pt x="1956599" y="206117"/>
                      <a:pt x="1961814" y="204091"/>
                      <a:pt x="1964897" y="200205"/>
                    </a:cubicBezTo>
                    <a:cubicBezTo>
                      <a:pt x="1967980" y="196320"/>
                      <a:pt x="1969521" y="189901"/>
                      <a:pt x="1969521" y="180948"/>
                    </a:cubicBezTo>
                    <a:lnTo>
                      <a:pt x="1969521" y="145601"/>
                    </a:lnTo>
                    <a:cubicBezTo>
                      <a:pt x="1969521" y="128455"/>
                      <a:pt x="1977841" y="118024"/>
                      <a:pt x="1994480" y="114307"/>
                    </a:cubicBezTo>
                    <a:lnTo>
                      <a:pt x="1994480" y="113927"/>
                    </a:lnTo>
                    <a:cubicBezTo>
                      <a:pt x="1977841" y="109957"/>
                      <a:pt x="1969521" y="99442"/>
                      <a:pt x="1969521" y="82380"/>
                    </a:cubicBezTo>
                    <a:lnTo>
                      <a:pt x="1969521" y="46653"/>
                    </a:lnTo>
                    <a:cubicBezTo>
                      <a:pt x="1969521" y="30858"/>
                      <a:pt x="1962764" y="22792"/>
                      <a:pt x="1949251" y="22455"/>
                    </a:cubicBezTo>
                    <a:close/>
                    <a:moveTo>
                      <a:pt x="1931767" y="2817"/>
                    </a:moveTo>
                    <a:lnTo>
                      <a:pt x="1931767" y="22455"/>
                    </a:lnTo>
                    <a:cubicBezTo>
                      <a:pt x="1918337" y="22792"/>
                      <a:pt x="1911622" y="30858"/>
                      <a:pt x="1911622" y="46653"/>
                    </a:cubicBezTo>
                    <a:lnTo>
                      <a:pt x="1911622" y="82380"/>
                    </a:lnTo>
                    <a:cubicBezTo>
                      <a:pt x="1911622" y="99442"/>
                      <a:pt x="1903218" y="109957"/>
                      <a:pt x="1886410" y="113927"/>
                    </a:cubicBezTo>
                    <a:lnTo>
                      <a:pt x="1886410" y="114307"/>
                    </a:lnTo>
                    <a:cubicBezTo>
                      <a:pt x="1903218" y="118024"/>
                      <a:pt x="1911622" y="128455"/>
                      <a:pt x="1911622" y="145601"/>
                    </a:cubicBezTo>
                    <a:lnTo>
                      <a:pt x="1911622" y="180948"/>
                    </a:lnTo>
                    <a:cubicBezTo>
                      <a:pt x="1911622" y="189985"/>
                      <a:pt x="1913121" y="196425"/>
                      <a:pt x="1916120" y="200268"/>
                    </a:cubicBezTo>
                    <a:cubicBezTo>
                      <a:pt x="1919118" y="204111"/>
                      <a:pt x="1924334" y="206117"/>
                      <a:pt x="1931767" y="206286"/>
                    </a:cubicBezTo>
                    <a:lnTo>
                      <a:pt x="1931767" y="225797"/>
                    </a:lnTo>
                    <a:cubicBezTo>
                      <a:pt x="1901698" y="225459"/>
                      <a:pt x="1886664" y="212621"/>
                      <a:pt x="1886664" y="187283"/>
                    </a:cubicBezTo>
                    <a:lnTo>
                      <a:pt x="1886664" y="149908"/>
                    </a:lnTo>
                    <a:cubicBezTo>
                      <a:pt x="1886664" y="133184"/>
                      <a:pt x="1880075" y="124400"/>
                      <a:pt x="1866900" y="123556"/>
                    </a:cubicBezTo>
                    <a:lnTo>
                      <a:pt x="1866900" y="105059"/>
                    </a:lnTo>
                    <a:cubicBezTo>
                      <a:pt x="1880075" y="104214"/>
                      <a:pt x="1886664" y="95261"/>
                      <a:pt x="1886664" y="78199"/>
                    </a:cubicBezTo>
                    <a:lnTo>
                      <a:pt x="1886664" y="41839"/>
                    </a:lnTo>
                    <a:cubicBezTo>
                      <a:pt x="1886664" y="16162"/>
                      <a:pt x="1901698" y="3155"/>
                      <a:pt x="1931767" y="2817"/>
                    </a:cubicBezTo>
                    <a:close/>
                    <a:moveTo>
                      <a:pt x="82352" y="2817"/>
                    </a:moveTo>
                    <a:cubicBezTo>
                      <a:pt x="112251" y="3155"/>
                      <a:pt x="127201" y="16162"/>
                      <a:pt x="127201" y="41839"/>
                    </a:cubicBezTo>
                    <a:lnTo>
                      <a:pt x="127201" y="78199"/>
                    </a:lnTo>
                    <a:cubicBezTo>
                      <a:pt x="127201" y="95261"/>
                      <a:pt x="133747" y="104214"/>
                      <a:pt x="146838" y="105059"/>
                    </a:cubicBezTo>
                    <a:lnTo>
                      <a:pt x="146838" y="123556"/>
                    </a:lnTo>
                    <a:cubicBezTo>
                      <a:pt x="133747" y="124400"/>
                      <a:pt x="127201" y="133184"/>
                      <a:pt x="127201" y="149908"/>
                    </a:cubicBezTo>
                    <a:lnTo>
                      <a:pt x="127201" y="187283"/>
                    </a:lnTo>
                    <a:cubicBezTo>
                      <a:pt x="127201" y="212621"/>
                      <a:pt x="112251" y="225459"/>
                      <a:pt x="82352" y="225797"/>
                    </a:cubicBezTo>
                    <a:lnTo>
                      <a:pt x="82352" y="206286"/>
                    </a:lnTo>
                    <a:cubicBezTo>
                      <a:pt x="89700" y="206117"/>
                      <a:pt x="94915" y="204091"/>
                      <a:pt x="97998" y="200205"/>
                    </a:cubicBezTo>
                    <a:cubicBezTo>
                      <a:pt x="101081" y="196320"/>
                      <a:pt x="102622" y="189901"/>
                      <a:pt x="102622" y="180948"/>
                    </a:cubicBezTo>
                    <a:lnTo>
                      <a:pt x="102622" y="145601"/>
                    </a:lnTo>
                    <a:cubicBezTo>
                      <a:pt x="102622" y="128455"/>
                      <a:pt x="110942" y="118024"/>
                      <a:pt x="127581" y="114307"/>
                    </a:cubicBezTo>
                    <a:lnTo>
                      <a:pt x="127581" y="113927"/>
                    </a:lnTo>
                    <a:cubicBezTo>
                      <a:pt x="110942" y="109957"/>
                      <a:pt x="102622" y="99442"/>
                      <a:pt x="102622" y="82380"/>
                    </a:cubicBezTo>
                    <a:lnTo>
                      <a:pt x="102622" y="46653"/>
                    </a:lnTo>
                    <a:cubicBezTo>
                      <a:pt x="102622" y="30858"/>
                      <a:pt x="95866" y="22792"/>
                      <a:pt x="82352" y="22455"/>
                    </a:cubicBezTo>
                    <a:close/>
                    <a:moveTo>
                      <a:pt x="64867" y="2817"/>
                    </a:moveTo>
                    <a:lnTo>
                      <a:pt x="64867" y="22455"/>
                    </a:lnTo>
                    <a:cubicBezTo>
                      <a:pt x="51438" y="22792"/>
                      <a:pt x="44723" y="30858"/>
                      <a:pt x="44723" y="46653"/>
                    </a:cubicBezTo>
                    <a:lnTo>
                      <a:pt x="44723" y="82380"/>
                    </a:lnTo>
                    <a:cubicBezTo>
                      <a:pt x="44723" y="99442"/>
                      <a:pt x="36319" y="109957"/>
                      <a:pt x="19511" y="113927"/>
                    </a:cubicBezTo>
                    <a:lnTo>
                      <a:pt x="19511" y="114307"/>
                    </a:lnTo>
                    <a:cubicBezTo>
                      <a:pt x="36319" y="118024"/>
                      <a:pt x="44723" y="128455"/>
                      <a:pt x="44723" y="145601"/>
                    </a:cubicBezTo>
                    <a:lnTo>
                      <a:pt x="44723" y="180948"/>
                    </a:lnTo>
                    <a:cubicBezTo>
                      <a:pt x="44723" y="189985"/>
                      <a:pt x="46222" y="196425"/>
                      <a:pt x="49221" y="200268"/>
                    </a:cubicBezTo>
                    <a:cubicBezTo>
                      <a:pt x="52219" y="204111"/>
                      <a:pt x="57435" y="206117"/>
                      <a:pt x="64867" y="206286"/>
                    </a:cubicBezTo>
                    <a:lnTo>
                      <a:pt x="64867" y="225797"/>
                    </a:lnTo>
                    <a:cubicBezTo>
                      <a:pt x="34799" y="225459"/>
                      <a:pt x="19765" y="212621"/>
                      <a:pt x="19765" y="187283"/>
                    </a:cubicBezTo>
                    <a:lnTo>
                      <a:pt x="19765" y="149908"/>
                    </a:lnTo>
                    <a:cubicBezTo>
                      <a:pt x="19765" y="133184"/>
                      <a:pt x="13176" y="124400"/>
                      <a:pt x="0" y="123556"/>
                    </a:cubicBezTo>
                    <a:lnTo>
                      <a:pt x="0" y="105059"/>
                    </a:lnTo>
                    <a:cubicBezTo>
                      <a:pt x="13176" y="104214"/>
                      <a:pt x="19765" y="95261"/>
                      <a:pt x="19765" y="78199"/>
                    </a:cubicBezTo>
                    <a:lnTo>
                      <a:pt x="19765" y="41839"/>
                    </a:lnTo>
                    <a:cubicBezTo>
                      <a:pt x="19765" y="16162"/>
                      <a:pt x="34799" y="3155"/>
                      <a:pt x="64867" y="2817"/>
                    </a:cubicBezTo>
                    <a:close/>
                    <a:moveTo>
                      <a:pt x="10587858" y="0"/>
                    </a:moveTo>
                    <a:lnTo>
                      <a:pt x="10615933" y="0"/>
                    </a:lnTo>
                    <a:lnTo>
                      <a:pt x="10602157" y="67137"/>
                    </a:lnTo>
                    <a:lnTo>
                      <a:pt x="10644357" y="67137"/>
                    </a:lnTo>
                    <a:lnTo>
                      <a:pt x="10658656" y="0"/>
                    </a:lnTo>
                    <a:lnTo>
                      <a:pt x="10686209" y="0"/>
                    </a:lnTo>
                    <a:lnTo>
                      <a:pt x="10672258" y="67137"/>
                    </a:lnTo>
                    <a:lnTo>
                      <a:pt x="10712017" y="67137"/>
                    </a:lnTo>
                    <a:lnTo>
                      <a:pt x="10706611" y="91551"/>
                    </a:lnTo>
                    <a:lnTo>
                      <a:pt x="10667027" y="91551"/>
                    </a:lnTo>
                    <a:lnTo>
                      <a:pt x="10656913" y="139680"/>
                    </a:lnTo>
                    <a:lnTo>
                      <a:pt x="10700159" y="139680"/>
                    </a:lnTo>
                    <a:lnTo>
                      <a:pt x="10694055" y="164093"/>
                    </a:lnTo>
                    <a:lnTo>
                      <a:pt x="10651856" y="164093"/>
                    </a:lnTo>
                    <a:lnTo>
                      <a:pt x="10637556" y="228614"/>
                    </a:lnTo>
                    <a:lnTo>
                      <a:pt x="10609829" y="228614"/>
                    </a:lnTo>
                    <a:lnTo>
                      <a:pt x="10623780" y="164093"/>
                    </a:lnTo>
                    <a:lnTo>
                      <a:pt x="10581580" y="164093"/>
                    </a:lnTo>
                    <a:lnTo>
                      <a:pt x="10567978" y="228614"/>
                    </a:lnTo>
                    <a:lnTo>
                      <a:pt x="10540252" y="228614"/>
                    </a:lnTo>
                    <a:lnTo>
                      <a:pt x="10553853" y="164093"/>
                    </a:lnTo>
                    <a:lnTo>
                      <a:pt x="10513920" y="164093"/>
                    </a:lnTo>
                    <a:lnTo>
                      <a:pt x="10518802" y="139680"/>
                    </a:lnTo>
                    <a:lnTo>
                      <a:pt x="10559259" y="139680"/>
                    </a:lnTo>
                    <a:lnTo>
                      <a:pt x="10568850" y="91551"/>
                    </a:lnTo>
                    <a:lnTo>
                      <a:pt x="10526301" y="91551"/>
                    </a:lnTo>
                    <a:lnTo>
                      <a:pt x="10531358" y="67137"/>
                    </a:lnTo>
                    <a:lnTo>
                      <a:pt x="10573907" y="67137"/>
                    </a:lnTo>
                    <a:close/>
                    <a:moveTo>
                      <a:pt x="4537510" y="0"/>
                    </a:moveTo>
                    <a:lnTo>
                      <a:pt x="4565585" y="0"/>
                    </a:lnTo>
                    <a:lnTo>
                      <a:pt x="4551809" y="67137"/>
                    </a:lnTo>
                    <a:lnTo>
                      <a:pt x="4594009" y="67137"/>
                    </a:lnTo>
                    <a:lnTo>
                      <a:pt x="4608308" y="0"/>
                    </a:lnTo>
                    <a:lnTo>
                      <a:pt x="4635861" y="0"/>
                    </a:lnTo>
                    <a:lnTo>
                      <a:pt x="4621910" y="67137"/>
                    </a:lnTo>
                    <a:lnTo>
                      <a:pt x="4661669" y="67137"/>
                    </a:lnTo>
                    <a:lnTo>
                      <a:pt x="4656264" y="91551"/>
                    </a:lnTo>
                    <a:lnTo>
                      <a:pt x="4616679" y="91551"/>
                    </a:lnTo>
                    <a:lnTo>
                      <a:pt x="4606565" y="139680"/>
                    </a:lnTo>
                    <a:lnTo>
                      <a:pt x="4649811" y="139680"/>
                    </a:lnTo>
                    <a:lnTo>
                      <a:pt x="4643708" y="164093"/>
                    </a:lnTo>
                    <a:lnTo>
                      <a:pt x="4601508" y="164093"/>
                    </a:lnTo>
                    <a:lnTo>
                      <a:pt x="4587209" y="228614"/>
                    </a:lnTo>
                    <a:lnTo>
                      <a:pt x="4559481" y="228614"/>
                    </a:lnTo>
                    <a:lnTo>
                      <a:pt x="4573432" y="164093"/>
                    </a:lnTo>
                    <a:lnTo>
                      <a:pt x="4531232" y="164093"/>
                    </a:lnTo>
                    <a:lnTo>
                      <a:pt x="4517630" y="228614"/>
                    </a:lnTo>
                    <a:lnTo>
                      <a:pt x="4489904" y="228614"/>
                    </a:lnTo>
                    <a:lnTo>
                      <a:pt x="4503505" y="164093"/>
                    </a:lnTo>
                    <a:lnTo>
                      <a:pt x="4463572" y="164093"/>
                    </a:lnTo>
                    <a:lnTo>
                      <a:pt x="4468455" y="139680"/>
                    </a:lnTo>
                    <a:lnTo>
                      <a:pt x="4508911" y="139680"/>
                    </a:lnTo>
                    <a:lnTo>
                      <a:pt x="4518502" y="91551"/>
                    </a:lnTo>
                    <a:lnTo>
                      <a:pt x="4475953" y="91551"/>
                    </a:lnTo>
                    <a:lnTo>
                      <a:pt x="4481010" y="67137"/>
                    </a:lnTo>
                    <a:lnTo>
                      <a:pt x="452355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58" name="Group 357"/>
            <p:cNvGrpSpPr/>
            <p:nvPr/>
          </p:nvGrpSpPr>
          <p:grpSpPr>
            <a:xfrm>
              <a:off x="3693886" y="5979484"/>
              <a:ext cx="7485521" cy="139481"/>
              <a:chOff x="37549" y="2881001"/>
              <a:chExt cx="12074550" cy="224991"/>
            </a:xfrm>
            <a:grpFill/>
          </p:grpSpPr>
          <p:sp>
            <p:nvSpPr>
              <p:cNvPr id="551" name="Freeform 550"/>
              <p:cNvSpPr/>
              <p:nvPr/>
            </p:nvSpPr>
            <p:spPr>
              <a:xfrm>
                <a:off x="257711" y="2883011"/>
                <a:ext cx="8179660" cy="222980"/>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52" name="Freeform 551"/>
              <p:cNvSpPr/>
              <p:nvPr/>
            </p:nvSpPr>
            <p:spPr>
              <a:xfrm>
                <a:off x="1426527" y="2883011"/>
                <a:ext cx="10368472" cy="222980"/>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3" name="Freeform 552"/>
              <p:cNvSpPr/>
              <p:nvPr/>
            </p:nvSpPr>
            <p:spPr>
              <a:xfrm>
                <a:off x="4636354" y="2883011"/>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4" name="Freeform 553"/>
              <p:cNvSpPr/>
              <p:nvPr/>
            </p:nvSpPr>
            <p:spPr>
              <a:xfrm>
                <a:off x="615434" y="2883012"/>
                <a:ext cx="11496665" cy="222980"/>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5" name="Freeform 554"/>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59" name="Group 358"/>
            <p:cNvGrpSpPr/>
            <p:nvPr/>
          </p:nvGrpSpPr>
          <p:grpSpPr>
            <a:xfrm>
              <a:off x="4183742" y="5784360"/>
              <a:ext cx="6983693" cy="132764"/>
              <a:chOff x="71712" y="703820"/>
              <a:chExt cx="12025612" cy="228614"/>
            </a:xfrm>
            <a:grpFill/>
          </p:grpSpPr>
          <p:sp>
            <p:nvSpPr>
              <p:cNvPr id="546" name="Freeform 545"/>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7" name="Freeform 546"/>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8" name="Freeform 547"/>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9" name="Freeform 548"/>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50" name="Freeform 549"/>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0" name="Group 359"/>
            <p:cNvGrpSpPr/>
            <p:nvPr/>
          </p:nvGrpSpPr>
          <p:grpSpPr>
            <a:xfrm>
              <a:off x="4554972" y="5612947"/>
              <a:ext cx="6621293" cy="126014"/>
              <a:chOff x="54768" y="395781"/>
              <a:chExt cx="12049814" cy="229328"/>
            </a:xfrm>
            <a:grpFill/>
          </p:grpSpPr>
          <p:sp>
            <p:nvSpPr>
              <p:cNvPr id="541" name="Freeform 540"/>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42" name="Freeform 541"/>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3" name="Freeform 542"/>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4" name="Freeform 543"/>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5" name="Freeform 544"/>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1" name="Group 360"/>
            <p:cNvGrpSpPr/>
            <p:nvPr/>
          </p:nvGrpSpPr>
          <p:grpSpPr>
            <a:xfrm>
              <a:off x="4901890" y="5435822"/>
              <a:ext cx="6299722" cy="119376"/>
              <a:chOff x="87923" y="68248"/>
              <a:chExt cx="12064389" cy="228614"/>
            </a:xfrm>
            <a:grpFill/>
          </p:grpSpPr>
          <p:sp>
            <p:nvSpPr>
              <p:cNvPr id="536" name="Freeform 535"/>
              <p:cNvSpPr/>
              <p:nvPr/>
            </p:nvSpPr>
            <p:spPr>
              <a:xfrm>
                <a:off x="2269482" y="68248"/>
                <a:ext cx="9542687"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7" name="Freeform 536"/>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8" name="Freeform 537"/>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9" name="Freeform 538"/>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40" name="Freeform 539"/>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2" name="Group 361"/>
            <p:cNvGrpSpPr/>
            <p:nvPr/>
          </p:nvGrpSpPr>
          <p:grpSpPr>
            <a:xfrm>
              <a:off x="5101511" y="5275103"/>
              <a:ext cx="6087890" cy="112821"/>
              <a:chOff x="79949" y="1595884"/>
              <a:chExt cx="12032150" cy="222981"/>
            </a:xfrm>
            <a:grpFill/>
          </p:grpSpPr>
          <p:sp>
            <p:nvSpPr>
              <p:cNvPr id="529" name="Freeform 528"/>
              <p:cNvSpPr/>
              <p:nvPr/>
            </p:nvSpPr>
            <p:spPr>
              <a:xfrm>
                <a:off x="615434" y="1595885"/>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0" name="Freeform 529"/>
              <p:cNvSpPr/>
              <p:nvPr/>
            </p:nvSpPr>
            <p:spPr>
              <a:xfrm>
                <a:off x="2600034" y="1595885"/>
                <a:ext cx="9512065"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1" name="Freeform 530"/>
              <p:cNvSpPr/>
              <p:nvPr/>
            </p:nvSpPr>
            <p:spPr>
              <a:xfrm>
                <a:off x="257711" y="1595884"/>
                <a:ext cx="7371707"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32" name="Freeform 531"/>
              <p:cNvSpPr/>
              <p:nvPr/>
            </p:nvSpPr>
            <p:spPr>
              <a:xfrm>
                <a:off x="2234480" y="1595884"/>
                <a:ext cx="9560519"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3" name="Freeform 532"/>
              <p:cNvSpPr/>
              <p:nvPr/>
            </p:nvSpPr>
            <p:spPr>
              <a:xfrm>
                <a:off x="4636354" y="1595884"/>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4" name="Freeform 533"/>
              <p:cNvSpPr/>
              <p:nvPr/>
            </p:nvSpPr>
            <p:spPr>
              <a:xfrm>
                <a:off x="79949" y="1595884"/>
                <a:ext cx="11888025"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35" name="Freeform 534"/>
              <p:cNvSpPr/>
              <p:nvPr/>
            </p:nvSpPr>
            <p:spPr>
              <a:xfrm>
                <a:off x="8290533"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3" name="Group 362"/>
            <p:cNvGrpSpPr/>
            <p:nvPr/>
          </p:nvGrpSpPr>
          <p:grpSpPr>
            <a:xfrm>
              <a:off x="5413469" y="5121166"/>
              <a:ext cx="5768418" cy="109661"/>
              <a:chOff x="71712" y="703820"/>
              <a:chExt cx="12025612" cy="228614"/>
            </a:xfrm>
            <a:grpFill/>
          </p:grpSpPr>
          <p:sp>
            <p:nvSpPr>
              <p:cNvPr id="524" name="Freeform 523"/>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5" name="Freeform 524"/>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6" name="Freeform 525"/>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7" name="Freeform 526"/>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8" name="Freeform 527"/>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4" name="Group 363"/>
            <p:cNvGrpSpPr/>
            <p:nvPr/>
          </p:nvGrpSpPr>
          <p:grpSpPr>
            <a:xfrm>
              <a:off x="5563017" y="4981614"/>
              <a:ext cx="5622682" cy="107009"/>
              <a:chOff x="54768" y="395781"/>
              <a:chExt cx="12049814" cy="229328"/>
            </a:xfrm>
            <a:grpFill/>
          </p:grpSpPr>
          <p:sp>
            <p:nvSpPr>
              <p:cNvPr id="519" name="Freeform 51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20" name="Freeform 51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1" name="Freeform 520"/>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2" name="Freeform 52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23" name="Freeform 522"/>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5" name="Group 364"/>
            <p:cNvGrpSpPr/>
            <p:nvPr/>
          </p:nvGrpSpPr>
          <p:grpSpPr>
            <a:xfrm>
              <a:off x="5764273" y="4855114"/>
              <a:ext cx="5422931" cy="103093"/>
              <a:chOff x="71712" y="703821"/>
              <a:chExt cx="12025613" cy="228614"/>
            </a:xfrm>
            <a:grpFill/>
          </p:grpSpPr>
          <p:sp>
            <p:nvSpPr>
              <p:cNvPr id="514" name="Freeform 513"/>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5" name="Freeform 514"/>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6" name="Freeform 515"/>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7" name="Freeform 516"/>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8" name="Freeform 517"/>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6" name="Group 365"/>
            <p:cNvGrpSpPr/>
            <p:nvPr/>
          </p:nvGrpSpPr>
          <p:grpSpPr>
            <a:xfrm>
              <a:off x="5971064" y="4720254"/>
              <a:ext cx="5221181" cy="99367"/>
              <a:chOff x="54768" y="395781"/>
              <a:chExt cx="12049814" cy="229328"/>
            </a:xfrm>
            <a:grpFill/>
          </p:grpSpPr>
          <p:sp>
            <p:nvSpPr>
              <p:cNvPr id="509" name="Freeform 50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10" name="Freeform 50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1" name="Freeform 510"/>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2" name="Freeform 51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13" name="Freeform 512"/>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7" name="Group 366"/>
            <p:cNvGrpSpPr/>
            <p:nvPr/>
          </p:nvGrpSpPr>
          <p:grpSpPr>
            <a:xfrm>
              <a:off x="6045824" y="4579476"/>
              <a:ext cx="5167102" cy="97914"/>
              <a:chOff x="87923" y="68248"/>
              <a:chExt cx="12064389" cy="228614"/>
            </a:xfrm>
            <a:grpFill/>
          </p:grpSpPr>
          <p:sp>
            <p:nvSpPr>
              <p:cNvPr id="504" name="Freeform 503"/>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5" name="Freeform 504"/>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6" name="Freeform 505"/>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7" name="Freeform 506"/>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8" name="Freeform 507"/>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8" name="Group 367"/>
            <p:cNvGrpSpPr/>
            <p:nvPr/>
          </p:nvGrpSpPr>
          <p:grpSpPr>
            <a:xfrm>
              <a:off x="6261894" y="4438562"/>
              <a:ext cx="4935435" cy="91964"/>
              <a:chOff x="37549" y="2881001"/>
              <a:chExt cx="12074550" cy="224991"/>
            </a:xfrm>
            <a:grpFill/>
          </p:grpSpPr>
          <p:sp>
            <p:nvSpPr>
              <p:cNvPr id="499" name="Freeform 498"/>
              <p:cNvSpPr/>
              <p:nvPr/>
            </p:nvSpPr>
            <p:spPr>
              <a:xfrm>
                <a:off x="257711" y="2883011"/>
                <a:ext cx="8179660" cy="222981"/>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500" name="Freeform 499"/>
              <p:cNvSpPr/>
              <p:nvPr/>
            </p:nvSpPr>
            <p:spPr>
              <a:xfrm>
                <a:off x="1426527" y="2883011"/>
                <a:ext cx="10368473" cy="222981"/>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1" name="Freeform 500"/>
              <p:cNvSpPr/>
              <p:nvPr/>
            </p:nvSpPr>
            <p:spPr>
              <a:xfrm>
                <a:off x="4636354" y="2883011"/>
                <a:ext cx="6203804" cy="222981"/>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2" name="Freeform 501"/>
              <p:cNvSpPr/>
              <p:nvPr/>
            </p:nvSpPr>
            <p:spPr>
              <a:xfrm>
                <a:off x="615434" y="2883011"/>
                <a:ext cx="11496665" cy="222981"/>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503" name="Freeform 502"/>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69" name="Group 368"/>
            <p:cNvGrpSpPr/>
            <p:nvPr/>
          </p:nvGrpSpPr>
          <p:grpSpPr>
            <a:xfrm>
              <a:off x="6418454" y="4306785"/>
              <a:ext cx="4769093" cy="90663"/>
              <a:chOff x="71712" y="703821"/>
              <a:chExt cx="12025613" cy="228614"/>
            </a:xfrm>
            <a:grpFill/>
          </p:grpSpPr>
          <p:sp>
            <p:nvSpPr>
              <p:cNvPr id="494" name="Freeform 493"/>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5" name="Freeform 494"/>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6" name="Freeform 495"/>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7" name="Freeform 496"/>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8" name="Freeform 497"/>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0" name="Group 369"/>
            <p:cNvGrpSpPr/>
            <p:nvPr/>
          </p:nvGrpSpPr>
          <p:grpSpPr>
            <a:xfrm>
              <a:off x="6599463" y="4188360"/>
              <a:ext cx="4593499" cy="87422"/>
              <a:chOff x="54768" y="395781"/>
              <a:chExt cx="12049814" cy="229328"/>
            </a:xfrm>
            <a:grpFill/>
          </p:grpSpPr>
          <p:sp>
            <p:nvSpPr>
              <p:cNvPr id="489" name="Freeform 488"/>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90" name="Freeform 489"/>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1" name="Freeform 490"/>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2" name="Freeform 491"/>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93" name="Freeform 492"/>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1" name="Group 370"/>
            <p:cNvGrpSpPr/>
            <p:nvPr/>
          </p:nvGrpSpPr>
          <p:grpSpPr>
            <a:xfrm>
              <a:off x="6746072" y="4063708"/>
              <a:ext cx="4463944" cy="84591"/>
              <a:chOff x="87923" y="68248"/>
              <a:chExt cx="12064389" cy="228614"/>
            </a:xfrm>
            <a:grpFill/>
          </p:grpSpPr>
          <p:sp>
            <p:nvSpPr>
              <p:cNvPr id="484" name="Freeform 483"/>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5" name="Freeform 484"/>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6" name="Freeform 485"/>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7" name="Freeform 486"/>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8" name="Freeform 487"/>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2" name="Group 371"/>
            <p:cNvGrpSpPr/>
            <p:nvPr/>
          </p:nvGrpSpPr>
          <p:grpSpPr>
            <a:xfrm>
              <a:off x="6885214" y="3949782"/>
              <a:ext cx="4316127" cy="79988"/>
              <a:chOff x="79948" y="1595884"/>
              <a:chExt cx="12032131" cy="222984"/>
            </a:xfrm>
            <a:grpFill/>
          </p:grpSpPr>
          <p:sp>
            <p:nvSpPr>
              <p:cNvPr id="477" name="Freeform 476"/>
              <p:cNvSpPr/>
              <p:nvPr/>
            </p:nvSpPr>
            <p:spPr>
              <a:xfrm>
                <a:off x="615433" y="1595887"/>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8" name="Freeform 477"/>
              <p:cNvSpPr/>
              <p:nvPr/>
            </p:nvSpPr>
            <p:spPr>
              <a:xfrm>
                <a:off x="2600029" y="1595887"/>
                <a:ext cx="9512050"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9" name="Freeform 478"/>
              <p:cNvSpPr/>
              <p:nvPr/>
            </p:nvSpPr>
            <p:spPr>
              <a:xfrm>
                <a:off x="257710" y="1595885"/>
                <a:ext cx="7371695"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80" name="Freeform 479"/>
              <p:cNvSpPr/>
              <p:nvPr/>
            </p:nvSpPr>
            <p:spPr>
              <a:xfrm>
                <a:off x="2234476" y="1595885"/>
                <a:ext cx="9560505"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1" name="Freeform 480"/>
              <p:cNvSpPr/>
              <p:nvPr/>
            </p:nvSpPr>
            <p:spPr>
              <a:xfrm>
                <a:off x="4636346" y="1595885"/>
                <a:ext cx="620379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2" name="Freeform 481"/>
              <p:cNvSpPr/>
              <p:nvPr/>
            </p:nvSpPr>
            <p:spPr>
              <a:xfrm>
                <a:off x="79948" y="1595887"/>
                <a:ext cx="11888006"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83" name="Freeform 482"/>
              <p:cNvSpPr/>
              <p:nvPr/>
            </p:nvSpPr>
            <p:spPr>
              <a:xfrm>
                <a:off x="8290534"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3" name="Group 372"/>
            <p:cNvGrpSpPr/>
            <p:nvPr/>
          </p:nvGrpSpPr>
          <p:grpSpPr>
            <a:xfrm>
              <a:off x="7027796" y="3839167"/>
              <a:ext cx="4167457" cy="79227"/>
              <a:chOff x="71712" y="703821"/>
              <a:chExt cx="12025613" cy="228614"/>
            </a:xfrm>
            <a:grpFill/>
          </p:grpSpPr>
          <p:sp>
            <p:nvSpPr>
              <p:cNvPr id="472" name="Freeform 471"/>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3" name="Freeform 472"/>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4" name="Freeform 473"/>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5" name="Freeform 474"/>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6" name="Freeform 475"/>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4" name="Group 373"/>
            <p:cNvGrpSpPr/>
            <p:nvPr/>
          </p:nvGrpSpPr>
          <p:grpSpPr>
            <a:xfrm>
              <a:off x="7135585" y="3738341"/>
              <a:ext cx="4062481" cy="77315"/>
              <a:chOff x="54768" y="395781"/>
              <a:chExt cx="12049814" cy="229328"/>
            </a:xfrm>
            <a:grpFill/>
          </p:grpSpPr>
          <p:sp>
            <p:nvSpPr>
              <p:cNvPr id="467" name="Freeform 46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68" name="Freeform 46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9" name="Freeform 468"/>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0" name="Freeform 46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71" name="Freeform 470"/>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5" name="Group 374"/>
            <p:cNvGrpSpPr/>
            <p:nvPr/>
          </p:nvGrpSpPr>
          <p:grpSpPr>
            <a:xfrm>
              <a:off x="7248539" y="3646331"/>
              <a:ext cx="3950263" cy="75096"/>
              <a:chOff x="71712" y="703821"/>
              <a:chExt cx="12025613" cy="228614"/>
            </a:xfrm>
            <a:grpFill/>
          </p:grpSpPr>
          <p:sp>
            <p:nvSpPr>
              <p:cNvPr id="462" name="Freeform 461"/>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3" name="Freeform 462"/>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4" name="Freeform 463"/>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5" name="Freeform 464"/>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6" name="Freeform 465"/>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6" name="Group 375"/>
            <p:cNvGrpSpPr/>
            <p:nvPr/>
          </p:nvGrpSpPr>
          <p:grpSpPr>
            <a:xfrm>
              <a:off x="7425871" y="3548595"/>
              <a:ext cx="3776963" cy="71883"/>
              <a:chOff x="54768" y="395781"/>
              <a:chExt cx="12049814" cy="229328"/>
            </a:xfrm>
            <a:grpFill/>
          </p:grpSpPr>
          <p:sp>
            <p:nvSpPr>
              <p:cNvPr id="457" name="Freeform 45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58" name="Freeform 45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9" name="Freeform 458"/>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0" name="Freeform 45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61" name="Freeform 460"/>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7" name="Group 376"/>
            <p:cNvGrpSpPr/>
            <p:nvPr/>
          </p:nvGrpSpPr>
          <p:grpSpPr>
            <a:xfrm>
              <a:off x="7485692" y="3446865"/>
              <a:ext cx="3732106" cy="70723"/>
              <a:chOff x="87923" y="68248"/>
              <a:chExt cx="12064389" cy="228614"/>
            </a:xfrm>
            <a:grpFill/>
          </p:grpSpPr>
          <p:sp>
            <p:nvSpPr>
              <p:cNvPr id="452" name="Freeform 451"/>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3" name="Freeform 452"/>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4" name="Freeform 453"/>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5" name="Freeform 454"/>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6" name="Freeform 455"/>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8" name="Group 377"/>
            <p:cNvGrpSpPr/>
            <p:nvPr/>
          </p:nvGrpSpPr>
          <p:grpSpPr>
            <a:xfrm>
              <a:off x="7617911" y="3357048"/>
              <a:ext cx="3613490" cy="67332"/>
              <a:chOff x="37549" y="2881001"/>
              <a:chExt cx="12074550" cy="224991"/>
            </a:xfrm>
            <a:grpFill/>
          </p:grpSpPr>
          <p:sp>
            <p:nvSpPr>
              <p:cNvPr id="447" name="Freeform 446"/>
              <p:cNvSpPr/>
              <p:nvPr/>
            </p:nvSpPr>
            <p:spPr>
              <a:xfrm>
                <a:off x="257711" y="2883011"/>
                <a:ext cx="8179660" cy="222980"/>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48" name="Freeform 447"/>
              <p:cNvSpPr/>
              <p:nvPr/>
            </p:nvSpPr>
            <p:spPr>
              <a:xfrm>
                <a:off x="1426527" y="2883011"/>
                <a:ext cx="10368472" cy="222980"/>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9" name="Freeform 448"/>
              <p:cNvSpPr/>
              <p:nvPr/>
            </p:nvSpPr>
            <p:spPr>
              <a:xfrm>
                <a:off x="4636354" y="2883011"/>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0" name="Freeform 449"/>
              <p:cNvSpPr/>
              <p:nvPr/>
            </p:nvSpPr>
            <p:spPr>
              <a:xfrm>
                <a:off x="615434" y="2883012"/>
                <a:ext cx="11496665" cy="222980"/>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51" name="Freeform 450"/>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79" name="Group 378"/>
            <p:cNvGrpSpPr/>
            <p:nvPr/>
          </p:nvGrpSpPr>
          <p:grpSpPr>
            <a:xfrm>
              <a:off x="7777048" y="3261416"/>
              <a:ext cx="3447161" cy="65531"/>
              <a:chOff x="71712" y="703820"/>
              <a:chExt cx="12025612" cy="228614"/>
            </a:xfrm>
            <a:grpFill/>
          </p:grpSpPr>
          <p:sp>
            <p:nvSpPr>
              <p:cNvPr id="442" name="Freeform 441"/>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3" name="Freeform 442"/>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4" name="Freeform 443"/>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5" name="Freeform 444"/>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6" name="Freeform 445"/>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0" name="Group 379"/>
            <p:cNvGrpSpPr/>
            <p:nvPr/>
          </p:nvGrpSpPr>
          <p:grpSpPr>
            <a:xfrm>
              <a:off x="7981042" y="3177213"/>
              <a:ext cx="3246891" cy="61794"/>
              <a:chOff x="54768" y="395781"/>
              <a:chExt cx="12049814" cy="229328"/>
            </a:xfrm>
            <a:grpFill/>
          </p:grpSpPr>
          <p:sp>
            <p:nvSpPr>
              <p:cNvPr id="437" name="Freeform 436"/>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38" name="Freeform 437"/>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9" name="Freeform 438"/>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0" name="Freeform 439"/>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41" name="Freeform 440"/>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1" name="Group 380"/>
            <p:cNvGrpSpPr/>
            <p:nvPr/>
          </p:nvGrpSpPr>
          <p:grpSpPr>
            <a:xfrm>
              <a:off x="8098971" y="3089382"/>
              <a:ext cx="3140684" cy="59517"/>
              <a:chOff x="87923" y="68248"/>
              <a:chExt cx="12064389" cy="228614"/>
            </a:xfrm>
            <a:grpFill/>
          </p:grpSpPr>
          <p:sp>
            <p:nvSpPr>
              <p:cNvPr id="432" name="Freeform 431"/>
              <p:cNvSpPr/>
              <p:nvPr/>
            </p:nvSpPr>
            <p:spPr>
              <a:xfrm>
                <a:off x="2269482" y="68248"/>
                <a:ext cx="9542687"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3" name="Freeform 432"/>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4" name="Freeform 433"/>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5" name="Freeform 434"/>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6" name="Freeform 435"/>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2" name="Group 381"/>
            <p:cNvGrpSpPr/>
            <p:nvPr/>
          </p:nvGrpSpPr>
          <p:grpSpPr>
            <a:xfrm>
              <a:off x="8269513" y="3010573"/>
              <a:ext cx="2964013" cy="54928"/>
              <a:chOff x="79949" y="1595884"/>
              <a:chExt cx="12032150" cy="222981"/>
            </a:xfrm>
            <a:grpFill/>
          </p:grpSpPr>
          <p:sp>
            <p:nvSpPr>
              <p:cNvPr id="425" name="Freeform 424"/>
              <p:cNvSpPr/>
              <p:nvPr/>
            </p:nvSpPr>
            <p:spPr>
              <a:xfrm>
                <a:off x="615434" y="1595885"/>
                <a:ext cx="81070" cy="222980"/>
              </a:xfrm>
              <a:custGeom>
                <a:avLst/>
                <a:gdLst/>
                <a:ahLst/>
                <a:cxnLst/>
                <a:rect l="l" t="t" r="r" b="b"/>
                <a:pathLst>
                  <a:path w="158651" h="436364">
                    <a:moveTo>
                      <a:pt x="129480" y="0"/>
                    </a:moveTo>
                    <a:lnTo>
                      <a:pt x="158651" y="0"/>
                    </a:lnTo>
                    <a:lnTo>
                      <a:pt x="158651" y="436364"/>
                    </a:lnTo>
                    <a:lnTo>
                      <a:pt x="89594" y="436364"/>
                    </a:lnTo>
                    <a:lnTo>
                      <a:pt x="89594" y="84534"/>
                    </a:lnTo>
                    <a:cubicBezTo>
                      <a:pt x="77093" y="93464"/>
                      <a:pt x="63649" y="101054"/>
                      <a:pt x="49262" y="107305"/>
                    </a:cubicBezTo>
                    <a:cubicBezTo>
                      <a:pt x="34875" y="113556"/>
                      <a:pt x="18455" y="119062"/>
                      <a:pt x="0" y="123825"/>
                    </a:cubicBezTo>
                    <a:lnTo>
                      <a:pt x="0" y="64889"/>
                    </a:lnTo>
                    <a:cubicBezTo>
                      <a:pt x="11509" y="61119"/>
                      <a:pt x="22622" y="57150"/>
                      <a:pt x="33337" y="52983"/>
                    </a:cubicBezTo>
                    <a:cubicBezTo>
                      <a:pt x="44053" y="48816"/>
                      <a:pt x="54620" y="44152"/>
                      <a:pt x="65038" y="38993"/>
                    </a:cubicBezTo>
                    <a:cubicBezTo>
                      <a:pt x="75456" y="33834"/>
                      <a:pt x="85973" y="28079"/>
                      <a:pt x="96589" y="21729"/>
                    </a:cubicBezTo>
                    <a:cubicBezTo>
                      <a:pt x="107206" y="15379"/>
                      <a:pt x="118169" y="8136"/>
                      <a:pt x="12948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6" name="Freeform 425"/>
              <p:cNvSpPr/>
              <p:nvPr/>
            </p:nvSpPr>
            <p:spPr>
              <a:xfrm>
                <a:off x="2600034" y="1595885"/>
                <a:ext cx="9512065" cy="222980"/>
              </a:xfrm>
              <a:custGeom>
                <a:avLst/>
                <a:gdLst>
                  <a:gd name="connsiteX0" fmla="*/ 9497159 w 9512065"/>
                  <a:gd name="connsiteY0" fmla="*/ 0 h 222980"/>
                  <a:gd name="connsiteX1" fmla="*/ 9512065 w 9512065"/>
                  <a:gd name="connsiteY1" fmla="*/ 0 h 222980"/>
                  <a:gd name="connsiteX2" fmla="*/ 9512065 w 9512065"/>
                  <a:gd name="connsiteY2" fmla="*/ 222980 h 222980"/>
                  <a:gd name="connsiteX3" fmla="*/ 9476777 w 9512065"/>
                  <a:gd name="connsiteY3" fmla="*/ 222980 h 222980"/>
                  <a:gd name="connsiteX4" fmla="*/ 9476777 w 9512065"/>
                  <a:gd name="connsiteY4" fmla="*/ 43197 h 222980"/>
                  <a:gd name="connsiteX5" fmla="*/ 9456168 w 9512065"/>
                  <a:gd name="connsiteY5" fmla="*/ 54832 h 222980"/>
                  <a:gd name="connsiteX6" fmla="*/ 9430995 w 9512065"/>
                  <a:gd name="connsiteY6" fmla="*/ 63274 h 222980"/>
                  <a:gd name="connsiteX7" fmla="*/ 9430995 w 9512065"/>
                  <a:gd name="connsiteY7" fmla="*/ 33158 h 222980"/>
                  <a:gd name="connsiteX8" fmla="*/ 9448030 w 9512065"/>
                  <a:gd name="connsiteY8" fmla="*/ 27074 h 222980"/>
                  <a:gd name="connsiteX9" fmla="*/ 9464229 w 9512065"/>
                  <a:gd name="connsiteY9" fmla="*/ 19925 h 222980"/>
                  <a:gd name="connsiteX10" fmla="*/ 9480352 w 9512065"/>
                  <a:gd name="connsiteY10" fmla="*/ 11103 h 222980"/>
                  <a:gd name="connsiteX11" fmla="*/ 9497159 w 9512065"/>
                  <a:gd name="connsiteY11" fmla="*/ 0 h 222980"/>
                  <a:gd name="connsiteX12" fmla="*/ 7872378 w 9512065"/>
                  <a:gd name="connsiteY12" fmla="*/ 0 h 222980"/>
                  <a:gd name="connsiteX13" fmla="*/ 7887284 w 9512065"/>
                  <a:gd name="connsiteY13" fmla="*/ 0 h 222980"/>
                  <a:gd name="connsiteX14" fmla="*/ 7887284 w 9512065"/>
                  <a:gd name="connsiteY14" fmla="*/ 222980 h 222980"/>
                  <a:gd name="connsiteX15" fmla="*/ 7851996 w 9512065"/>
                  <a:gd name="connsiteY15" fmla="*/ 222980 h 222980"/>
                  <a:gd name="connsiteX16" fmla="*/ 7851996 w 9512065"/>
                  <a:gd name="connsiteY16" fmla="*/ 43197 h 222980"/>
                  <a:gd name="connsiteX17" fmla="*/ 7831387 w 9512065"/>
                  <a:gd name="connsiteY17" fmla="*/ 54832 h 222980"/>
                  <a:gd name="connsiteX18" fmla="*/ 7806214 w 9512065"/>
                  <a:gd name="connsiteY18" fmla="*/ 63274 h 222980"/>
                  <a:gd name="connsiteX19" fmla="*/ 7806214 w 9512065"/>
                  <a:gd name="connsiteY19" fmla="*/ 33158 h 222980"/>
                  <a:gd name="connsiteX20" fmla="*/ 7823249 w 9512065"/>
                  <a:gd name="connsiteY20" fmla="*/ 27074 h 222980"/>
                  <a:gd name="connsiteX21" fmla="*/ 7839448 w 9512065"/>
                  <a:gd name="connsiteY21" fmla="*/ 19925 h 222980"/>
                  <a:gd name="connsiteX22" fmla="*/ 7855571 w 9512065"/>
                  <a:gd name="connsiteY22" fmla="*/ 11103 h 222980"/>
                  <a:gd name="connsiteX23" fmla="*/ 7872378 w 9512065"/>
                  <a:gd name="connsiteY23" fmla="*/ 0 h 222980"/>
                  <a:gd name="connsiteX24" fmla="*/ 6994671 w 9512065"/>
                  <a:gd name="connsiteY24" fmla="*/ 0 h 222980"/>
                  <a:gd name="connsiteX25" fmla="*/ 7009577 w 9512065"/>
                  <a:gd name="connsiteY25" fmla="*/ 0 h 222980"/>
                  <a:gd name="connsiteX26" fmla="*/ 7009577 w 9512065"/>
                  <a:gd name="connsiteY26" fmla="*/ 222980 h 222980"/>
                  <a:gd name="connsiteX27" fmla="*/ 6974289 w 9512065"/>
                  <a:gd name="connsiteY27" fmla="*/ 222980 h 222980"/>
                  <a:gd name="connsiteX28" fmla="*/ 6974289 w 9512065"/>
                  <a:gd name="connsiteY28" fmla="*/ 43197 h 222980"/>
                  <a:gd name="connsiteX29" fmla="*/ 6953680 w 9512065"/>
                  <a:gd name="connsiteY29" fmla="*/ 54832 h 222980"/>
                  <a:gd name="connsiteX30" fmla="*/ 6928507 w 9512065"/>
                  <a:gd name="connsiteY30" fmla="*/ 63274 h 222980"/>
                  <a:gd name="connsiteX31" fmla="*/ 6928507 w 9512065"/>
                  <a:gd name="connsiteY31" fmla="*/ 33158 h 222980"/>
                  <a:gd name="connsiteX32" fmla="*/ 6945542 w 9512065"/>
                  <a:gd name="connsiteY32" fmla="*/ 27074 h 222980"/>
                  <a:gd name="connsiteX33" fmla="*/ 6961741 w 9512065"/>
                  <a:gd name="connsiteY33" fmla="*/ 19925 h 222980"/>
                  <a:gd name="connsiteX34" fmla="*/ 6977864 w 9512065"/>
                  <a:gd name="connsiteY34" fmla="*/ 11103 h 222980"/>
                  <a:gd name="connsiteX35" fmla="*/ 6994671 w 9512065"/>
                  <a:gd name="connsiteY35" fmla="*/ 0 h 222980"/>
                  <a:gd name="connsiteX36" fmla="*/ 6122216 w 9512065"/>
                  <a:gd name="connsiteY36" fmla="*/ 0 h 222980"/>
                  <a:gd name="connsiteX37" fmla="*/ 6137122 w 9512065"/>
                  <a:gd name="connsiteY37" fmla="*/ 0 h 222980"/>
                  <a:gd name="connsiteX38" fmla="*/ 6137122 w 9512065"/>
                  <a:gd name="connsiteY38" fmla="*/ 222980 h 222980"/>
                  <a:gd name="connsiteX39" fmla="*/ 6101834 w 9512065"/>
                  <a:gd name="connsiteY39" fmla="*/ 222980 h 222980"/>
                  <a:gd name="connsiteX40" fmla="*/ 6101834 w 9512065"/>
                  <a:gd name="connsiteY40" fmla="*/ 43197 h 222980"/>
                  <a:gd name="connsiteX41" fmla="*/ 6081225 w 9512065"/>
                  <a:gd name="connsiteY41" fmla="*/ 54832 h 222980"/>
                  <a:gd name="connsiteX42" fmla="*/ 6056052 w 9512065"/>
                  <a:gd name="connsiteY42" fmla="*/ 63274 h 222980"/>
                  <a:gd name="connsiteX43" fmla="*/ 6056052 w 9512065"/>
                  <a:gd name="connsiteY43" fmla="*/ 33158 h 222980"/>
                  <a:gd name="connsiteX44" fmla="*/ 6073087 w 9512065"/>
                  <a:gd name="connsiteY44" fmla="*/ 27074 h 222980"/>
                  <a:gd name="connsiteX45" fmla="*/ 6089286 w 9512065"/>
                  <a:gd name="connsiteY45" fmla="*/ 19925 h 222980"/>
                  <a:gd name="connsiteX46" fmla="*/ 6105409 w 9512065"/>
                  <a:gd name="connsiteY46" fmla="*/ 11103 h 222980"/>
                  <a:gd name="connsiteX47" fmla="*/ 6122216 w 9512065"/>
                  <a:gd name="connsiteY47" fmla="*/ 0 h 222980"/>
                  <a:gd name="connsiteX48" fmla="*/ 4133084 w 9512065"/>
                  <a:gd name="connsiteY48" fmla="*/ 0 h 222980"/>
                  <a:gd name="connsiteX49" fmla="*/ 4147990 w 9512065"/>
                  <a:gd name="connsiteY49" fmla="*/ 0 h 222980"/>
                  <a:gd name="connsiteX50" fmla="*/ 4147990 w 9512065"/>
                  <a:gd name="connsiteY50" fmla="*/ 222980 h 222980"/>
                  <a:gd name="connsiteX51" fmla="*/ 4112702 w 9512065"/>
                  <a:gd name="connsiteY51" fmla="*/ 222980 h 222980"/>
                  <a:gd name="connsiteX52" fmla="*/ 4112702 w 9512065"/>
                  <a:gd name="connsiteY52" fmla="*/ 43197 h 222980"/>
                  <a:gd name="connsiteX53" fmla="*/ 4092093 w 9512065"/>
                  <a:gd name="connsiteY53" fmla="*/ 54832 h 222980"/>
                  <a:gd name="connsiteX54" fmla="*/ 4066920 w 9512065"/>
                  <a:gd name="connsiteY54" fmla="*/ 63274 h 222980"/>
                  <a:gd name="connsiteX55" fmla="*/ 4066920 w 9512065"/>
                  <a:gd name="connsiteY55" fmla="*/ 33158 h 222980"/>
                  <a:gd name="connsiteX56" fmla="*/ 4083955 w 9512065"/>
                  <a:gd name="connsiteY56" fmla="*/ 27074 h 222980"/>
                  <a:gd name="connsiteX57" fmla="*/ 4100154 w 9512065"/>
                  <a:gd name="connsiteY57" fmla="*/ 19925 h 222980"/>
                  <a:gd name="connsiteX58" fmla="*/ 4116277 w 9512065"/>
                  <a:gd name="connsiteY58" fmla="*/ 11103 h 222980"/>
                  <a:gd name="connsiteX59" fmla="*/ 4133084 w 9512065"/>
                  <a:gd name="connsiteY59" fmla="*/ 0 h 222980"/>
                  <a:gd name="connsiteX60" fmla="*/ 3441106 w 9512065"/>
                  <a:gd name="connsiteY60" fmla="*/ 0 h 222980"/>
                  <a:gd name="connsiteX61" fmla="*/ 3456012 w 9512065"/>
                  <a:gd name="connsiteY61" fmla="*/ 0 h 222980"/>
                  <a:gd name="connsiteX62" fmla="*/ 3456012 w 9512065"/>
                  <a:gd name="connsiteY62" fmla="*/ 222980 h 222980"/>
                  <a:gd name="connsiteX63" fmla="*/ 3420724 w 9512065"/>
                  <a:gd name="connsiteY63" fmla="*/ 222980 h 222980"/>
                  <a:gd name="connsiteX64" fmla="*/ 3420724 w 9512065"/>
                  <a:gd name="connsiteY64" fmla="*/ 43197 h 222980"/>
                  <a:gd name="connsiteX65" fmla="*/ 3400115 w 9512065"/>
                  <a:gd name="connsiteY65" fmla="*/ 54832 h 222980"/>
                  <a:gd name="connsiteX66" fmla="*/ 3374942 w 9512065"/>
                  <a:gd name="connsiteY66" fmla="*/ 63274 h 222980"/>
                  <a:gd name="connsiteX67" fmla="*/ 3374942 w 9512065"/>
                  <a:gd name="connsiteY67" fmla="*/ 33158 h 222980"/>
                  <a:gd name="connsiteX68" fmla="*/ 3391977 w 9512065"/>
                  <a:gd name="connsiteY68" fmla="*/ 27074 h 222980"/>
                  <a:gd name="connsiteX69" fmla="*/ 3408176 w 9512065"/>
                  <a:gd name="connsiteY69" fmla="*/ 19925 h 222980"/>
                  <a:gd name="connsiteX70" fmla="*/ 3424299 w 9512065"/>
                  <a:gd name="connsiteY70" fmla="*/ 11103 h 222980"/>
                  <a:gd name="connsiteX71" fmla="*/ 3441106 w 9512065"/>
                  <a:gd name="connsiteY71" fmla="*/ 0 h 222980"/>
                  <a:gd name="connsiteX72" fmla="*/ 1816325 w 9512065"/>
                  <a:gd name="connsiteY72" fmla="*/ 0 h 222980"/>
                  <a:gd name="connsiteX73" fmla="*/ 1831231 w 9512065"/>
                  <a:gd name="connsiteY73" fmla="*/ 0 h 222980"/>
                  <a:gd name="connsiteX74" fmla="*/ 1831231 w 9512065"/>
                  <a:gd name="connsiteY74" fmla="*/ 222980 h 222980"/>
                  <a:gd name="connsiteX75" fmla="*/ 1795943 w 9512065"/>
                  <a:gd name="connsiteY75" fmla="*/ 222980 h 222980"/>
                  <a:gd name="connsiteX76" fmla="*/ 1795943 w 9512065"/>
                  <a:gd name="connsiteY76" fmla="*/ 43197 h 222980"/>
                  <a:gd name="connsiteX77" fmla="*/ 1775334 w 9512065"/>
                  <a:gd name="connsiteY77" fmla="*/ 54832 h 222980"/>
                  <a:gd name="connsiteX78" fmla="*/ 1750161 w 9512065"/>
                  <a:gd name="connsiteY78" fmla="*/ 63274 h 222980"/>
                  <a:gd name="connsiteX79" fmla="*/ 1750161 w 9512065"/>
                  <a:gd name="connsiteY79" fmla="*/ 33158 h 222980"/>
                  <a:gd name="connsiteX80" fmla="*/ 1767196 w 9512065"/>
                  <a:gd name="connsiteY80" fmla="*/ 27074 h 222980"/>
                  <a:gd name="connsiteX81" fmla="*/ 1783395 w 9512065"/>
                  <a:gd name="connsiteY81" fmla="*/ 19925 h 222980"/>
                  <a:gd name="connsiteX82" fmla="*/ 1799518 w 9512065"/>
                  <a:gd name="connsiteY82" fmla="*/ 11103 h 222980"/>
                  <a:gd name="connsiteX83" fmla="*/ 1816325 w 9512065"/>
                  <a:gd name="connsiteY83" fmla="*/ 0 h 222980"/>
                  <a:gd name="connsiteX84" fmla="*/ 938618 w 9512065"/>
                  <a:gd name="connsiteY84" fmla="*/ 0 h 222980"/>
                  <a:gd name="connsiteX85" fmla="*/ 953525 w 9512065"/>
                  <a:gd name="connsiteY85" fmla="*/ 0 h 222980"/>
                  <a:gd name="connsiteX86" fmla="*/ 953525 w 9512065"/>
                  <a:gd name="connsiteY86" fmla="*/ 222980 h 222980"/>
                  <a:gd name="connsiteX87" fmla="*/ 918237 w 9512065"/>
                  <a:gd name="connsiteY87" fmla="*/ 222980 h 222980"/>
                  <a:gd name="connsiteX88" fmla="*/ 918237 w 9512065"/>
                  <a:gd name="connsiteY88" fmla="*/ 43197 h 222980"/>
                  <a:gd name="connsiteX89" fmla="*/ 897627 w 9512065"/>
                  <a:gd name="connsiteY89" fmla="*/ 54832 h 222980"/>
                  <a:gd name="connsiteX90" fmla="*/ 872454 w 9512065"/>
                  <a:gd name="connsiteY90" fmla="*/ 63274 h 222980"/>
                  <a:gd name="connsiteX91" fmla="*/ 872454 w 9512065"/>
                  <a:gd name="connsiteY91" fmla="*/ 33158 h 222980"/>
                  <a:gd name="connsiteX92" fmla="*/ 889489 w 9512065"/>
                  <a:gd name="connsiteY92" fmla="*/ 27074 h 222980"/>
                  <a:gd name="connsiteX93" fmla="*/ 905689 w 9512065"/>
                  <a:gd name="connsiteY93" fmla="*/ 19925 h 222980"/>
                  <a:gd name="connsiteX94" fmla="*/ 921811 w 9512065"/>
                  <a:gd name="connsiteY94" fmla="*/ 11103 h 222980"/>
                  <a:gd name="connsiteX95" fmla="*/ 938618 w 9512065"/>
                  <a:gd name="connsiteY95" fmla="*/ 0 h 222980"/>
                  <a:gd name="connsiteX96" fmla="*/ 66163 w 9512065"/>
                  <a:gd name="connsiteY96" fmla="*/ 0 h 222980"/>
                  <a:gd name="connsiteX97" fmla="*/ 81070 w 9512065"/>
                  <a:gd name="connsiteY97" fmla="*/ 0 h 222980"/>
                  <a:gd name="connsiteX98" fmla="*/ 81070 w 9512065"/>
                  <a:gd name="connsiteY98" fmla="*/ 222980 h 222980"/>
                  <a:gd name="connsiteX99" fmla="*/ 45782 w 9512065"/>
                  <a:gd name="connsiteY99" fmla="*/ 222980 h 222980"/>
                  <a:gd name="connsiteX100" fmla="*/ 45782 w 9512065"/>
                  <a:gd name="connsiteY100" fmla="*/ 43197 h 222980"/>
                  <a:gd name="connsiteX101" fmla="*/ 25172 w 9512065"/>
                  <a:gd name="connsiteY101" fmla="*/ 54832 h 222980"/>
                  <a:gd name="connsiteX102" fmla="*/ 0 w 9512065"/>
                  <a:gd name="connsiteY102" fmla="*/ 63274 h 222980"/>
                  <a:gd name="connsiteX103" fmla="*/ 0 w 9512065"/>
                  <a:gd name="connsiteY103" fmla="*/ 33158 h 222980"/>
                  <a:gd name="connsiteX104" fmla="*/ 17035 w 9512065"/>
                  <a:gd name="connsiteY104" fmla="*/ 27074 h 222980"/>
                  <a:gd name="connsiteX105" fmla="*/ 33234 w 9512065"/>
                  <a:gd name="connsiteY105" fmla="*/ 19925 h 222980"/>
                  <a:gd name="connsiteX106" fmla="*/ 49356 w 9512065"/>
                  <a:gd name="connsiteY106" fmla="*/ 11103 h 222980"/>
                  <a:gd name="connsiteX107" fmla="*/ 66163 w 9512065"/>
                  <a:gd name="connsiteY10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512065" h="222980">
                    <a:moveTo>
                      <a:pt x="9497159" y="0"/>
                    </a:moveTo>
                    <a:lnTo>
                      <a:pt x="9512065" y="0"/>
                    </a:lnTo>
                    <a:lnTo>
                      <a:pt x="9512065" y="222980"/>
                    </a:lnTo>
                    <a:lnTo>
                      <a:pt x="9476777" y="222980"/>
                    </a:lnTo>
                    <a:lnTo>
                      <a:pt x="9476777" y="43197"/>
                    </a:lnTo>
                    <a:cubicBezTo>
                      <a:pt x="9470389" y="47760"/>
                      <a:pt x="9463519" y="51638"/>
                      <a:pt x="9456168" y="54832"/>
                    </a:cubicBezTo>
                    <a:cubicBezTo>
                      <a:pt x="9448816" y="58027"/>
                      <a:pt x="9440425" y="60840"/>
                      <a:pt x="9430995" y="63274"/>
                    </a:cubicBezTo>
                    <a:lnTo>
                      <a:pt x="9430995" y="33158"/>
                    </a:lnTo>
                    <a:cubicBezTo>
                      <a:pt x="9436876" y="31232"/>
                      <a:pt x="9442555" y="29203"/>
                      <a:pt x="9448030" y="27074"/>
                    </a:cubicBezTo>
                    <a:cubicBezTo>
                      <a:pt x="9453506" y="24945"/>
                      <a:pt x="9458906" y="22562"/>
                      <a:pt x="9464229" y="19925"/>
                    </a:cubicBezTo>
                    <a:cubicBezTo>
                      <a:pt x="9469553" y="17289"/>
                      <a:pt x="9474927" y="14348"/>
                      <a:pt x="9480352" y="11103"/>
                    </a:cubicBezTo>
                    <a:cubicBezTo>
                      <a:pt x="9485777" y="7859"/>
                      <a:pt x="9491379" y="4158"/>
                      <a:pt x="9497159" y="0"/>
                    </a:cubicBezTo>
                    <a:close/>
                    <a:moveTo>
                      <a:pt x="7872378" y="0"/>
                    </a:moveTo>
                    <a:lnTo>
                      <a:pt x="7887284" y="0"/>
                    </a:lnTo>
                    <a:lnTo>
                      <a:pt x="7887284" y="222980"/>
                    </a:lnTo>
                    <a:lnTo>
                      <a:pt x="7851996" y="222980"/>
                    </a:lnTo>
                    <a:lnTo>
                      <a:pt x="7851996" y="43197"/>
                    </a:lnTo>
                    <a:cubicBezTo>
                      <a:pt x="7845608" y="47760"/>
                      <a:pt x="7838738" y="51638"/>
                      <a:pt x="7831387" y="54832"/>
                    </a:cubicBezTo>
                    <a:cubicBezTo>
                      <a:pt x="7824035" y="58027"/>
                      <a:pt x="7815644" y="60840"/>
                      <a:pt x="7806214" y="63274"/>
                    </a:cubicBezTo>
                    <a:lnTo>
                      <a:pt x="7806214" y="33158"/>
                    </a:lnTo>
                    <a:cubicBezTo>
                      <a:pt x="7812095" y="31232"/>
                      <a:pt x="7817774" y="29203"/>
                      <a:pt x="7823249" y="27074"/>
                    </a:cubicBezTo>
                    <a:cubicBezTo>
                      <a:pt x="7828725" y="24945"/>
                      <a:pt x="7834125" y="22562"/>
                      <a:pt x="7839448" y="19925"/>
                    </a:cubicBezTo>
                    <a:cubicBezTo>
                      <a:pt x="7844772" y="17289"/>
                      <a:pt x="7850146" y="14348"/>
                      <a:pt x="7855571" y="11103"/>
                    </a:cubicBezTo>
                    <a:cubicBezTo>
                      <a:pt x="7860996" y="7859"/>
                      <a:pt x="7866598" y="4158"/>
                      <a:pt x="7872378" y="0"/>
                    </a:cubicBezTo>
                    <a:close/>
                    <a:moveTo>
                      <a:pt x="6994671" y="0"/>
                    </a:moveTo>
                    <a:lnTo>
                      <a:pt x="7009577" y="0"/>
                    </a:lnTo>
                    <a:lnTo>
                      <a:pt x="7009577" y="222980"/>
                    </a:lnTo>
                    <a:lnTo>
                      <a:pt x="6974289" y="222980"/>
                    </a:lnTo>
                    <a:lnTo>
                      <a:pt x="6974289" y="43197"/>
                    </a:lnTo>
                    <a:cubicBezTo>
                      <a:pt x="6967901" y="47760"/>
                      <a:pt x="6961031" y="51638"/>
                      <a:pt x="6953680" y="54832"/>
                    </a:cubicBezTo>
                    <a:cubicBezTo>
                      <a:pt x="6946328" y="58027"/>
                      <a:pt x="6937937" y="60840"/>
                      <a:pt x="6928507" y="63274"/>
                    </a:cubicBezTo>
                    <a:lnTo>
                      <a:pt x="6928507" y="33158"/>
                    </a:lnTo>
                    <a:cubicBezTo>
                      <a:pt x="6934388" y="31232"/>
                      <a:pt x="6940067" y="29203"/>
                      <a:pt x="6945542" y="27074"/>
                    </a:cubicBezTo>
                    <a:cubicBezTo>
                      <a:pt x="6951018" y="24945"/>
                      <a:pt x="6956418" y="22562"/>
                      <a:pt x="6961741" y="19925"/>
                    </a:cubicBezTo>
                    <a:cubicBezTo>
                      <a:pt x="6967065" y="17289"/>
                      <a:pt x="6972439" y="14348"/>
                      <a:pt x="6977864" y="11103"/>
                    </a:cubicBezTo>
                    <a:cubicBezTo>
                      <a:pt x="6983289" y="7859"/>
                      <a:pt x="6988891" y="4158"/>
                      <a:pt x="6994671" y="0"/>
                    </a:cubicBezTo>
                    <a:close/>
                    <a:moveTo>
                      <a:pt x="6122216" y="0"/>
                    </a:moveTo>
                    <a:lnTo>
                      <a:pt x="6137122" y="0"/>
                    </a:lnTo>
                    <a:lnTo>
                      <a:pt x="6137122" y="222980"/>
                    </a:lnTo>
                    <a:lnTo>
                      <a:pt x="6101834" y="222980"/>
                    </a:lnTo>
                    <a:lnTo>
                      <a:pt x="6101834" y="43197"/>
                    </a:lnTo>
                    <a:cubicBezTo>
                      <a:pt x="6095446" y="47760"/>
                      <a:pt x="6088576" y="51638"/>
                      <a:pt x="6081225" y="54832"/>
                    </a:cubicBezTo>
                    <a:cubicBezTo>
                      <a:pt x="6073873" y="58027"/>
                      <a:pt x="6065482" y="60840"/>
                      <a:pt x="6056052" y="63274"/>
                    </a:cubicBezTo>
                    <a:lnTo>
                      <a:pt x="6056052" y="33158"/>
                    </a:lnTo>
                    <a:cubicBezTo>
                      <a:pt x="6061933" y="31232"/>
                      <a:pt x="6067612" y="29203"/>
                      <a:pt x="6073087" y="27074"/>
                    </a:cubicBezTo>
                    <a:cubicBezTo>
                      <a:pt x="6078563" y="24945"/>
                      <a:pt x="6083963" y="22562"/>
                      <a:pt x="6089286" y="19925"/>
                    </a:cubicBezTo>
                    <a:cubicBezTo>
                      <a:pt x="6094610" y="17289"/>
                      <a:pt x="6099984" y="14348"/>
                      <a:pt x="6105409" y="11103"/>
                    </a:cubicBezTo>
                    <a:cubicBezTo>
                      <a:pt x="6110834" y="7859"/>
                      <a:pt x="6116436" y="4158"/>
                      <a:pt x="6122216" y="0"/>
                    </a:cubicBezTo>
                    <a:close/>
                    <a:moveTo>
                      <a:pt x="4133084" y="0"/>
                    </a:moveTo>
                    <a:lnTo>
                      <a:pt x="4147990" y="0"/>
                    </a:lnTo>
                    <a:lnTo>
                      <a:pt x="4147990" y="222980"/>
                    </a:lnTo>
                    <a:lnTo>
                      <a:pt x="4112702" y="222980"/>
                    </a:lnTo>
                    <a:lnTo>
                      <a:pt x="4112702" y="43197"/>
                    </a:lnTo>
                    <a:cubicBezTo>
                      <a:pt x="4106314" y="47760"/>
                      <a:pt x="4099445" y="51638"/>
                      <a:pt x="4092093" y="54832"/>
                    </a:cubicBezTo>
                    <a:cubicBezTo>
                      <a:pt x="4084741" y="58027"/>
                      <a:pt x="4076351" y="60840"/>
                      <a:pt x="4066920" y="63274"/>
                    </a:cubicBezTo>
                    <a:lnTo>
                      <a:pt x="4066920" y="33158"/>
                    </a:lnTo>
                    <a:cubicBezTo>
                      <a:pt x="4072801" y="31232"/>
                      <a:pt x="4078480" y="29203"/>
                      <a:pt x="4083955" y="27074"/>
                    </a:cubicBezTo>
                    <a:cubicBezTo>
                      <a:pt x="4089431" y="24945"/>
                      <a:pt x="4094831" y="22562"/>
                      <a:pt x="4100154" y="19925"/>
                    </a:cubicBezTo>
                    <a:cubicBezTo>
                      <a:pt x="4105478" y="17289"/>
                      <a:pt x="4110852" y="14348"/>
                      <a:pt x="4116277" y="11103"/>
                    </a:cubicBezTo>
                    <a:cubicBezTo>
                      <a:pt x="4121702" y="7859"/>
                      <a:pt x="4127304" y="4158"/>
                      <a:pt x="4133084" y="0"/>
                    </a:cubicBezTo>
                    <a:close/>
                    <a:moveTo>
                      <a:pt x="3441106" y="0"/>
                    </a:moveTo>
                    <a:lnTo>
                      <a:pt x="3456012" y="0"/>
                    </a:lnTo>
                    <a:lnTo>
                      <a:pt x="3456012" y="222980"/>
                    </a:lnTo>
                    <a:lnTo>
                      <a:pt x="3420724" y="222980"/>
                    </a:lnTo>
                    <a:lnTo>
                      <a:pt x="3420724" y="43197"/>
                    </a:lnTo>
                    <a:cubicBezTo>
                      <a:pt x="3414336" y="47760"/>
                      <a:pt x="3407467" y="51638"/>
                      <a:pt x="3400115" y="54832"/>
                    </a:cubicBezTo>
                    <a:cubicBezTo>
                      <a:pt x="3392763" y="58027"/>
                      <a:pt x="3384373" y="60840"/>
                      <a:pt x="3374942" y="63274"/>
                    </a:cubicBezTo>
                    <a:lnTo>
                      <a:pt x="3374942" y="33158"/>
                    </a:lnTo>
                    <a:cubicBezTo>
                      <a:pt x="3380823" y="31232"/>
                      <a:pt x="3386502" y="29203"/>
                      <a:pt x="3391977" y="27074"/>
                    </a:cubicBezTo>
                    <a:cubicBezTo>
                      <a:pt x="3397453" y="24945"/>
                      <a:pt x="3402853" y="22562"/>
                      <a:pt x="3408176" y="19925"/>
                    </a:cubicBezTo>
                    <a:cubicBezTo>
                      <a:pt x="3413500" y="17289"/>
                      <a:pt x="3418874" y="14348"/>
                      <a:pt x="3424299" y="11103"/>
                    </a:cubicBezTo>
                    <a:cubicBezTo>
                      <a:pt x="3429724" y="7859"/>
                      <a:pt x="3435326" y="4158"/>
                      <a:pt x="3441106" y="0"/>
                    </a:cubicBezTo>
                    <a:close/>
                    <a:moveTo>
                      <a:pt x="1816325" y="0"/>
                    </a:moveTo>
                    <a:lnTo>
                      <a:pt x="1831231" y="0"/>
                    </a:lnTo>
                    <a:lnTo>
                      <a:pt x="1831231" y="222980"/>
                    </a:lnTo>
                    <a:lnTo>
                      <a:pt x="1795943" y="222980"/>
                    </a:lnTo>
                    <a:lnTo>
                      <a:pt x="1795943" y="43197"/>
                    </a:lnTo>
                    <a:cubicBezTo>
                      <a:pt x="1789555" y="47760"/>
                      <a:pt x="1782686" y="51638"/>
                      <a:pt x="1775334" y="54832"/>
                    </a:cubicBezTo>
                    <a:cubicBezTo>
                      <a:pt x="1767982" y="58027"/>
                      <a:pt x="1759592" y="60840"/>
                      <a:pt x="1750161" y="63274"/>
                    </a:cubicBezTo>
                    <a:lnTo>
                      <a:pt x="1750161" y="33158"/>
                    </a:lnTo>
                    <a:cubicBezTo>
                      <a:pt x="1756042" y="31232"/>
                      <a:pt x="1761721" y="29203"/>
                      <a:pt x="1767196" y="27074"/>
                    </a:cubicBezTo>
                    <a:cubicBezTo>
                      <a:pt x="1772672" y="24945"/>
                      <a:pt x="1778072" y="22562"/>
                      <a:pt x="1783395" y="19925"/>
                    </a:cubicBezTo>
                    <a:cubicBezTo>
                      <a:pt x="1788719" y="17289"/>
                      <a:pt x="1794093" y="14348"/>
                      <a:pt x="1799518" y="11103"/>
                    </a:cubicBezTo>
                    <a:cubicBezTo>
                      <a:pt x="1804943" y="7859"/>
                      <a:pt x="1810545" y="4158"/>
                      <a:pt x="1816325" y="0"/>
                    </a:cubicBezTo>
                    <a:close/>
                    <a:moveTo>
                      <a:pt x="938618" y="0"/>
                    </a:moveTo>
                    <a:lnTo>
                      <a:pt x="953525" y="0"/>
                    </a:lnTo>
                    <a:lnTo>
                      <a:pt x="953525" y="222980"/>
                    </a:lnTo>
                    <a:lnTo>
                      <a:pt x="918237" y="222980"/>
                    </a:lnTo>
                    <a:lnTo>
                      <a:pt x="918237" y="43197"/>
                    </a:lnTo>
                    <a:cubicBezTo>
                      <a:pt x="911848" y="47760"/>
                      <a:pt x="904978" y="51638"/>
                      <a:pt x="897627" y="54832"/>
                    </a:cubicBezTo>
                    <a:cubicBezTo>
                      <a:pt x="890276" y="58027"/>
                      <a:pt x="881885" y="60840"/>
                      <a:pt x="872454" y="63274"/>
                    </a:cubicBezTo>
                    <a:lnTo>
                      <a:pt x="872454" y="33158"/>
                    </a:lnTo>
                    <a:cubicBezTo>
                      <a:pt x="878336" y="31232"/>
                      <a:pt x="884014" y="29203"/>
                      <a:pt x="889489" y="27074"/>
                    </a:cubicBezTo>
                    <a:cubicBezTo>
                      <a:pt x="894966" y="24945"/>
                      <a:pt x="900365" y="22562"/>
                      <a:pt x="905689" y="19925"/>
                    </a:cubicBezTo>
                    <a:cubicBezTo>
                      <a:pt x="911012" y="17289"/>
                      <a:pt x="916386" y="14348"/>
                      <a:pt x="921811" y="11103"/>
                    </a:cubicBezTo>
                    <a:cubicBezTo>
                      <a:pt x="927236" y="7859"/>
                      <a:pt x="932838" y="4158"/>
                      <a:pt x="938618" y="0"/>
                    </a:cubicBezTo>
                    <a:close/>
                    <a:moveTo>
                      <a:pt x="66163" y="0"/>
                    </a:moveTo>
                    <a:lnTo>
                      <a:pt x="81070" y="0"/>
                    </a:lnTo>
                    <a:lnTo>
                      <a:pt x="81070" y="222980"/>
                    </a:lnTo>
                    <a:lnTo>
                      <a:pt x="45782" y="222980"/>
                    </a:lnTo>
                    <a:lnTo>
                      <a:pt x="45782" y="43197"/>
                    </a:lnTo>
                    <a:cubicBezTo>
                      <a:pt x="39394" y="47760"/>
                      <a:pt x="32524" y="51638"/>
                      <a:pt x="25172" y="54832"/>
                    </a:cubicBezTo>
                    <a:cubicBezTo>
                      <a:pt x="17820" y="58027"/>
                      <a:pt x="9430" y="60840"/>
                      <a:pt x="0" y="63274"/>
                    </a:cubicBezTo>
                    <a:lnTo>
                      <a:pt x="0" y="33158"/>
                    </a:lnTo>
                    <a:cubicBezTo>
                      <a:pt x="5880" y="31232"/>
                      <a:pt x="11560" y="29203"/>
                      <a:pt x="17035" y="27074"/>
                    </a:cubicBezTo>
                    <a:cubicBezTo>
                      <a:pt x="22511" y="24945"/>
                      <a:pt x="27910" y="22562"/>
                      <a:pt x="33234" y="19925"/>
                    </a:cubicBezTo>
                    <a:cubicBezTo>
                      <a:pt x="38557" y="17289"/>
                      <a:pt x="43931" y="14348"/>
                      <a:pt x="49356" y="11103"/>
                    </a:cubicBezTo>
                    <a:cubicBezTo>
                      <a:pt x="54781" y="7859"/>
                      <a:pt x="60383"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7" name="Freeform 426"/>
              <p:cNvSpPr/>
              <p:nvPr/>
            </p:nvSpPr>
            <p:spPr>
              <a:xfrm>
                <a:off x="257711" y="1595884"/>
                <a:ext cx="7371707" cy="222980"/>
              </a:xfrm>
              <a:custGeom>
                <a:avLst/>
                <a:gdLst>
                  <a:gd name="connsiteX0" fmla="*/ 6225656 w 7371707"/>
                  <a:gd name="connsiteY0" fmla="*/ 169438 h 222980"/>
                  <a:gd name="connsiteX1" fmla="*/ 6202465 w 7371707"/>
                  <a:gd name="connsiteY1" fmla="*/ 208685 h 222980"/>
                  <a:gd name="connsiteX2" fmla="*/ 6218877 w 7371707"/>
                  <a:gd name="connsiteY2" fmla="*/ 212075 h 222980"/>
                  <a:gd name="connsiteX3" fmla="*/ 6235289 w 7371707"/>
                  <a:gd name="connsiteY3" fmla="*/ 208507 h 222980"/>
                  <a:gd name="connsiteX4" fmla="*/ 6232346 w 7371707"/>
                  <a:gd name="connsiteY4" fmla="*/ 199052 h 222980"/>
                  <a:gd name="connsiteX5" fmla="*/ 6233327 w 7371707"/>
                  <a:gd name="connsiteY5" fmla="*/ 185851 h 222980"/>
                  <a:gd name="connsiteX6" fmla="*/ 6225656 w 7371707"/>
                  <a:gd name="connsiteY6" fmla="*/ 169438 h 222980"/>
                  <a:gd name="connsiteX7" fmla="*/ 179758 w 7371707"/>
                  <a:gd name="connsiteY7" fmla="*/ 169438 h 222980"/>
                  <a:gd name="connsiteX8" fmla="*/ 156567 w 7371707"/>
                  <a:gd name="connsiteY8" fmla="*/ 208685 h 222980"/>
                  <a:gd name="connsiteX9" fmla="*/ 172979 w 7371707"/>
                  <a:gd name="connsiteY9" fmla="*/ 212075 h 222980"/>
                  <a:gd name="connsiteX10" fmla="*/ 189391 w 7371707"/>
                  <a:gd name="connsiteY10" fmla="*/ 208507 h 222980"/>
                  <a:gd name="connsiteX11" fmla="*/ 186448 w 7371707"/>
                  <a:gd name="connsiteY11" fmla="*/ 199052 h 222980"/>
                  <a:gd name="connsiteX12" fmla="*/ 187429 w 7371707"/>
                  <a:gd name="connsiteY12" fmla="*/ 185851 h 222980"/>
                  <a:gd name="connsiteX13" fmla="*/ 179758 w 7371707"/>
                  <a:gd name="connsiteY13" fmla="*/ 169438 h 222980"/>
                  <a:gd name="connsiteX14" fmla="*/ 6065635 w 7371707"/>
                  <a:gd name="connsiteY14" fmla="*/ 153026 h 222980"/>
                  <a:gd name="connsiteX15" fmla="*/ 6051988 w 7371707"/>
                  <a:gd name="connsiteY15" fmla="*/ 173274 h 222980"/>
                  <a:gd name="connsiteX16" fmla="*/ 6073484 w 7371707"/>
                  <a:gd name="connsiteY16" fmla="*/ 194860 h 222980"/>
                  <a:gd name="connsiteX17" fmla="*/ 6082404 w 7371707"/>
                  <a:gd name="connsiteY17" fmla="*/ 187635 h 222980"/>
                  <a:gd name="connsiteX18" fmla="*/ 6065635 w 7371707"/>
                  <a:gd name="connsiteY18" fmla="*/ 153026 h 222980"/>
                  <a:gd name="connsiteX19" fmla="*/ 19737 w 7371707"/>
                  <a:gd name="connsiteY19" fmla="*/ 153026 h 222980"/>
                  <a:gd name="connsiteX20" fmla="*/ 6090 w 7371707"/>
                  <a:gd name="connsiteY20" fmla="*/ 173274 h 222980"/>
                  <a:gd name="connsiteX21" fmla="*/ 27586 w 7371707"/>
                  <a:gd name="connsiteY21" fmla="*/ 194860 h 222980"/>
                  <a:gd name="connsiteX22" fmla="*/ 36506 w 7371707"/>
                  <a:gd name="connsiteY22" fmla="*/ 187635 h 222980"/>
                  <a:gd name="connsiteX23" fmla="*/ 19737 w 7371707"/>
                  <a:gd name="connsiteY23" fmla="*/ 153026 h 222980"/>
                  <a:gd name="connsiteX24" fmla="*/ 6049247 w 7371707"/>
                  <a:gd name="connsiteY24" fmla="*/ 84735 h 222980"/>
                  <a:gd name="connsiteX25" fmla="*/ 6049046 w 7371707"/>
                  <a:gd name="connsiteY25" fmla="*/ 86252 h 222980"/>
                  <a:gd name="connsiteX26" fmla="*/ 6048980 w 7371707"/>
                  <a:gd name="connsiteY26" fmla="*/ 84992 h 222980"/>
                  <a:gd name="connsiteX27" fmla="*/ 3349 w 7371707"/>
                  <a:gd name="connsiteY27" fmla="*/ 84735 h 222980"/>
                  <a:gd name="connsiteX28" fmla="*/ 3148 w 7371707"/>
                  <a:gd name="connsiteY28" fmla="*/ 86252 h 222980"/>
                  <a:gd name="connsiteX29" fmla="*/ 3082 w 7371707"/>
                  <a:gd name="connsiteY29" fmla="*/ 84992 h 222980"/>
                  <a:gd name="connsiteX30" fmla="*/ 6251167 w 7371707"/>
                  <a:gd name="connsiteY30" fmla="*/ 57540 h 222980"/>
                  <a:gd name="connsiteX31" fmla="*/ 6247175 w 7371707"/>
                  <a:gd name="connsiteY31" fmla="*/ 60394 h 222980"/>
                  <a:gd name="connsiteX32" fmla="*/ 6254097 w 7371707"/>
                  <a:gd name="connsiteY32" fmla="*/ 68765 h 222980"/>
                  <a:gd name="connsiteX33" fmla="*/ 6260978 w 7371707"/>
                  <a:gd name="connsiteY33" fmla="*/ 67039 h 222980"/>
                  <a:gd name="connsiteX34" fmla="*/ 6234754 w 7371707"/>
                  <a:gd name="connsiteY34" fmla="*/ 86217 h 222980"/>
                  <a:gd name="connsiteX35" fmla="*/ 6239771 w 7371707"/>
                  <a:gd name="connsiteY35" fmla="*/ 78594 h 222980"/>
                  <a:gd name="connsiteX36" fmla="*/ 6231989 w 7371707"/>
                  <a:gd name="connsiteY36" fmla="*/ 71633 h 222980"/>
                  <a:gd name="connsiteX37" fmla="*/ 6227172 w 7371707"/>
                  <a:gd name="connsiteY37" fmla="*/ 75692 h 222980"/>
                  <a:gd name="connsiteX38" fmla="*/ 6251167 w 7371707"/>
                  <a:gd name="connsiteY38" fmla="*/ 57540 h 222980"/>
                  <a:gd name="connsiteX39" fmla="*/ 205269 w 7371707"/>
                  <a:gd name="connsiteY39" fmla="*/ 57540 h 222980"/>
                  <a:gd name="connsiteX40" fmla="*/ 201277 w 7371707"/>
                  <a:gd name="connsiteY40" fmla="*/ 60394 h 222980"/>
                  <a:gd name="connsiteX41" fmla="*/ 208199 w 7371707"/>
                  <a:gd name="connsiteY41" fmla="*/ 68765 h 222980"/>
                  <a:gd name="connsiteX42" fmla="*/ 215080 w 7371707"/>
                  <a:gd name="connsiteY42" fmla="*/ 67039 h 222980"/>
                  <a:gd name="connsiteX43" fmla="*/ 188856 w 7371707"/>
                  <a:gd name="connsiteY43" fmla="*/ 86217 h 222980"/>
                  <a:gd name="connsiteX44" fmla="*/ 193873 w 7371707"/>
                  <a:gd name="connsiteY44" fmla="*/ 78594 h 222980"/>
                  <a:gd name="connsiteX45" fmla="*/ 186091 w 7371707"/>
                  <a:gd name="connsiteY45" fmla="*/ 71633 h 222980"/>
                  <a:gd name="connsiteX46" fmla="*/ 181274 w 7371707"/>
                  <a:gd name="connsiteY46" fmla="*/ 75692 h 222980"/>
                  <a:gd name="connsiteX47" fmla="*/ 205269 w 7371707"/>
                  <a:gd name="connsiteY47" fmla="*/ 57540 h 222980"/>
                  <a:gd name="connsiteX48" fmla="*/ 6224598 w 7371707"/>
                  <a:gd name="connsiteY48" fmla="*/ 41128 h 222980"/>
                  <a:gd name="connsiteX49" fmla="*/ 6226882 w 7371707"/>
                  <a:gd name="connsiteY49" fmla="*/ 41165 h 222980"/>
                  <a:gd name="connsiteX50" fmla="*/ 6235022 w 7371707"/>
                  <a:gd name="connsiteY50" fmla="*/ 42421 h 222980"/>
                  <a:gd name="connsiteX51" fmla="*/ 6216112 w 7371707"/>
                  <a:gd name="connsiteY51" fmla="*/ 61331 h 222980"/>
                  <a:gd name="connsiteX52" fmla="*/ 6224598 w 7371707"/>
                  <a:gd name="connsiteY52" fmla="*/ 41128 h 222980"/>
                  <a:gd name="connsiteX53" fmla="*/ 178700 w 7371707"/>
                  <a:gd name="connsiteY53" fmla="*/ 41128 h 222980"/>
                  <a:gd name="connsiteX54" fmla="*/ 180984 w 7371707"/>
                  <a:gd name="connsiteY54" fmla="*/ 41165 h 222980"/>
                  <a:gd name="connsiteX55" fmla="*/ 189124 w 7371707"/>
                  <a:gd name="connsiteY55" fmla="*/ 42421 h 222980"/>
                  <a:gd name="connsiteX56" fmla="*/ 170214 w 7371707"/>
                  <a:gd name="connsiteY56" fmla="*/ 61331 h 222980"/>
                  <a:gd name="connsiteX57" fmla="*/ 178700 w 7371707"/>
                  <a:gd name="connsiteY57" fmla="*/ 41128 h 222980"/>
                  <a:gd name="connsiteX58" fmla="*/ 6327201 w 7371707"/>
                  <a:gd name="connsiteY58" fmla="*/ 19051 h 222980"/>
                  <a:gd name="connsiteX59" fmla="*/ 6319004 w 7371707"/>
                  <a:gd name="connsiteY59" fmla="*/ 32972 h 222980"/>
                  <a:gd name="connsiteX60" fmla="*/ 6306828 w 7371707"/>
                  <a:gd name="connsiteY60" fmla="*/ 34963 h 222980"/>
                  <a:gd name="connsiteX61" fmla="*/ 6317969 w 7371707"/>
                  <a:gd name="connsiteY61" fmla="*/ 28334 h 222980"/>
                  <a:gd name="connsiteX62" fmla="*/ 6327201 w 7371707"/>
                  <a:gd name="connsiteY62" fmla="*/ 19051 h 222980"/>
                  <a:gd name="connsiteX63" fmla="*/ 281303 w 7371707"/>
                  <a:gd name="connsiteY63" fmla="*/ 19051 h 222980"/>
                  <a:gd name="connsiteX64" fmla="*/ 273105 w 7371707"/>
                  <a:gd name="connsiteY64" fmla="*/ 32972 h 222980"/>
                  <a:gd name="connsiteX65" fmla="*/ 260930 w 7371707"/>
                  <a:gd name="connsiteY65" fmla="*/ 34963 h 222980"/>
                  <a:gd name="connsiteX66" fmla="*/ 272071 w 7371707"/>
                  <a:gd name="connsiteY66" fmla="*/ 28334 h 222980"/>
                  <a:gd name="connsiteX67" fmla="*/ 281303 w 7371707"/>
                  <a:gd name="connsiteY67" fmla="*/ 19051 h 222980"/>
                  <a:gd name="connsiteX68" fmla="*/ 6223264 w 7371707"/>
                  <a:gd name="connsiteY68" fmla="*/ 46 h 222980"/>
                  <a:gd name="connsiteX69" fmla="*/ 6229127 w 7371707"/>
                  <a:gd name="connsiteY69" fmla="*/ 560 h 222980"/>
                  <a:gd name="connsiteX70" fmla="*/ 6272112 w 7371707"/>
                  <a:gd name="connsiteY70" fmla="*/ 29780 h 222980"/>
                  <a:gd name="connsiteX71" fmla="*/ 6289983 w 7371707"/>
                  <a:gd name="connsiteY71" fmla="*/ 50789 h 222980"/>
                  <a:gd name="connsiteX72" fmla="*/ 6286843 w 7371707"/>
                  <a:gd name="connsiteY72" fmla="*/ 58517 h 222980"/>
                  <a:gd name="connsiteX73" fmla="*/ 6299869 w 7371707"/>
                  <a:gd name="connsiteY73" fmla="*/ 68554 h 222980"/>
                  <a:gd name="connsiteX74" fmla="*/ 6298193 w 7371707"/>
                  <a:gd name="connsiteY74" fmla="*/ 31470 h 222980"/>
                  <a:gd name="connsiteX75" fmla="*/ 6313407 w 7371707"/>
                  <a:gd name="connsiteY75" fmla="*/ 21811 h 222980"/>
                  <a:gd name="connsiteX76" fmla="*/ 6325240 w 7371707"/>
                  <a:gd name="connsiteY76" fmla="*/ 10702 h 222980"/>
                  <a:gd name="connsiteX77" fmla="*/ 6347940 w 7371707"/>
                  <a:gd name="connsiteY77" fmla="*/ 72765 h 222980"/>
                  <a:gd name="connsiteX78" fmla="*/ 6310509 w 7371707"/>
                  <a:gd name="connsiteY78" fmla="*/ 140624 h 222980"/>
                  <a:gd name="connsiteX79" fmla="*/ 6278698 w 7371707"/>
                  <a:gd name="connsiteY79" fmla="*/ 141337 h 222980"/>
                  <a:gd name="connsiteX80" fmla="*/ 6274718 w 7371707"/>
                  <a:gd name="connsiteY80" fmla="*/ 139951 h 222980"/>
                  <a:gd name="connsiteX81" fmla="*/ 6274241 w 7371707"/>
                  <a:gd name="connsiteY81" fmla="*/ 142212 h 222980"/>
                  <a:gd name="connsiteX82" fmla="*/ 6249654 w 7371707"/>
                  <a:gd name="connsiteY82" fmla="*/ 162116 h 222980"/>
                  <a:gd name="connsiteX83" fmla="*/ 6228161 w 7371707"/>
                  <a:gd name="connsiteY83" fmla="*/ 152456 h 222980"/>
                  <a:gd name="connsiteX84" fmla="*/ 6227195 w 7371707"/>
                  <a:gd name="connsiteY84" fmla="*/ 165014 h 222980"/>
                  <a:gd name="connsiteX85" fmla="*/ 6236855 w 7371707"/>
                  <a:gd name="connsiteY85" fmla="*/ 185540 h 222980"/>
                  <a:gd name="connsiteX86" fmla="*/ 6236372 w 7371707"/>
                  <a:gd name="connsiteY86" fmla="*/ 196649 h 222980"/>
                  <a:gd name="connsiteX87" fmla="*/ 6238545 w 7371707"/>
                  <a:gd name="connsiteY87" fmla="*/ 210414 h 222980"/>
                  <a:gd name="connsiteX88" fmla="*/ 6222607 w 7371707"/>
                  <a:gd name="connsiteY88" fmla="*/ 216210 h 222980"/>
                  <a:gd name="connsiteX89" fmla="*/ 6197733 w 7371707"/>
                  <a:gd name="connsiteY89" fmla="*/ 210897 h 222980"/>
                  <a:gd name="connsiteX90" fmla="*/ 6196974 w 7371707"/>
                  <a:gd name="connsiteY90" fmla="*/ 206443 h 222980"/>
                  <a:gd name="connsiteX91" fmla="*/ 6196934 w 7371707"/>
                  <a:gd name="connsiteY91" fmla="*/ 205098 h 222980"/>
                  <a:gd name="connsiteX92" fmla="*/ 6193195 w 7371707"/>
                  <a:gd name="connsiteY92" fmla="*/ 208642 h 222980"/>
                  <a:gd name="connsiteX93" fmla="*/ 6169721 w 7371707"/>
                  <a:gd name="connsiteY93" fmla="*/ 222971 h 222980"/>
                  <a:gd name="connsiteX94" fmla="*/ 6146296 w 7371707"/>
                  <a:gd name="connsiteY94" fmla="*/ 194717 h 222980"/>
                  <a:gd name="connsiteX95" fmla="*/ 6157163 w 7371707"/>
                  <a:gd name="connsiteY95" fmla="*/ 182884 h 222980"/>
                  <a:gd name="connsiteX96" fmla="*/ 6132290 w 7371707"/>
                  <a:gd name="connsiteY96" fmla="*/ 180469 h 222980"/>
                  <a:gd name="connsiteX97" fmla="*/ 6131324 w 7371707"/>
                  <a:gd name="connsiteY97" fmla="*/ 191336 h 222980"/>
                  <a:gd name="connsiteX98" fmla="*/ 6125045 w 7371707"/>
                  <a:gd name="connsiteY98" fmla="*/ 201962 h 222980"/>
                  <a:gd name="connsiteX99" fmla="*/ 6119974 w 7371707"/>
                  <a:gd name="connsiteY99" fmla="*/ 221039 h 222980"/>
                  <a:gd name="connsiteX100" fmla="*/ 6079886 w 7371707"/>
                  <a:gd name="connsiteY100" fmla="*/ 212587 h 222980"/>
                  <a:gd name="connsiteX101" fmla="*/ 6080852 w 7371707"/>
                  <a:gd name="connsiteY101" fmla="*/ 198581 h 222980"/>
                  <a:gd name="connsiteX102" fmla="*/ 6071193 w 7371707"/>
                  <a:gd name="connsiteY102" fmla="*/ 200513 h 222980"/>
                  <a:gd name="connsiteX103" fmla="*/ 6046078 w 7371707"/>
                  <a:gd name="connsiteY103" fmla="*/ 174673 h 222980"/>
                  <a:gd name="connsiteX104" fmla="*/ 6061292 w 7371707"/>
                  <a:gd name="connsiteY104" fmla="*/ 148110 h 222980"/>
                  <a:gd name="connsiteX105" fmla="*/ 6062741 w 7371707"/>
                  <a:gd name="connsiteY105" fmla="*/ 121546 h 222980"/>
                  <a:gd name="connsiteX106" fmla="*/ 6047285 w 7371707"/>
                  <a:gd name="connsiteY106" fmla="*/ 99570 h 222980"/>
                  <a:gd name="connsiteX107" fmla="*/ 6049046 w 7371707"/>
                  <a:gd name="connsiteY107" fmla="*/ 86252 h 222980"/>
                  <a:gd name="connsiteX108" fmla="*/ 6049505 w 7371707"/>
                  <a:gd name="connsiteY108" fmla="*/ 94972 h 222980"/>
                  <a:gd name="connsiteX109" fmla="*/ 6050328 w 7371707"/>
                  <a:gd name="connsiteY109" fmla="*/ 95367 h 222980"/>
                  <a:gd name="connsiteX110" fmla="*/ 6050451 w 7371707"/>
                  <a:gd name="connsiteY110" fmla="*/ 96542 h 222980"/>
                  <a:gd name="connsiteX111" fmla="*/ 6070006 w 7371707"/>
                  <a:gd name="connsiteY111" fmla="*/ 110389 h 222980"/>
                  <a:gd name="connsiteX112" fmla="*/ 6088229 w 7371707"/>
                  <a:gd name="connsiteY112" fmla="*/ 181019 h 222980"/>
                  <a:gd name="connsiteX113" fmla="*/ 6089191 w 7371707"/>
                  <a:gd name="connsiteY113" fmla="*/ 182868 h 222980"/>
                  <a:gd name="connsiteX114" fmla="*/ 6089157 w 7371707"/>
                  <a:gd name="connsiteY114" fmla="*/ 183736 h 222980"/>
                  <a:gd name="connsiteX115" fmla="*/ 6087756 w 7371707"/>
                  <a:gd name="connsiteY115" fmla="*/ 197179 h 222980"/>
                  <a:gd name="connsiteX116" fmla="*/ 6084456 w 7371707"/>
                  <a:gd name="connsiteY116" fmla="*/ 208507 h 222980"/>
                  <a:gd name="connsiteX117" fmla="*/ 6118619 w 7371707"/>
                  <a:gd name="connsiteY117" fmla="*/ 215107 h 222980"/>
                  <a:gd name="connsiteX118" fmla="*/ 6119778 w 7371707"/>
                  <a:gd name="connsiteY118" fmla="*/ 204225 h 222980"/>
                  <a:gd name="connsiteX119" fmla="*/ 6126379 w 7371707"/>
                  <a:gd name="connsiteY119" fmla="*/ 190043 h 222980"/>
                  <a:gd name="connsiteX120" fmla="*/ 6126658 w 7371707"/>
                  <a:gd name="connsiteY120" fmla="*/ 174935 h 222980"/>
                  <a:gd name="connsiteX121" fmla="*/ 6126450 w 7371707"/>
                  <a:gd name="connsiteY121" fmla="*/ 169256 h 222980"/>
                  <a:gd name="connsiteX122" fmla="*/ 6128038 w 7371707"/>
                  <a:gd name="connsiteY122" fmla="*/ 171105 h 222980"/>
                  <a:gd name="connsiteX123" fmla="*/ 6167410 w 7371707"/>
                  <a:gd name="connsiteY123" fmla="*/ 168903 h 222980"/>
                  <a:gd name="connsiteX124" fmla="*/ 6168302 w 7371707"/>
                  <a:gd name="connsiteY124" fmla="*/ 182640 h 222980"/>
                  <a:gd name="connsiteX125" fmla="*/ 6151265 w 7371707"/>
                  <a:gd name="connsiteY125" fmla="*/ 195306 h 222980"/>
                  <a:gd name="connsiteX126" fmla="*/ 6170175 w 7371707"/>
                  <a:gd name="connsiteY126" fmla="*/ 218229 h 222980"/>
                  <a:gd name="connsiteX127" fmla="*/ 6205230 w 7371707"/>
                  <a:gd name="connsiteY127" fmla="*/ 190489 h 222980"/>
                  <a:gd name="connsiteX128" fmla="*/ 6224318 w 7371707"/>
                  <a:gd name="connsiteY128" fmla="*/ 148655 h 222980"/>
                  <a:gd name="connsiteX129" fmla="*/ 6207455 w 7371707"/>
                  <a:gd name="connsiteY129" fmla="*/ 130392 h 222980"/>
                  <a:gd name="connsiteX130" fmla="*/ 6207261 w 7371707"/>
                  <a:gd name="connsiteY130" fmla="*/ 129884 h 222980"/>
                  <a:gd name="connsiteX131" fmla="*/ 6209879 w 7371707"/>
                  <a:gd name="connsiteY131" fmla="*/ 131532 h 222980"/>
                  <a:gd name="connsiteX132" fmla="*/ 6229046 w 7371707"/>
                  <a:gd name="connsiteY132" fmla="*/ 142144 h 222980"/>
                  <a:gd name="connsiteX133" fmla="*/ 6250364 w 7371707"/>
                  <a:gd name="connsiteY133" fmla="*/ 156594 h 222980"/>
                  <a:gd name="connsiteX134" fmla="*/ 6271325 w 7371707"/>
                  <a:gd name="connsiteY134" fmla="*/ 138219 h 222980"/>
                  <a:gd name="connsiteX135" fmla="*/ 6268025 w 7371707"/>
                  <a:gd name="connsiteY135" fmla="*/ 137952 h 222980"/>
                  <a:gd name="connsiteX136" fmla="*/ 6240232 w 7371707"/>
                  <a:gd name="connsiteY136" fmla="*/ 115804 h 222980"/>
                  <a:gd name="connsiteX137" fmla="*/ 6241157 w 7371707"/>
                  <a:gd name="connsiteY137" fmla="*/ 111028 h 222980"/>
                  <a:gd name="connsiteX138" fmla="*/ 6242909 w 7371707"/>
                  <a:gd name="connsiteY138" fmla="*/ 112937 h 222980"/>
                  <a:gd name="connsiteX139" fmla="*/ 6314676 w 7371707"/>
                  <a:gd name="connsiteY139" fmla="*/ 131083 h 222980"/>
                  <a:gd name="connsiteX140" fmla="*/ 6326539 w 7371707"/>
                  <a:gd name="connsiteY140" fmla="*/ 13967 h 222980"/>
                  <a:gd name="connsiteX141" fmla="*/ 6317262 w 7371707"/>
                  <a:gd name="connsiteY141" fmla="*/ 24671 h 222980"/>
                  <a:gd name="connsiteX142" fmla="*/ 6303704 w 7371707"/>
                  <a:gd name="connsiteY142" fmla="*/ 31539 h 222980"/>
                  <a:gd name="connsiteX143" fmla="*/ 6295227 w 7371707"/>
                  <a:gd name="connsiteY143" fmla="*/ 92334 h 222980"/>
                  <a:gd name="connsiteX144" fmla="*/ 6293747 w 7371707"/>
                  <a:gd name="connsiteY144" fmla="*/ 93502 h 222980"/>
                  <a:gd name="connsiteX145" fmla="*/ 6294058 w 7371707"/>
                  <a:gd name="connsiteY145" fmla="*/ 92901 h 222980"/>
                  <a:gd name="connsiteX146" fmla="*/ 6297282 w 7371707"/>
                  <a:gd name="connsiteY146" fmla="*/ 73818 h 222980"/>
                  <a:gd name="connsiteX147" fmla="*/ 6284705 w 7371707"/>
                  <a:gd name="connsiteY147" fmla="*/ 76227 h 222980"/>
                  <a:gd name="connsiteX148" fmla="*/ 6286043 w 7371707"/>
                  <a:gd name="connsiteY148" fmla="*/ 65791 h 222980"/>
                  <a:gd name="connsiteX149" fmla="*/ 6274269 w 7371707"/>
                  <a:gd name="connsiteY149" fmla="*/ 65701 h 222980"/>
                  <a:gd name="connsiteX150" fmla="*/ 6277658 w 7371707"/>
                  <a:gd name="connsiteY150" fmla="*/ 57941 h 222980"/>
                  <a:gd name="connsiteX151" fmla="*/ 6270851 w 7371707"/>
                  <a:gd name="connsiteY151" fmla="*/ 54797 h 222980"/>
                  <a:gd name="connsiteX152" fmla="*/ 6268965 w 7371707"/>
                  <a:gd name="connsiteY152" fmla="*/ 54810 h 222980"/>
                  <a:gd name="connsiteX153" fmla="*/ 6270516 w 7371707"/>
                  <a:gd name="connsiteY153" fmla="*/ 54253 h 222980"/>
                  <a:gd name="connsiteX154" fmla="*/ 6272842 w 7371707"/>
                  <a:gd name="connsiteY154" fmla="*/ 53571 h 222980"/>
                  <a:gd name="connsiteX155" fmla="*/ 6284081 w 7371707"/>
                  <a:gd name="connsiteY155" fmla="*/ 50984 h 222980"/>
                  <a:gd name="connsiteX156" fmla="*/ 6272663 w 7371707"/>
                  <a:gd name="connsiteY156" fmla="*/ 36445 h 222980"/>
                  <a:gd name="connsiteX157" fmla="*/ 6260764 w 7371707"/>
                  <a:gd name="connsiteY157" fmla="*/ 34985 h 222980"/>
                  <a:gd name="connsiteX158" fmla="*/ 6259665 w 7371707"/>
                  <a:gd name="connsiteY158" fmla="*/ 34927 h 222980"/>
                  <a:gd name="connsiteX159" fmla="*/ 6259674 w 7371707"/>
                  <a:gd name="connsiteY159" fmla="*/ 34903 h 222980"/>
                  <a:gd name="connsiteX160" fmla="*/ 6267401 w 7371707"/>
                  <a:gd name="connsiteY160" fmla="*/ 32520 h 222980"/>
                  <a:gd name="connsiteX161" fmla="*/ 6225032 w 7371707"/>
                  <a:gd name="connsiteY161" fmla="*/ 6564 h 222980"/>
                  <a:gd name="connsiteX162" fmla="*/ 6174902 w 7371707"/>
                  <a:gd name="connsiteY162" fmla="*/ 30022 h 222980"/>
                  <a:gd name="connsiteX163" fmla="*/ 6189039 w 7371707"/>
                  <a:gd name="connsiteY163" fmla="*/ 30347 h 222980"/>
                  <a:gd name="connsiteX164" fmla="*/ 6189612 w 7371707"/>
                  <a:gd name="connsiteY164" fmla="*/ 30430 h 222980"/>
                  <a:gd name="connsiteX165" fmla="*/ 6187218 w 7371707"/>
                  <a:gd name="connsiteY165" fmla="*/ 31081 h 222980"/>
                  <a:gd name="connsiteX166" fmla="*/ 6162785 w 7371707"/>
                  <a:gd name="connsiteY166" fmla="*/ 36163 h 222980"/>
                  <a:gd name="connsiteX167" fmla="*/ 6116622 w 7371707"/>
                  <a:gd name="connsiteY167" fmla="*/ 96042 h 222980"/>
                  <a:gd name="connsiteX168" fmla="*/ 6130509 w 7371707"/>
                  <a:gd name="connsiteY168" fmla="*/ 118005 h 222980"/>
                  <a:gd name="connsiteX169" fmla="*/ 6144918 w 7371707"/>
                  <a:gd name="connsiteY169" fmla="*/ 101579 h 222980"/>
                  <a:gd name="connsiteX170" fmla="*/ 6128060 w 7371707"/>
                  <a:gd name="connsiteY170" fmla="*/ 136449 h 222980"/>
                  <a:gd name="connsiteX171" fmla="*/ 6143882 w 7371707"/>
                  <a:gd name="connsiteY171" fmla="*/ 145767 h 222980"/>
                  <a:gd name="connsiteX172" fmla="*/ 6170854 w 7371707"/>
                  <a:gd name="connsiteY172" fmla="*/ 132414 h 222980"/>
                  <a:gd name="connsiteX173" fmla="*/ 6188145 w 7371707"/>
                  <a:gd name="connsiteY173" fmla="*/ 130685 h 222980"/>
                  <a:gd name="connsiteX174" fmla="*/ 6194341 w 7371707"/>
                  <a:gd name="connsiteY174" fmla="*/ 62099 h 222980"/>
                  <a:gd name="connsiteX175" fmla="*/ 6195061 w 7371707"/>
                  <a:gd name="connsiteY175" fmla="*/ 139475 h 222980"/>
                  <a:gd name="connsiteX176" fmla="*/ 6192968 w 7371707"/>
                  <a:gd name="connsiteY176" fmla="*/ 139132 h 222980"/>
                  <a:gd name="connsiteX177" fmla="*/ 6190317 w 7371707"/>
                  <a:gd name="connsiteY177" fmla="*/ 138454 h 222980"/>
                  <a:gd name="connsiteX178" fmla="*/ 6187601 w 7371707"/>
                  <a:gd name="connsiteY178" fmla="*/ 138030 h 222980"/>
                  <a:gd name="connsiteX179" fmla="*/ 6186840 w 7371707"/>
                  <a:gd name="connsiteY179" fmla="*/ 137854 h 222980"/>
                  <a:gd name="connsiteX180" fmla="*/ 6180115 w 7371707"/>
                  <a:gd name="connsiteY180" fmla="*/ 137626 h 222980"/>
                  <a:gd name="connsiteX181" fmla="*/ 6179136 w 7371707"/>
                  <a:gd name="connsiteY181" fmla="*/ 137854 h 222980"/>
                  <a:gd name="connsiteX182" fmla="*/ 6178544 w 7371707"/>
                  <a:gd name="connsiteY182" fmla="*/ 137905 h 222980"/>
                  <a:gd name="connsiteX183" fmla="*/ 6139580 w 7371707"/>
                  <a:gd name="connsiteY183" fmla="*/ 153739 h 222980"/>
                  <a:gd name="connsiteX184" fmla="*/ 6117390 w 7371707"/>
                  <a:gd name="connsiteY184" fmla="*/ 136140 h 222980"/>
                  <a:gd name="connsiteX185" fmla="*/ 6116935 w 7371707"/>
                  <a:gd name="connsiteY185" fmla="*/ 135551 h 222980"/>
                  <a:gd name="connsiteX186" fmla="*/ 6118646 w 7371707"/>
                  <a:gd name="connsiteY186" fmla="*/ 132692 h 222980"/>
                  <a:gd name="connsiteX187" fmla="*/ 6124684 w 7371707"/>
                  <a:gd name="connsiteY187" fmla="*/ 123947 h 222980"/>
                  <a:gd name="connsiteX188" fmla="*/ 6107736 w 7371707"/>
                  <a:gd name="connsiteY188" fmla="*/ 97099 h 222980"/>
                  <a:gd name="connsiteX189" fmla="*/ 6137796 w 7371707"/>
                  <a:gd name="connsiteY189" fmla="*/ 51251 h 222980"/>
                  <a:gd name="connsiteX190" fmla="*/ 6058280 w 7371707"/>
                  <a:gd name="connsiteY190" fmla="*/ 98314 h 222980"/>
                  <a:gd name="connsiteX191" fmla="*/ 6054679 w 7371707"/>
                  <a:gd name="connsiteY191" fmla="*/ 95073 h 222980"/>
                  <a:gd name="connsiteX192" fmla="*/ 6055732 w 7371707"/>
                  <a:gd name="connsiteY192" fmla="*/ 94482 h 222980"/>
                  <a:gd name="connsiteX193" fmla="*/ 6059659 w 7371707"/>
                  <a:gd name="connsiteY193" fmla="*/ 74710 h 222980"/>
                  <a:gd name="connsiteX194" fmla="*/ 6049247 w 7371707"/>
                  <a:gd name="connsiteY194" fmla="*/ 84735 h 222980"/>
                  <a:gd name="connsiteX195" fmla="*/ 6050153 w 7371707"/>
                  <a:gd name="connsiteY195" fmla="*/ 77882 h 222980"/>
                  <a:gd name="connsiteX196" fmla="*/ 6063707 w 7371707"/>
                  <a:gd name="connsiteY196" fmla="*/ 69384 h 222980"/>
                  <a:gd name="connsiteX197" fmla="*/ 6063707 w 7371707"/>
                  <a:gd name="connsiteY197" fmla="*/ 93050 h 222980"/>
                  <a:gd name="connsiteX198" fmla="*/ 6139534 w 7371707"/>
                  <a:gd name="connsiteY198" fmla="*/ 44994 h 222980"/>
                  <a:gd name="connsiteX199" fmla="*/ 6161993 w 7371707"/>
                  <a:gd name="connsiteY199" fmla="*/ 28572 h 222980"/>
                  <a:gd name="connsiteX200" fmla="*/ 6167988 w 7371707"/>
                  <a:gd name="connsiteY200" fmla="*/ 27944 h 222980"/>
                  <a:gd name="connsiteX201" fmla="*/ 6168683 w 7371707"/>
                  <a:gd name="connsiteY201" fmla="*/ 26457 h 222980"/>
                  <a:gd name="connsiteX202" fmla="*/ 6187833 w 7371707"/>
                  <a:gd name="connsiteY202" fmla="*/ 8046 h 222980"/>
                  <a:gd name="connsiteX203" fmla="*/ 6223264 w 7371707"/>
                  <a:gd name="connsiteY203" fmla="*/ 46 h 222980"/>
                  <a:gd name="connsiteX204" fmla="*/ 177366 w 7371707"/>
                  <a:gd name="connsiteY204" fmla="*/ 46 h 222980"/>
                  <a:gd name="connsiteX205" fmla="*/ 183229 w 7371707"/>
                  <a:gd name="connsiteY205" fmla="*/ 560 h 222980"/>
                  <a:gd name="connsiteX206" fmla="*/ 226215 w 7371707"/>
                  <a:gd name="connsiteY206" fmla="*/ 29780 h 222980"/>
                  <a:gd name="connsiteX207" fmla="*/ 244085 w 7371707"/>
                  <a:gd name="connsiteY207" fmla="*/ 50789 h 222980"/>
                  <a:gd name="connsiteX208" fmla="*/ 240945 w 7371707"/>
                  <a:gd name="connsiteY208" fmla="*/ 58517 h 222980"/>
                  <a:gd name="connsiteX209" fmla="*/ 253971 w 7371707"/>
                  <a:gd name="connsiteY209" fmla="*/ 68554 h 222980"/>
                  <a:gd name="connsiteX210" fmla="*/ 252295 w 7371707"/>
                  <a:gd name="connsiteY210" fmla="*/ 31470 h 222980"/>
                  <a:gd name="connsiteX211" fmla="*/ 267509 w 7371707"/>
                  <a:gd name="connsiteY211" fmla="*/ 21811 h 222980"/>
                  <a:gd name="connsiteX212" fmla="*/ 279342 w 7371707"/>
                  <a:gd name="connsiteY212" fmla="*/ 10702 h 222980"/>
                  <a:gd name="connsiteX213" fmla="*/ 302042 w 7371707"/>
                  <a:gd name="connsiteY213" fmla="*/ 72765 h 222980"/>
                  <a:gd name="connsiteX214" fmla="*/ 264611 w 7371707"/>
                  <a:gd name="connsiteY214" fmla="*/ 140624 h 222980"/>
                  <a:gd name="connsiteX215" fmla="*/ 232800 w 7371707"/>
                  <a:gd name="connsiteY215" fmla="*/ 141337 h 222980"/>
                  <a:gd name="connsiteX216" fmla="*/ 228820 w 7371707"/>
                  <a:gd name="connsiteY216" fmla="*/ 139951 h 222980"/>
                  <a:gd name="connsiteX217" fmla="*/ 228343 w 7371707"/>
                  <a:gd name="connsiteY217" fmla="*/ 142212 h 222980"/>
                  <a:gd name="connsiteX218" fmla="*/ 203756 w 7371707"/>
                  <a:gd name="connsiteY218" fmla="*/ 162116 h 222980"/>
                  <a:gd name="connsiteX219" fmla="*/ 182263 w 7371707"/>
                  <a:gd name="connsiteY219" fmla="*/ 152456 h 222980"/>
                  <a:gd name="connsiteX220" fmla="*/ 181297 w 7371707"/>
                  <a:gd name="connsiteY220" fmla="*/ 165014 h 222980"/>
                  <a:gd name="connsiteX221" fmla="*/ 190957 w 7371707"/>
                  <a:gd name="connsiteY221" fmla="*/ 185540 h 222980"/>
                  <a:gd name="connsiteX222" fmla="*/ 190474 w 7371707"/>
                  <a:gd name="connsiteY222" fmla="*/ 196649 h 222980"/>
                  <a:gd name="connsiteX223" fmla="*/ 192647 w 7371707"/>
                  <a:gd name="connsiteY223" fmla="*/ 210414 h 222980"/>
                  <a:gd name="connsiteX224" fmla="*/ 176709 w 7371707"/>
                  <a:gd name="connsiteY224" fmla="*/ 216210 h 222980"/>
                  <a:gd name="connsiteX225" fmla="*/ 151835 w 7371707"/>
                  <a:gd name="connsiteY225" fmla="*/ 210897 h 222980"/>
                  <a:gd name="connsiteX226" fmla="*/ 151076 w 7371707"/>
                  <a:gd name="connsiteY226" fmla="*/ 206443 h 222980"/>
                  <a:gd name="connsiteX227" fmla="*/ 151036 w 7371707"/>
                  <a:gd name="connsiteY227" fmla="*/ 205098 h 222980"/>
                  <a:gd name="connsiteX228" fmla="*/ 147297 w 7371707"/>
                  <a:gd name="connsiteY228" fmla="*/ 208642 h 222980"/>
                  <a:gd name="connsiteX229" fmla="*/ 123823 w 7371707"/>
                  <a:gd name="connsiteY229" fmla="*/ 222971 h 222980"/>
                  <a:gd name="connsiteX230" fmla="*/ 100398 w 7371707"/>
                  <a:gd name="connsiteY230" fmla="*/ 194717 h 222980"/>
                  <a:gd name="connsiteX231" fmla="*/ 111265 w 7371707"/>
                  <a:gd name="connsiteY231" fmla="*/ 182884 h 222980"/>
                  <a:gd name="connsiteX232" fmla="*/ 86392 w 7371707"/>
                  <a:gd name="connsiteY232" fmla="*/ 180469 h 222980"/>
                  <a:gd name="connsiteX233" fmla="*/ 85426 w 7371707"/>
                  <a:gd name="connsiteY233" fmla="*/ 191336 h 222980"/>
                  <a:gd name="connsiteX234" fmla="*/ 79147 w 7371707"/>
                  <a:gd name="connsiteY234" fmla="*/ 201962 h 222980"/>
                  <a:gd name="connsiteX235" fmla="*/ 74076 w 7371707"/>
                  <a:gd name="connsiteY235" fmla="*/ 221039 h 222980"/>
                  <a:gd name="connsiteX236" fmla="*/ 33988 w 7371707"/>
                  <a:gd name="connsiteY236" fmla="*/ 212587 h 222980"/>
                  <a:gd name="connsiteX237" fmla="*/ 34954 w 7371707"/>
                  <a:gd name="connsiteY237" fmla="*/ 198581 h 222980"/>
                  <a:gd name="connsiteX238" fmla="*/ 25295 w 7371707"/>
                  <a:gd name="connsiteY238" fmla="*/ 200513 h 222980"/>
                  <a:gd name="connsiteX239" fmla="*/ 180 w 7371707"/>
                  <a:gd name="connsiteY239" fmla="*/ 174673 h 222980"/>
                  <a:gd name="connsiteX240" fmla="*/ 15394 w 7371707"/>
                  <a:gd name="connsiteY240" fmla="*/ 148110 h 222980"/>
                  <a:gd name="connsiteX241" fmla="*/ 16843 w 7371707"/>
                  <a:gd name="connsiteY241" fmla="*/ 121546 h 222980"/>
                  <a:gd name="connsiteX242" fmla="*/ 1387 w 7371707"/>
                  <a:gd name="connsiteY242" fmla="*/ 99570 h 222980"/>
                  <a:gd name="connsiteX243" fmla="*/ 3148 w 7371707"/>
                  <a:gd name="connsiteY243" fmla="*/ 86252 h 222980"/>
                  <a:gd name="connsiteX244" fmla="*/ 3607 w 7371707"/>
                  <a:gd name="connsiteY244" fmla="*/ 94972 h 222980"/>
                  <a:gd name="connsiteX245" fmla="*/ 4430 w 7371707"/>
                  <a:gd name="connsiteY245" fmla="*/ 95367 h 222980"/>
                  <a:gd name="connsiteX246" fmla="*/ 4553 w 7371707"/>
                  <a:gd name="connsiteY246" fmla="*/ 96542 h 222980"/>
                  <a:gd name="connsiteX247" fmla="*/ 24108 w 7371707"/>
                  <a:gd name="connsiteY247" fmla="*/ 110389 h 222980"/>
                  <a:gd name="connsiteX248" fmla="*/ 42331 w 7371707"/>
                  <a:gd name="connsiteY248" fmla="*/ 181019 h 222980"/>
                  <a:gd name="connsiteX249" fmla="*/ 43293 w 7371707"/>
                  <a:gd name="connsiteY249" fmla="*/ 182868 h 222980"/>
                  <a:gd name="connsiteX250" fmla="*/ 43259 w 7371707"/>
                  <a:gd name="connsiteY250" fmla="*/ 183736 h 222980"/>
                  <a:gd name="connsiteX251" fmla="*/ 41858 w 7371707"/>
                  <a:gd name="connsiteY251" fmla="*/ 197179 h 222980"/>
                  <a:gd name="connsiteX252" fmla="*/ 38558 w 7371707"/>
                  <a:gd name="connsiteY252" fmla="*/ 208507 h 222980"/>
                  <a:gd name="connsiteX253" fmla="*/ 72721 w 7371707"/>
                  <a:gd name="connsiteY253" fmla="*/ 215107 h 222980"/>
                  <a:gd name="connsiteX254" fmla="*/ 73880 w 7371707"/>
                  <a:gd name="connsiteY254" fmla="*/ 204225 h 222980"/>
                  <a:gd name="connsiteX255" fmla="*/ 80481 w 7371707"/>
                  <a:gd name="connsiteY255" fmla="*/ 190043 h 222980"/>
                  <a:gd name="connsiteX256" fmla="*/ 80760 w 7371707"/>
                  <a:gd name="connsiteY256" fmla="*/ 174935 h 222980"/>
                  <a:gd name="connsiteX257" fmla="*/ 80552 w 7371707"/>
                  <a:gd name="connsiteY257" fmla="*/ 169256 h 222980"/>
                  <a:gd name="connsiteX258" fmla="*/ 82140 w 7371707"/>
                  <a:gd name="connsiteY258" fmla="*/ 171105 h 222980"/>
                  <a:gd name="connsiteX259" fmla="*/ 121512 w 7371707"/>
                  <a:gd name="connsiteY259" fmla="*/ 168903 h 222980"/>
                  <a:gd name="connsiteX260" fmla="*/ 122404 w 7371707"/>
                  <a:gd name="connsiteY260" fmla="*/ 182640 h 222980"/>
                  <a:gd name="connsiteX261" fmla="*/ 105367 w 7371707"/>
                  <a:gd name="connsiteY261" fmla="*/ 195306 h 222980"/>
                  <a:gd name="connsiteX262" fmla="*/ 124277 w 7371707"/>
                  <a:gd name="connsiteY262" fmla="*/ 218229 h 222980"/>
                  <a:gd name="connsiteX263" fmla="*/ 159332 w 7371707"/>
                  <a:gd name="connsiteY263" fmla="*/ 190489 h 222980"/>
                  <a:gd name="connsiteX264" fmla="*/ 178420 w 7371707"/>
                  <a:gd name="connsiteY264" fmla="*/ 148655 h 222980"/>
                  <a:gd name="connsiteX265" fmla="*/ 161557 w 7371707"/>
                  <a:gd name="connsiteY265" fmla="*/ 130392 h 222980"/>
                  <a:gd name="connsiteX266" fmla="*/ 161363 w 7371707"/>
                  <a:gd name="connsiteY266" fmla="*/ 129884 h 222980"/>
                  <a:gd name="connsiteX267" fmla="*/ 163981 w 7371707"/>
                  <a:gd name="connsiteY267" fmla="*/ 131532 h 222980"/>
                  <a:gd name="connsiteX268" fmla="*/ 183148 w 7371707"/>
                  <a:gd name="connsiteY268" fmla="*/ 142144 h 222980"/>
                  <a:gd name="connsiteX269" fmla="*/ 204466 w 7371707"/>
                  <a:gd name="connsiteY269" fmla="*/ 156594 h 222980"/>
                  <a:gd name="connsiteX270" fmla="*/ 225427 w 7371707"/>
                  <a:gd name="connsiteY270" fmla="*/ 138219 h 222980"/>
                  <a:gd name="connsiteX271" fmla="*/ 222127 w 7371707"/>
                  <a:gd name="connsiteY271" fmla="*/ 137952 h 222980"/>
                  <a:gd name="connsiteX272" fmla="*/ 194334 w 7371707"/>
                  <a:gd name="connsiteY272" fmla="*/ 115804 h 222980"/>
                  <a:gd name="connsiteX273" fmla="*/ 195258 w 7371707"/>
                  <a:gd name="connsiteY273" fmla="*/ 111028 h 222980"/>
                  <a:gd name="connsiteX274" fmla="*/ 197011 w 7371707"/>
                  <a:gd name="connsiteY274" fmla="*/ 112937 h 222980"/>
                  <a:gd name="connsiteX275" fmla="*/ 268778 w 7371707"/>
                  <a:gd name="connsiteY275" fmla="*/ 131083 h 222980"/>
                  <a:gd name="connsiteX276" fmla="*/ 280641 w 7371707"/>
                  <a:gd name="connsiteY276" fmla="*/ 13967 h 222980"/>
                  <a:gd name="connsiteX277" fmla="*/ 271364 w 7371707"/>
                  <a:gd name="connsiteY277" fmla="*/ 24671 h 222980"/>
                  <a:gd name="connsiteX278" fmla="*/ 257806 w 7371707"/>
                  <a:gd name="connsiteY278" fmla="*/ 31539 h 222980"/>
                  <a:gd name="connsiteX279" fmla="*/ 249329 w 7371707"/>
                  <a:gd name="connsiteY279" fmla="*/ 92334 h 222980"/>
                  <a:gd name="connsiteX280" fmla="*/ 247849 w 7371707"/>
                  <a:gd name="connsiteY280" fmla="*/ 93502 h 222980"/>
                  <a:gd name="connsiteX281" fmla="*/ 248160 w 7371707"/>
                  <a:gd name="connsiteY281" fmla="*/ 92901 h 222980"/>
                  <a:gd name="connsiteX282" fmla="*/ 251384 w 7371707"/>
                  <a:gd name="connsiteY282" fmla="*/ 73818 h 222980"/>
                  <a:gd name="connsiteX283" fmla="*/ 238807 w 7371707"/>
                  <a:gd name="connsiteY283" fmla="*/ 76227 h 222980"/>
                  <a:gd name="connsiteX284" fmla="*/ 240145 w 7371707"/>
                  <a:gd name="connsiteY284" fmla="*/ 65791 h 222980"/>
                  <a:gd name="connsiteX285" fmla="*/ 228371 w 7371707"/>
                  <a:gd name="connsiteY285" fmla="*/ 65701 h 222980"/>
                  <a:gd name="connsiteX286" fmla="*/ 231760 w 7371707"/>
                  <a:gd name="connsiteY286" fmla="*/ 57941 h 222980"/>
                  <a:gd name="connsiteX287" fmla="*/ 224954 w 7371707"/>
                  <a:gd name="connsiteY287" fmla="*/ 54797 h 222980"/>
                  <a:gd name="connsiteX288" fmla="*/ 223067 w 7371707"/>
                  <a:gd name="connsiteY288" fmla="*/ 54810 h 222980"/>
                  <a:gd name="connsiteX289" fmla="*/ 224618 w 7371707"/>
                  <a:gd name="connsiteY289" fmla="*/ 54253 h 222980"/>
                  <a:gd name="connsiteX290" fmla="*/ 226944 w 7371707"/>
                  <a:gd name="connsiteY290" fmla="*/ 53571 h 222980"/>
                  <a:gd name="connsiteX291" fmla="*/ 238183 w 7371707"/>
                  <a:gd name="connsiteY291" fmla="*/ 50984 h 222980"/>
                  <a:gd name="connsiteX292" fmla="*/ 226765 w 7371707"/>
                  <a:gd name="connsiteY292" fmla="*/ 36445 h 222980"/>
                  <a:gd name="connsiteX293" fmla="*/ 214866 w 7371707"/>
                  <a:gd name="connsiteY293" fmla="*/ 34985 h 222980"/>
                  <a:gd name="connsiteX294" fmla="*/ 213767 w 7371707"/>
                  <a:gd name="connsiteY294" fmla="*/ 34927 h 222980"/>
                  <a:gd name="connsiteX295" fmla="*/ 213776 w 7371707"/>
                  <a:gd name="connsiteY295" fmla="*/ 34903 h 222980"/>
                  <a:gd name="connsiteX296" fmla="*/ 221503 w 7371707"/>
                  <a:gd name="connsiteY296" fmla="*/ 32520 h 222980"/>
                  <a:gd name="connsiteX297" fmla="*/ 179134 w 7371707"/>
                  <a:gd name="connsiteY297" fmla="*/ 6564 h 222980"/>
                  <a:gd name="connsiteX298" fmla="*/ 129004 w 7371707"/>
                  <a:gd name="connsiteY298" fmla="*/ 30022 h 222980"/>
                  <a:gd name="connsiteX299" fmla="*/ 143141 w 7371707"/>
                  <a:gd name="connsiteY299" fmla="*/ 30347 h 222980"/>
                  <a:gd name="connsiteX300" fmla="*/ 143714 w 7371707"/>
                  <a:gd name="connsiteY300" fmla="*/ 30430 h 222980"/>
                  <a:gd name="connsiteX301" fmla="*/ 141320 w 7371707"/>
                  <a:gd name="connsiteY301" fmla="*/ 31081 h 222980"/>
                  <a:gd name="connsiteX302" fmla="*/ 116887 w 7371707"/>
                  <a:gd name="connsiteY302" fmla="*/ 36163 h 222980"/>
                  <a:gd name="connsiteX303" fmla="*/ 70724 w 7371707"/>
                  <a:gd name="connsiteY303" fmla="*/ 96042 h 222980"/>
                  <a:gd name="connsiteX304" fmla="*/ 84611 w 7371707"/>
                  <a:gd name="connsiteY304" fmla="*/ 118005 h 222980"/>
                  <a:gd name="connsiteX305" fmla="*/ 99020 w 7371707"/>
                  <a:gd name="connsiteY305" fmla="*/ 101579 h 222980"/>
                  <a:gd name="connsiteX306" fmla="*/ 82162 w 7371707"/>
                  <a:gd name="connsiteY306" fmla="*/ 136449 h 222980"/>
                  <a:gd name="connsiteX307" fmla="*/ 97984 w 7371707"/>
                  <a:gd name="connsiteY307" fmla="*/ 145767 h 222980"/>
                  <a:gd name="connsiteX308" fmla="*/ 124956 w 7371707"/>
                  <a:gd name="connsiteY308" fmla="*/ 132414 h 222980"/>
                  <a:gd name="connsiteX309" fmla="*/ 142247 w 7371707"/>
                  <a:gd name="connsiteY309" fmla="*/ 130685 h 222980"/>
                  <a:gd name="connsiteX310" fmla="*/ 148443 w 7371707"/>
                  <a:gd name="connsiteY310" fmla="*/ 62099 h 222980"/>
                  <a:gd name="connsiteX311" fmla="*/ 149163 w 7371707"/>
                  <a:gd name="connsiteY311" fmla="*/ 139475 h 222980"/>
                  <a:gd name="connsiteX312" fmla="*/ 147070 w 7371707"/>
                  <a:gd name="connsiteY312" fmla="*/ 139132 h 222980"/>
                  <a:gd name="connsiteX313" fmla="*/ 144419 w 7371707"/>
                  <a:gd name="connsiteY313" fmla="*/ 138454 h 222980"/>
                  <a:gd name="connsiteX314" fmla="*/ 141703 w 7371707"/>
                  <a:gd name="connsiteY314" fmla="*/ 138030 h 222980"/>
                  <a:gd name="connsiteX315" fmla="*/ 140942 w 7371707"/>
                  <a:gd name="connsiteY315" fmla="*/ 137854 h 222980"/>
                  <a:gd name="connsiteX316" fmla="*/ 134217 w 7371707"/>
                  <a:gd name="connsiteY316" fmla="*/ 137626 h 222980"/>
                  <a:gd name="connsiteX317" fmla="*/ 133238 w 7371707"/>
                  <a:gd name="connsiteY317" fmla="*/ 137854 h 222980"/>
                  <a:gd name="connsiteX318" fmla="*/ 132646 w 7371707"/>
                  <a:gd name="connsiteY318" fmla="*/ 137905 h 222980"/>
                  <a:gd name="connsiteX319" fmla="*/ 93682 w 7371707"/>
                  <a:gd name="connsiteY319" fmla="*/ 153739 h 222980"/>
                  <a:gd name="connsiteX320" fmla="*/ 71492 w 7371707"/>
                  <a:gd name="connsiteY320" fmla="*/ 136140 h 222980"/>
                  <a:gd name="connsiteX321" fmla="*/ 71037 w 7371707"/>
                  <a:gd name="connsiteY321" fmla="*/ 135551 h 222980"/>
                  <a:gd name="connsiteX322" fmla="*/ 72748 w 7371707"/>
                  <a:gd name="connsiteY322" fmla="*/ 132692 h 222980"/>
                  <a:gd name="connsiteX323" fmla="*/ 78786 w 7371707"/>
                  <a:gd name="connsiteY323" fmla="*/ 123947 h 222980"/>
                  <a:gd name="connsiteX324" fmla="*/ 61838 w 7371707"/>
                  <a:gd name="connsiteY324" fmla="*/ 97099 h 222980"/>
                  <a:gd name="connsiteX325" fmla="*/ 91898 w 7371707"/>
                  <a:gd name="connsiteY325" fmla="*/ 51251 h 222980"/>
                  <a:gd name="connsiteX326" fmla="*/ 12382 w 7371707"/>
                  <a:gd name="connsiteY326" fmla="*/ 98314 h 222980"/>
                  <a:gd name="connsiteX327" fmla="*/ 8781 w 7371707"/>
                  <a:gd name="connsiteY327" fmla="*/ 95073 h 222980"/>
                  <a:gd name="connsiteX328" fmla="*/ 9834 w 7371707"/>
                  <a:gd name="connsiteY328" fmla="*/ 94482 h 222980"/>
                  <a:gd name="connsiteX329" fmla="*/ 13761 w 7371707"/>
                  <a:gd name="connsiteY329" fmla="*/ 74710 h 222980"/>
                  <a:gd name="connsiteX330" fmla="*/ 3349 w 7371707"/>
                  <a:gd name="connsiteY330" fmla="*/ 84735 h 222980"/>
                  <a:gd name="connsiteX331" fmla="*/ 4255 w 7371707"/>
                  <a:gd name="connsiteY331" fmla="*/ 77882 h 222980"/>
                  <a:gd name="connsiteX332" fmla="*/ 17809 w 7371707"/>
                  <a:gd name="connsiteY332" fmla="*/ 69384 h 222980"/>
                  <a:gd name="connsiteX333" fmla="*/ 17809 w 7371707"/>
                  <a:gd name="connsiteY333" fmla="*/ 93050 h 222980"/>
                  <a:gd name="connsiteX334" fmla="*/ 93637 w 7371707"/>
                  <a:gd name="connsiteY334" fmla="*/ 44994 h 222980"/>
                  <a:gd name="connsiteX335" fmla="*/ 116095 w 7371707"/>
                  <a:gd name="connsiteY335" fmla="*/ 28572 h 222980"/>
                  <a:gd name="connsiteX336" fmla="*/ 122090 w 7371707"/>
                  <a:gd name="connsiteY336" fmla="*/ 27944 h 222980"/>
                  <a:gd name="connsiteX337" fmla="*/ 122785 w 7371707"/>
                  <a:gd name="connsiteY337" fmla="*/ 26457 h 222980"/>
                  <a:gd name="connsiteX338" fmla="*/ 141935 w 7371707"/>
                  <a:gd name="connsiteY338" fmla="*/ 8046 h 222980"/>
                  <a:gd name="connsiteX339" fmla="*/ 177366 w 7371707"/>
                  <a:gd name="connsiteY339" fmla="*/ 46 h 222980"/>
                  <a:gd name="connsiteX340" fmla="*/ 7307220 w 7371707"/>
                  <a:gd name="connsiteY340" fmla="*/ 0 h 222980"/>
                  <a:gd name="connsiteX341" fmla="*/ 7352070 w 7371707"/>
                  <a:gd name="connsiteY341" fmla="*/ 39022 h 222980"/>
                  <a:gd name="connsiteX342" fmla="*/ 7352070 w 7371707"/>
                  <a:gd name="connsiteY342" fmla="*/ 75382 h 222980"/>
                  <a:gd name="connsiteX343" fmla="*/ 7371707 w 7371707"/>
                  <a:gd name="connsiteY343" fmla="*/ 102242 h 222980"/>
                  <a:gd name="connsiteX344" fmla="*/ 7371707 w 7371707"/>
                  <a:gd name="connsiteY344" fmla="*/ 120738 h 222980"/>
                  <a:gd name="connsiteX345" fmla="*/ 7352070 w 7371707"/>
                  <a:gd name="connsiteY345" fmla="*/ 147091 h 222980"/>
                  <a:gd name="connsiteX346" fmla="*/ 7352070 w 7371707"/>
                  <a:gd name="connsiteY346" fmla="*/ 184466 h 222980"/>
                  <a:gd name="connsiteX347" fmla="*/ 7307220 w 7371707"/>
                  <a:gd name="connsiteY347" fmla="*/ 222980 h 222980"/>
                  <a:gd name="connsiteX348" fmla="*/ 7307220 w 7371707"/>
                  <a:gd name="connsiteY348" fmla="*/ 203469 h 222980"/>
                  <a:gd name="connsiteX349" fmla="*/ 7322867 w 7371707"/>
                  <a:gd name="connsiteY349" fmla="*/ 197388 h 222980"/>
                  <a:gd name="connsiteX350" fmla="*/ 7327491 w 7371707"/>
                  <a:gd name="connsiteY350" fmla="*/ 178131 h 222980"/>
                  <a:gd name="connsiteX351" fmla="*/ 7327491 w 7371707"/>
                  <a:gd name="connsiteY351" fmla="*/ 142783 h 222980"/>
                  <a:gd name="connsiteX352" fmla="*/ 7352450 w 7371707"/>
                  <a:gd name="connsiteY352" fmla="*/ 111490 h 222980"/>
                  <a:gd name="connsiteX353" fmla="*/ 7352450 w 7371707"/>
                  <a:gd name="connsiteY353" fmla="*/ 111110 h 222980"/>
                  <a:gd name="connsiteX354" fmla="*/ 7327491 w 7371707"/>
                  <a:gd name="connsiteY354" fmla="*/ 79563 h 222980"/>
                  <a:gd name="connsiteX355" fmla="*/ 7327491 w 7371707"/>
                  <a:gd name="connsiteY355" fmla="*/ 43836 h 222980"/>
                  <a:gd name="connsiteX356" fmla="*/ 7307220 w 7371707"/>
                  <a:gd name="connsiteY356" fmla="*/ 19638 h 222980"/>
                  <a:gd name="connsiteX357" fmla="*/ 7289736 w 7371707"/>
                  <a:gd name="connsiteY357" fmla="*/ 0 h 222980"/>
                  <a:gd name="connsiteX358" fmla="*/ 7289736 w 7371707"/>
                  <a:gd name="connsiteY358" fmla="*/ 19638 h 222980"/>
                  <a:gd name="connsiteX359" fmla="*/ 7269592 w 7371707"/>
                  <a:gd name="connsiteY359" fmla="*/ 43836 h 222980"/>
                  <a:gd name="connsiteX360" fmla="*/ 7269592 w 7371707"/>
                  <a:gd name="connsiteY360" fmla="*/ 79563 h 222980"/>
                  <a:gd name="connsiteX361" fmla="*/ 7244380 w 7371707"/>
                  <a:gd name="connsiteY361" fmla="*/ 111110 h 222980"/>
                  <a:gd name="connsiteX362" fmla="*/ 7244380 w 7371707"/>
                  <a:gd name="connsiteY362" fmla="*/ 111490 h 222980"/>
                  <a:gd name="connsiteX363" fmla="*/ 7269592 w 7371707"/>
                  <a:gd name="connsiteY363" fmla="*/ 142783 h 222980"/>
                  <a:gd name="connsiteX364" fmla="*/ 7269592 w 7371707"/>
                  <a:gd name="connsiteY364" fmla="*/ 178131 h 222980"/>
                  <a:gd name="connsiteX365" fmla="*/ 7274090 w 7371707"/>
                  <a:gd name="connsiteY365" fmla="*/ 197451 h 222980"/>
                  <a:gd name="connsiteX366" fmla="*/ 7289736 w 7371707"/>
                  <a:gd name="connsiteY366" fmla="*/ 203469 h 222980"/>
                  <a:gd name="connsiteX367" fmla="*/ 7289736 w 7371707"/>
                  <a:gd name="connsiteY367" fmla="*/ 222980 h 222980"/>
                  <a:gd name="connsiteX368" fmla="*/ 7244634 w 7371707"/>
                  <a:gd name="connsiteY368" fmla="*/ 184466 h 222980"/>
                  <a:gd name="connsiteX369" fmla="*/ 7244634 w 7371707"/>
                  <a:gd name="connsiteY369" fmla="*/ 147091 h 222980"/>
                  <a:gd name="connsiteX370" fmla="*/ 7224869 w 7371707"/>
                  <a:gd name="connsiteY370" fmla="*/ 120738 h 222980"/>
                  <a:gd name="connsiteX371" fmla="*/ 7224869 w 7371707"/>
                  <a:gd name="connsiteY371" fmla="*/ 102242 h 222980"/>
                  <a:gd name="connsiteX372" fmla="*/ 7244634 w 7371707"/>
                  <a:gd name="connsiteY372" fmla="*/ 75382 h 222980"/>
                  <a:gd name="connsiteX373" fmla="*/ 7244634 w 7371707"/>
                  <a:gd name="connsiteY373" fmla="*/ 39022 h 222980"/>
                  <a:gd name="connsiteX374" fmla="*/ 7289736 w 7371707"/>
                  <a:gd name="connsiteY374" fmla="*/ 0 h 222980"/>
                  <a:gd name="connsiteX375" fmla="*/ 1251167 w 7371707"/>
                  <a:gd name="connsiteY375" fmla="*/ 0 h 222980"/>
                  <a:gd name="connsiteX376" fmla="*/ 1296017 w 7371707"/>
                  <a:gd name="connsiteY376" fmla="*/ 39022 h 222980"/>
                  <a:gd name="connsiteX377" fmla="*/ 1296017 w 7371707"/>
                  <a:gd name="connsiteY377" fmla="*/ 75382 h 222980"/>
                  <a:gd name="connsiteX378" fmla="*/ 1315654 w 7371707"/>
                  <a:gd name="connsiteY378" fmla="*/ 102242 h 222980"/>
                  <a:gd name="connsiteX379" fmla="*/ 1315654 w 7371707"/>
                  <a:gd name="connsiteY379" fmla="*/ 120738 h 222980"/>
                  <a:gd name="connsiteX380" fmla="*/ 1296017 w 7371707"/>
                  <a:gd name="connsiteY380" fmla="*/ 147091 h 222980"/>
                  <a:gd name="connsiteX381" fmla="*/ 1296017 w 7371707"/>
                  <a:gd name="connsiteY381" fmla="*/ 184466 h 222980"/>
                  <a:gd name="connsiteX382" fmla="*/ 1251167 w 7371707"/>
                  <a:gd name="connsiteY382" fmla="*/ 222980 h 222980"/>
                  <a:gd name="connsiteX383" fmla="*/ 1251167 w 7371707"/>
                  <a:gd name="connsiteY383" fmla="*/ 203469 h 222980"/>
                  <a:gd name="connsiteX384" fmla="*/ 1266814 w 7371707"/>
                  <a:gd name="connsiteY384" fmla="*/ 197388 h 222980"/>
                  <a:gd name="connsiteX385" fmla="*/ 1271438 w 7371707"/>
                  <a:gd name="connsiteY385" fmla="*/ 178131 h 222980"/>
                  <a:gd name="connsiteX386" fmla="*/ 1271438 w 7371707"/>
                  <a:gd name="connsiteY386" fmla="*/ 142783 h 222980"/>
                  <a:gd name="connsiteX387" fmla="*/ 1296397 w 7371707"/>
                  <a:gd name="connsiteY387" fmla="*/ 111490 h 222980"/>
                  <a:gd name="connsiteX388" fmla="*/ 1296397 w 7371707"/>
                  <a:gd name="connsiteY388" fmla="*/ 111110 h 222980"/>
                  <a:gd name="connsiteX389" fmla="*/ 1271438 w 7371707"/>
                  <a:gd name="connsiteY389" fmla="*/ 79563 h 222980"/>
                  <a:gd name="connsiteX390" fmla="*/ 1271438 w 7371707"/>
                  <a:gd name="connsiteY390" fmla="*/ 43836 h 222980"/>
                  <a:gd name="connsiteX391" fmla="*/ 1251167 w 7371707"/>
                  <a:gd name="connsiteY391" fmla="*/ 19638 h 222980"/>
                  <a:gd name="connsiteX392" fmla="*/ 1233683 w 7371707"/>
                  <a:gd name="connsiteY392" fmla="*/ 0 h 222980"/>
                  <a:gd name="connsiteX393" fmla="*/ 1233683 w 7371707"/>
                  <a:gd name="connsiteY393" fmla="*/ 19638 h 222980"/>
                  <a:gd name="connsiteX394" fmla="*/ 1213539 w 7371707"/>
                  <a:gd name="connsiteY394" fmla="*/ 43836 h 222980"/>
                  <a:gd name="connsiteX395" fmla="*/ 1213539 w 7371707"/>
                  <a:gd name="connsiteY395" fmla="*/ 79563 h 222980"/>
                  <a:gd name="connsiteX396" fmla="*/ 1188327 w 7371707"/>
                  <a:gd name="connsiteY396" fmla="*/ 111110 h 222980"/>
                  <a:gd name="connsiteX397" fmla="*/ 1188327 w 7371707"/>
                  <a:gd name="connsiteY397" fmla="*/ 111490 h 222980"/>
                  <a:gd name="connsiteX398" fmla="*/ 1213539 w 7371707"/>
                  <a:gd name="connsiteY398" fmla="*/ 142783 h 222980"/>
                  <a:gd name="connsiteX399" fmla="*/ 1213539 w 7371707"/>
                  <a:gd name="connsiteY399" fmla="*/ 178131 h 222980"/>
                  <a:gd name="connsiteX400" fmla="*/ 1218037 w 7371707"/>
                  <a:gd name="connsiteY400" fmla="*/ 197451 h 222980"/>
                  <a:gd name="connsiteX401" fmla="*/ 1233683 w 7371707"/>
                  <a:gd name="connsiteY401" fmla="*/ 203469 h 222980"/>
                  <a:gd name="connsiteX402" fmla="*/ 1233683 w 7371707"/>
                  <a:gd name="connsiteY402" fmla="*/ 222980 h 222980"/>
                  <a:gd name="connsiteX403" fmla="*/ 1188581 w 7371707"/>
                  <a:gd name="connsiteY403" fmla="*/ 184466 h 222980"/>
                  <a:gd name="connsiteX404" fmla="*/ 1188581 w 7371707"/>
                  <a:gd name="connsiteY404" fmla="*/ 147091 h 222980"/>
                  <a:gd name="connsiteX405" fmla="*/ 1168816 w 7371707"/>
                  <a:gd name="connsiteY405" fmla="*/ 120738 h 222980"/>
                  <a:gd name="connsiteX406" fmla="*/ 1168816 w 7371707"/>
                  <a:gd name="connsiteY406" fmla="*/ 102242 h 222980"/>
                  <a:gd name="connsiteX407" fmla="*/ 1188581 w 7371707"/>
                  <a:gd name="connsiteY407" fmla="*/ 75382 h 222980"/>
                  <a:gd name="connsiteX408" fmla="*/ 1188581 w 7371707"/>
                  <a:gd name="connsiteY408" fmla="*/ 39022 h 222980"/>
                  <a:gd name="connsiteX409" fmla="*/ 1233683 w 7371707"/>
                  <a:gd name="connsiteY40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371707" h="222980">
                    <a:moveTo>
                      <a:pt x="6225656" y="169438"/>
                    </a:moveTo>
                    <a:cubicBezTo>
                      <a:pt x="6221137" y="187337"/>
                      <a:pt x="6215993" y="198636"/>
                      <a:pt x="6202465" y="208685"/>
                    </a:cubicBezTo>
                    <a:cubicBezTo>
                      <a:pt x="6201097" y="216029"/>
                      <a:pt x="6213406" y="212104"/>
                      <a:pt x="6218877" y="212075"/>
                    </a:cubicBezTo>
                    <a:cubicBezTo>
                      <a:pt x="6224348" y="212045"/>
                      <a:pt x="6233833" y="213517"/>
                      <a:pt x="6235289" y="208507"/>
                    </a:cubicBezTo>
                    <a:cubicBezTo>
                      <a:pt x="6236271" y="205058"/>
                      <a:pt x="6233862" y="202412"/>
                      <a:pt x="6232346" y="199052"/>
                    </a:cubicBezTo>
                    <a:cubicBezTo>
                      <a:pt x="6231573" y="195365"/>
                      <a:pt x="6234442" y="190786"/>
                      <a:pt x="6233327" y="185851"/>
                    </a:cubicBezTo>
                    <a:cubicBezTo>
                      <a:pt x="6232212" y="180915"/>
                      <a:pt x="6228927" y="173125"/>
                      <a:pt x="6225656" y="169438"/>
                    </a:cubicBezTo>
                    <a:close/>
                    <a:moveTo>
                      <a:pt x="179758" y="169438"/>
                    </a:moveTo>
                    <a:cubicBezTo>
                      <a:pt x="175239" y="187337"/>
                      <a:pt x="170095" y="198636"/>
                      <a:pt x="156567" y="208685"/>
                    </a:cubicBezTo>
                    <a:cubicBezTo>
                      <a:pt x="155199" y="216029"/>
                      <a:pt x="167508" y="212104"/>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8" y="173125"/>
                      <a:pt x="179758" y="169438"/>
                    </a:cubicBezTo>
                    <a:close/>
                    <a:moveTo>
                      <a:pt x="6065635" y="153026"/>
                    </a:moveTo>
                    <a:cubicBezTo>
                      <a:pt x="6060818" y="158526"/>
                      <a:pt x="6051988" y="169022"/>
                      <a:pt x="6051988" y="173274"/>
                    </a:cubicBezTo>
                    <a:cubicBezTo>
                      <a:pt x="6052255" y="178566"/>
                      <a:pt x="6066438" y="194206"/>
                      <a:pt x="6073484" y="194860"/>
                    </a:cubicBezTo>
                    <a:cubicBezTo>
                      <a:pt x="6079312" y="195008"/>
                      <a:pt x="6079877" y="191946"/>
                      <a:pt x="6082404" y="187635"/>
                    </a:cubicBezTo>
                    <a:cubicBezTo>
                      <a:pt x="6074317" y="176188"/>
                      <a:pt x="6070957" y="170360"/>
                      <a:pt x="6065635" y="153026"/>
                    </a:cubicBezTo>
                    <a:close/>
                    <a:moveTo>
                      <a:pt x="19737" y="153026"/>
                    </a:moveTo>
                    <a:cubicBezTo>
                      <a:pt x="14920" y="158526"/>
                      <a:pt x="6090" y="169022"/>
                      <a:pt x="6090" y="173274"/>
                    </a:cubicBezTo>
                    <a:cubicBezTo>
                      <a:pt x="6357" y="178566"/>
                      <a:pt x="20540" y="194206"/>
                      <a:pt x="27586" y="194860"/>
                    </a:cubicBezTo>
                    <a:cubicBezTo>
                      <a:pt x="33414" y="195008"/>
                      <a:pt x="33979" y="191946"/>
                      <a:pt x="36506" y="187635"/>
                    </a:cubicBezTo>
                    <a:cubicBezTo>
                      <a:pt x="28419" y="176188"/>
                      <a:pt x="25059" y="170360"/>
                      <a:pt x="19737" y="153026"/>
                    </a:cubicBezTo>
                    <a:close/>
                    <a:moveTo>
                      <a:pt x="6049247" y="84735"/>
                    </a:moveTo>
                    <a:lnTo>
                      <a:pt x="6049046" y="86252"/>
                    </a:lnTo>
                    <a:lnTo>
                      <a:pt x="6048980" y="84992"/>
                    </a:lnTo>
                    <a:close/>
                    <a:moveTo>
                      <a:pt x="3349" y="84735"/>
                    </a:moveTo>
                    <a:lnTo>
                      <a:pt x="3148" y="86252"/>
                    </a:lnTo>
                    <a:lnTo>
                      <a:pt x="3082" y="84992"/>
                    </a:lnTo>
                    <a:close/>
                    <a:moveTo>
                      <a:pt x="6251167" y="57540"/>
                    </a:moveTo>
                    <a:cubicBezTo>
                      <a:pt x="6251129" y="57711"/>
                      <a:pt x="6248271" y="58774"/>
                      <a:pt x="6247175" y="60394"/>
                    </a:cubicBezTo>
                    <a:cubicBezTo>
                      <a:pt x="6251712" y="61906"/>
                      <a:pt x="6253306" y="63329"/>
                      <a:pt x="6254097" y="68765"/>
                    </a:cubicBezTo>
                    <a:cubicBezTo>
                      <a:pt x="6254311" y="68724"/>
                      <a:pt x="6255805" y="67519"/>
                      <a:pt x="6260978" y="67039"/>
                    </a:cubicBezTo>
                    <a:cubicBezTo>
                      <a:pt x="6249234" y="71737"/>
                      <a:pt x="6243287" y="76792"/>
                      <a:pt x="6234754" y="86217"/>
                    </a:cubicBezTo>
                    <a:cubicBezTo>
                      <a:pt x="6237453" y="80910"/>
                      <a:pt x="6239752" y="78660"/>
                      <a:pt x="6239771" y="78594"/>
                    </a:cubicBezTo>
                    <a:cubicBezTo>
                      <a:pt x="6235304" y="77077"/>
                      <a:pt x="6234048" y="76719"/>
                      <a:pt x="6231989" y="71633"/>
                    </a:cubicBezTo>
                    <a:cubicBezTo>
                      <a:pt x="6231718" y="71782"/>
                      <a:pt x="6231268" y="71551"/>
                      <a:pt x="6227172" y="75692"/>
                    </a:cubicBezTo>
                    <a:cubicBezTo>
                      <a:pt x="6234368" y="61539"/>
                      <a:pt x="6241117" y="60632"/>
                      <a:pt x="6251167" y="57540"/>
                    </a:cubicBezTo>
                    <a:close/>
                    <a:moveTo>
                      <a:pt x="205269" y="57540"/>
                    </a:moveTo>
                    <a:cubicBezTo>
                      <a:pt x="205231" y="57711"/>
                      <a:pt x="202373" y="58774"/>
                      <a:pt x="201277" y="60394"/>
                    </a:cubicBezTo>
                    <a:cubicBezTo>
                      <a:pt x="205814" y="61906"/>
                      <a:pt x="207408" y="63329"/>
                      <a:pt x="208199" y="68765"/>
                    </a:cubicBezTo>
                    <a:cubicBezTo>
                      <a:pt x="208413" y="68724"/>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6224598" y="41128"/>
                    </a:moveTo>
                    <a:cubicBezTo>
                      <a:pt x="6225298" y="41073"/>
                      <a:pt x="6226057" y="41093"/>
                      <a:pt x="6226882" y="41165"/>
                    </a:cubicBezTo>
                    <a:cubicBezTo>
                      <a:pt x="6229083" y="41358"/>
                      <a:pt x="6231751" y="41923"/>
                      <a:pt x="6235022" y="42421"/>
                    </a:cubicBezTo>
                    <a:cubicBezTo>
                      <a:pt x="6223902" y="44175"/>
                      <a:pt x="6220810" y="50389"/>
                      <a:pt x="6216112" y="61331"/>
                    </a:cubicBezTo>
                    <a:cubicBezTo>
                      <a:pt x="6217673" y="45604"/>
                      <a:pt x="6219695" y="41517"/>
                      <a:pt x="6224598" y="41128"/>
                    </a:cubicBezTo>
                    <a:close/>
                    <a:moveTo>
                      <a:pt x="178700" y="41128"/>
                    </a:moveTo>
                    <a:cubicBezTo>
                      <a:pt x="179400" y="41073"/>
                      <a:pt x="180159" y="41093"/>
                      <a:pt x="180984"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6327201" y="19051"/>
                    </a:moveTo>
                    <a:cubicBezTo>
                      <a:pt x="6328799" y="21107"/>
                      <a:pt x="6323938" y="28848"/>
                      <a:pt x="6319004" y="32972"/>
                    </a:cubicBezTo>
                    <a:cubicBezTo>
                      <a:pt x="6314069" y="37095"/>
                      <a:pt x="6306799" y="36673"/>
                      <a:pt x="6306828" y="34963"/>
                    </a:cubicBezTo>
                    <a:cubicBezTo>
                      <a:pt x="6306856" y="33254"/>
                      <a:pt x="6314573" y="30986"/>
                      <a:pt x="6317969" y="28334"/>
                    </a:cubicBezTo>
                    <a:cubicBezTo>
                      <a:pt x="6321364" y="25682"/>
                      <a:pt x="6326072" y="18065"/>
                      <a:pt x="6327201" y="19051"/>
                    </a:cubicBezTo>
                    <a:close/>
                    <a:moveTo>
                      <a:pt x="281303" y="19051"/>
                    </a:moveTo>
                    <a:cubicBezTo>
                      <a:pt x="282900" y="21107"/>
                      <a:pt x="278040" y="28848"/>
                      <a:pt x="273105" y="32972"/>
                    </a:cubicBezTo>
                    <a:cubicBezTo>
                      <a:pt x="268171" y="37095"/>
                      <a:pt x="260901" y="36673"/>
                      <a:pt x="260930" y="34963"/>
                    </a:cubicBezTo>
                    <a:cubicBezTo>
                      <a:pt x="260958" y="33254"/>
                      <a:pt x="268675" y="30986"/>
                      <a:pt x="272071" y="28334"/>
                    </a:cubicBezTo>
                    <a:cubicBezTo>
                      <a:pt x="275466" y="25682"/>
                      <a:pt x="280174" y="18065"/>
                      <a:pt x="281303" y="19051"/>
                    </a:cubicBezTo>
                    <a:close/>
                    <a:moveTo>
                      <a:pt x="6223264" y="46"/>
                    </a:moveTo>
                    <a:cubicBezTo>
                      <a:pt x="6225203" y="121"/>
                      <a:pt x="6227160" y="288"/>
                      <a:pt x="6229127" y="560"/>
                    </a:cubicBezTo>
                    <a:cubicBezTo>
                      <a:pt x="6244864" y="2733"/>
                      <a:pt x="6265109" y="19235"/>
                      <a:pt x="6272112" y="29780"/>
                    </a:cubicBezTo>
                    <a:cubicBezTo>
                      <a:pt x="6281531" y="32356"/>
                      <a:pt x="6287528" y="46000"/>
                      <a:pt x="6289983" y="50789"/>
                    </a:cubicBezTo>
                    <a:cubicBezTo>
                      <a:pt x="6292438" y="55579"/>
                      <a:pt x="6289580" y="58316"/>
                      <a:pt x="6286843" y="58517"/>
                    </a:cubicBezTo>
                    <a:cubicBezTo>
                      <a:pt x="6286803" y="59101"/>
                      <a:pt x="6295285" y="65882"/>
                      <a:pt x="6299869" y="68554"/>
                    </a:cubicBezTo>
                    <a:cubicBezTo>
                      <a:pt x="6303416" y="53134"/>
                      <a:pt x="6298269" y="42785"/>
                      <a:pt x="6298193" y="31470"/>
                    </a:cubicBezTo>
                    <a:cubicBezTo>
                      <a:pt x="6303587" y="22052"/>
                      <a:pt x="6308014" y="25433"/>
                      <a:pt x="6313407" y="21811"/>
                    </a:cubicBezTo>
                    <a:cubicBezTo>
                      <a:pt x="6316627" y="18108"/>
                      <a:pt x="6319606" y="10300"/>
                      <a:pt x="6325240" y="10702"/>
                    </a:cubicBezTo>
                    <a:cubicBezTo>
                      <a:pt x="6335061" y="11105"/>
                      <a:pt x="6347538" y="29378"/>
                      <a:pt x="6347940" y="72765"/>
                    </a:cubicBezTo>
                    <a:cubicBezTo>
                      <a:pt x="6348182" y="107217"/>
                      <a:pt x="6334417" y="130320"/>
                      <a:pt x="6310509" y="140624"/>
                    </a:cubicBezTo>
                    <a:cubicBezTo>
                      <a:pt x="6298284" y="143884"/>
                      <a:pt x="6287790" y="143680"/>
                      <a:pt x="6278698" y="141337"/>
                    </a:cubicBezTo>
                    <a:lnTo>
                      <a:pt x="6274718" y="139951"/>
                    </a:lnTo>
                    <a:lnTo>
                      <a:pt x="6274241" y="142212"/>
                    </a:lnTo>
                    <a:cubicBezTo>
                      <a:pt x="6269389" y="160826"/>
                      <a:pt x="6255746" y="162257"/>
                      <a:pt x="6249654" y="162116"/>
                    </a:cubicBezTo>
                    <a:cubicBezTo>
                      <a:pt x="6242691" y="161955"/>
                      <a:pt x="6232387" y="155515"/>
                      <a:pt x="6228161" y="152456"/>
                    </a:cubicBezTo>
                    <a:cubicBezTo>
                      <a:pt x="6228040" y="157125"/>
                      <a:pt x="6229127" y="158775"/>
                      <a:pt x="6227195" y="165014"/>
                    </a:cubicBezTo>
                    <a:cubicBezTo>
                      <a:pt x="6232266" y="168354"/>
                      <a:pt x="6235325" y="180268"/>
                      <a:pt x="6236855" y="185540"/>
                    </a:cubicBezTo>
                    <a:cubicBezTo>
                      <a:pt x="6238384" y="190813"/>
                      <a:pt x="6236493" y="192020"/>
                      <a:pt x="6236372" y="196649"/>
                    </a:cubicBezTo>
                    <a:cubicBezTo>
                      <a:pt x="6236251" y="201277"/>
                      <a:pt x="6241081" y="204980"/>
                      <a:pt x="6238545" y="210414"/>
                    </a:cubicBezTo>
                    <a:cubicBezTo>
                      <a:pt x="6236010" y="215847"/>
                      <a:pt x="6229409" y="216129"/>
                      <a:pt x="6222607" y="216210"/>
                    </a:cubicBezTo>
                    <a:cubicBezTo>
                      <a:pt x="6215805" y="216290"/>
                      <a:pt x="6200591" y="220959"/>
                      <a:pt x="6197733" y="210897"/>
                    </a:cubicBezTo>
                    <a:cubicBezTo>
                      <a:pt x="6197376" y="209639"/>
                      <a:pt x="6197126" y="208140"/>
                      <a:pt x="6196974" y="206443"/>
                    </a:cubicBezTo>
                    <a:cubicBezTo>
                      <a:pt x="6196961" y="205994"/>
                      <a:pt x="6196948" y="205546"/>
                      <a:pt x="6196934" y="205098"/>
                    </a:cubicBezTo>
                    <a:lnTo>
                      <a:pt x="6193195" y="208642"/>
                    </a:lnTo>
                    <a:cubicBezTo>
                      <a:pt x="6184647" y="216689"/>
                      <a:pt x="6176940" y="223273"/>
                      <a:pt x="6169721" y="222971"/>
                    </a:cubicBezTo>
                    <a:cubicBezTo>
                      <a:pt x="6157686" y="220556"/>
                      <a:pt x="6148389" y="201398"/>
                      <a:pt x="6146296" y="194717"/>
                    </a:cubicBezTo>
                    <a:cubicBezTo>
                      <a:pt x="6144203" y="188036"/>
                      <a:pt x="6151005" y="186788"/>
                      <a:pt x="6157163" y="182884"/>
                    </a:cubicBezTo>
                    <a:cubicBezTo>
                      <a:pt x="6151005" y="186466"/>
                      <a:pt x="6134342" y="183528"/>
                      <a:pt x="6132290" y="180469"/>
                    </a:cubicBezTo>
                    <a:cubicBezTo>
                      <a:pt x="6132893" y="186828"/>
                      <a:pt x="6132531" y="187754"/>
                      <a:pt x="6131324" y="191336"/>
                    </a:cubicBezTo>
                    <a:cubicBezTo>
                      <a:pt x="6130116" y="194918"/>
                      <a:pt x="6126937" y="197011"/>
                      <a:pt x="6125045" y="201962"/>
                    </a:cubicBezTo>
                    <a:cubicBezTo>
                      <a:pt x="6123153" y="206912"/>
                      <a:pt x="6127500" y="219268"/>
                      <a:pt x="6119974" y="221039"/>
                    </a:cubicBezTo>
                    <a:cubicBezTo>
                      <a:pt x="6112447" y="222810"/>
                      <a:pt x="6089063" y="222126"/>
                      <a:pt x="6079886" y="212587"/>
                    </a:cubicBezTo>
                    <a:cubicBezTo>
                      <a:pt x="6076023" y="207878"/>
                      <a:pt x="6082301" y="200593"/>
                      <a:pt x="6080852" y="198581"/>
                    </a:cubicBezTo>
                    <a:cubicBezTo>
                      <a:pt x="6079404" y="196568"/>
                      <a:pt x="6076989" y="204497"/>
                      <a:pt x="6071193" y="200513"/>
                    </a:cubicBezTo>
                    <a:cubicBezTo>
                      <a:pt x="6065397" y="196528"/>
                      <a:pt x="6047728" y="183407"/>
                      <a:pt x="6046078" y="174673"/>
                    </a:cubicBezTo>
                    <a:cubicBezTo>
                      <a:pt x="6044428" y="165939"/>
                      <a:pt x="6054490" y="156763"/>
                      <a:pt x="6061292" y="148110"/>
                    </a:cubicBezTo>
                    <a:cubicBezTo>
                      <a:pt x="6059642" y="138732"/>
                      <a:pt x="6058957" y="132453"/>
                      <a:pt x="6062741" y="121546"/>
                    </a:cubicBezTo>
                    <a:cubicBezTo>
                      <a:pt x="6057669" y="118447"/>
                      <a:pt x="6046641" y="114060"/>
                      <a:pt x="6047285" y="99570"/>
                    </a:cubicBezTo>
                    <a:lnTo>
                      <a:pt x="6049046" y="86252"/>
                    </a:lnTo>
                    <a:lnTo>
                      <a:pt x="6049505" y="94972"/>
                    </a:lnTo>
                    <a:lnTo>
                      <a:pt x="6050328" y="95367"/>
                    </a:lnTo>
                    <a:lnTo>
                      <a:pt x="6050451" y="96542"/>
                    </a:lnTo>
                    <a:cubicBezTo>
                      <a:pt x="6051475" y="104920"/>
                      <a:pt x="6054218" y="114203"/>
                      <a:pt x="6070006" y="110389"/>
                    </a:cubicBezTo>
                    <a:cubicBezTo>
                      <a:pt x="6063216" y="146421"/>
                      <a:pt x="6078552" y="164288"/>
                      <a:pt x="6088229" y="181019"/>
                    </a:cubicBezTo>
                    <a:lnTo>
                      <a:pt x="6089191" y="182868"/>
                    </a:lnTo>
                    <a:lnTo>
                      <a:pt x="6089157" y="183736"/>
                    </a:lnTo>
                    <a:cubicBezTo>
                      <a:pt x="6088866" y="188844"/>
                      <a:pt x="6088135" y="192384"/>
                      <a:pt x="6087756" y="197179"/>
                    </a:cubicBezTo>
                    <a:cubicBezTo>
                      <a:pt x="6086656" y="200955"/>
                      <a:pt x="6083950" y="200538"/>
                      <a:pt x="6084456" y="208507"/>
                    </a:cubicBezTo>
                    <a:cubicBezTo>
                      <a:pt x="6084783" y="213472"/>
                      <a:pt x="6113921" y="221470"/>
                      <a:pt x="6118619" y="215107"/>
                    </a:cubicBezTo>
                    <a:cubicBezTo>
                      <a:pt x="6119986" y="212907"/>
                      <a:pt x="6119392" y="207853"/>
                      <a:pt x="6119778" y="204225"/>
                    </a:cubicBezTo>
                    <a:cubicBezTo>
                      <a:pt x="6120373" y="200182"/>
                      <a:pt x="6125606" y="195781"/>
                      <a:pt x="6126379" y="190043"/>
                    </a:cubicBezTo>
                    <a:cubicBezTo>
                      <a:pt x="6126884" y="185479"/>
                      <a:pt x="6126832" y="180313"/>
                      <a:pt x="6126658" y="174935"/>
                    </a:cubicBezTo>
                    <a:lnTo>
                      <a:pt x="6126450" y="169256"/>
                    </a:lnTo>
                    <a:lnTo>
                      <a:pt x="6128038" y="171105"/>
                    </a:lnTo>
                    <a:cubicBezTo>
                      <a:pt x="6138311" y="181583"/>
                      <a:pt x="6160099" y="185111"/>
                      <a:pt x="6167410" y="168903"/>
                    </a:cubicBezTo>
                    <a:cubicBezTo>
                      <a:pt x="6167499" y="174106"/>
                      <a:pt x="6169194" y="176098"/>
                      <a:pt x="6168302" y="182640"/>
                    </a:cubicBezTo>
                    <a:cubicBezTo>
                      <a:pt x="6165745" y="186772"/>
                      <a:pt x="6154357" y="187694"/>
                      <a:pt x="6151265" y="195306"/>
                    </a:cubicBezTo>
                    <a:cubicBezTo>
                      <a:pt x="6150343" y="198487"/>
                      <a:pt x="6162445" y="217546"/>
                      <a:pt x="6170175" y="218229"/>
                    </a:cubicBezTo>
                    <a:cubicBezTo>
                      <a:pt x="6175794" y="218883"/>
                      <a:pt x="6186231" y="207853"/>
                      <a:pt x="6205230" y="190489"/>
                    </a:cubicBezTo>
                    <a:cubicBezTo>
                      <a:pt x="6208171" y="187801"/>
                      <a:pt x="6219293" y="166703"/>
                      <a:pt x="6224318" y="148655"/>
                    </a:cubicBezTo>
                    <a:cubicBezTo>
                      <a:pt x="6219196" y="146083"/>
                      <a:pt x="6211774" y="139955"/>
                      <a:pt x="6207455" y="130392"/>
                    </a:cubicBezTo>
                    <a:lnTo>
                      <a:pt x="6207261" y="129884"/>
                    </a:lnTo>
                    <a:lnTo>
                      <a:pt x="6209879" y="131532"/>
                    </a:lnTo>
                    <a:cubicBezTo>
                      <a:pt x="6216469" y="135922"/>
                      <a:pt x="6223159" y="140739"/>
                      <a:pt x="6229046" y="142144"/>
                    </a:cubicBezTo>
                    <a:cubicBezTo>
                      <a:pt x="6233387" y="147139"/>
                      <a:pt x="6238441" y="155077"/>
                      <a:pt x="6250364" y="156594"/>
                    </a:cubicBezTo>
                    <a:cubicBezTo>
                      <a:pt x="6260532" y="158318"/>
                      <a:pt x="6267757" y="148715"/>
                      <a:pt x="6271325" y="138219"/>
                    </a:cubicBezTo>
                    <a:lnTo>
                      <a:pt x="6268025" y="137952"/>
                    </a:lnTo>
                    <a:cubicBezTo>
                      <a:pt x="6252861" y="163373"/>
                      <a:pt x="6236835" y="140188"/>
                      <a:pt x="6240232" y="115804"/>
                    </a:cubicBezTo>
                    <a:lnTo>
                      <a:pt x="6241157" y="111028"/>
                    </a:lnTo>
                    <a:lnTo>
                      <a:pt x="6242909" y="112937"/>
                    </a:lnTo>
                    <a:cubicBezTo>
                      <a:pt x="6273181" y="143789"/>
                      <a:pt x="6299651" y="139278"/>
                      <a:pt x="6314676" y="131083"/>
                    </a:cubicBezTo>
                    <a:cubicBezTo>
                      <a:pt x="6355825" y="105721"/>
                      <a:pt x="6343769" y="18193"/>
                      <a:pt x="6326539" y="13967"/>
                    </a:cubicBezTo>
                    <a:cubicBezTo>
                      <a:pt x="6322599" y="13000"/>
                      <a:pt x="6319849" y="23154"/>
                      <a:pt x="6317262" y="24671"/>
                    </a:cubicBezTo>
                    <a:cubicBezTo>
                      <a:pt x="6309324" y="28863"/>
                      <a:pt x="6305845" y="28238"/>
                      <a:pt x="6303704" y="31539"/>
                    </a:cubicBezTo>
                    <a:cubicBezTo>
                      <a:pt x="6299467" y="37727"/>
                      <a:pt x="6315065" y="73549"/>
                      <a:pt x="6295227" y="92334"/>
                    </a:cubicBezTo>
                    <a:lnTo>
                      <a:pt x="6293747" y="93502"/>
                    </a:lnTo>
                    <a:lnTo>
                      <a:pt x="6294058" y="92901"/>
                    </a:lnTo>
                    <a:cubicBezTo>
                      <a:pt x="6297817" y="85637"/>
                      <a:pt x="6301764" y="77319"/>
                      <a:pt x="6297282" y="73818"/>
                    </a:cubicBezTo>
                    <a:cubicBezTo>
                      <a:pt x="6292019" y="69626"/>
                      <a:pt x="6288719" y="72837"/>
                      <a:pt x="6284705" y="76227"/>
                    </a:cubicBezTo>
                    <a:cubicBezTo>
                      <a:pt x="6287292" y="73283"/>
                      <a:pt x="6290414" y="72748"/>
                      <a:pt x="6286043" y="65791"/>
                    </a:cubicBezTo>
                    <a:cubicBezTo>
                      <a:pt x="6282564" y="63442"/>
                      <a:pt x="6280691" y="64036"/>
                      <a:pt x="6274269" y="65701"/>
                    </a:cubicBezTo>
                    <a:cubicBezTo>
                      <a:pt x="6278342" y="62669"/>
                      <a:pt x="6279650" y="63828"/>
                      <a:pt x="6277658" y="57941"/>
                    </a:cubicBezTo>
                    <a:cubicBezTo>
                      <a:pt x="6274938" y="54284"/>
                      <a:pt x="6273572" y="54591"/>
                      <a:pt x="6270851" y="54797"/>
                    </a:cubicBezTo>
                    <a:lnTo>
                      <a:pt x="6268965" y="54810"/>
                    </a:lnTo>
                    <a:lnTo>
                      <a:pt x="6270516" y="54253"/>
                    </a:lnTo>
                    <a:cubicBezTo>
                      <a:pt x="6271386" y="53960"/>
                      <a:pt x="6272173" y="53723"/>
                      <a:pt x="6272842" y="53571"/>
                    </a:cubicBezTo>
                    <a:cubicBezTo>
                      <a:pt x="6278194" y="52352"/>
                      <a:pt x="6284051" y="54031"/>
                      <a:pt x="6284081" y="50984"/>
                    </a:cubicBezTo>
                    <a:cubicBezTo>
                      <a:pt x="6284735" y="47654"/>
                      <a:pt x="6276380" y="37277"/>
                      <a:pt x="6272663" y="36445"/>
                    </a:cubicBezTo>
                    <a:cubicBezTo>
                      <a:pt x="6270679" y="35820"/>
                      <a:pt x="6265483" y="35296"/>
                      <a:pt x="6260764" y="34985"/>
                    </a:cubicBezTo>
                    <a:lnTo>
                      <a:pt x="6259665" y="34927"/>
                    </a:lnTo>
                    <a:lnTo>
                      <a:pt x="6259674" y="34903"/>
                    </a:lnTo>
                    <a:cubicBezTo>
                      <a:pt x="6260794" y="33356"/>
                      <a:pt x="6264524" y="32788"/>
                      <a:pt x="6267401" y="32520"/>
                    </a:cubicBezTo>
                    <a:cubicBezTo>
                      <a:pt x="6255329" y="16583"/>
                      <a:pt x="6239065" y="6355"/>
                      <a:pt x="6225032" y="6564"/>
                    </a:cubicBezTo>
                    <a:cubicBezTo>
                      <a:pt x="6208114" y="7069"/>
                      <a:pt x="6186914" y="11410"/>
                      <a:pt x="6174902" y="30022"/>
                    </a:cubicBezTo>
                    <a:cubicBezTo>
                      <a:pt x="6181042" y="29956"/>
                      <a:pt x="6185610" y="29983"/>
                      <a:pt x="6189039" y="30347"/>
                    </a:cubicBezTo>
                    <a:lnTo>
                      <a:pt x="6189612" y="30430"/>
                    </a:lnTo>
                    <a:lnTo>
                      <a:pt x="6187218" y="31081"/>
                    </a:lnTo>
                    <a:cubicBezTo>
                      <a:pt x="6174498" y="34141"/>
                      <a:pt x="6165637" y="33684"/>
                      <a:pt x="6162785" y="36163"/>
                    </a:cubicBezTo>
                    <a:cubicBezTo>
                      <a:pt x="6156823" y="40335"/>
                      <a:pt x="6118214" y="75904"/>
                      <a:pt x="6116622" y="96042"/>
                    </a:cubicBezTo>
                    <a:cubicBezTo>
                      <a:pt x="6120711" y="106732"/>
                      <a:pt x="6121480" y="99178"/>
                      <a:pt x="6130509" y="118005"/>
                    </a:cubicBezTo>
                    <a:lnTo>
                      <a:pt x="6144918" y="101579"/>
                    </a:lnTo>
                    <a:lnTo>
                      <a:pt x="6128060" y="136449"/>
                    </a:lnTo>
                    <a:cubicBezTo>
                      <a:pt x="6132264" y="142587"/>
                      <a:pt x="6135129" y="145872"/>
                      <a:pt x="6143882" y="145767"/>
                    </a:cubicBezTo>
                    <a:cubicBezTo>
                      <a:pt x="6153230" y="144527"/>
                      <a:pt x="6161864" y="136865"/>
                      <a:pt x="6170854" y="132414"/>
                    </a:cubicBezTo>
                    <a:cubicBezTo>
                      <a:pt x="6179740" y="128716"/>
                      <a:pt x="6182381" y="131262"/>
                      <a:pt x="6188145" y="130685"/>
                    </a:cubicBezTo>
                    <a:cubicBezTo>
                      <a:pt x="6200290" y="97744"/>
                      <a:pt x="6181215" y="97895"/>
                      <a:pt x="6194341" y="62099"/>
                    </a:cubicBezTo>
                    <a:cubicBezTo>
                      <a:pt x="6189675" y="91013"/>
                      <a:pt x="6208201" y="91027"/>
                      <a:pt x="6195061" y="139475"/>
                    </a:cubicBezTo>
                    <a:lnTo>
                      <a:pt x="6192968" y="139132"/>
                    </a:lnTo>
                    <a:lnTo>
                      <a:pt x="6190317" y="138454"/>
                    </a:lnTo>
                    <a:lnTo>
                      <a:pt x="6187601" y="138030"/>
                    </a:lnTo>
                    <a:lnTo>
                      <a:pt x="6186840" y="137854"/>
                    </a:lnTo>
                    <a:cubicBezTo>
                      <a:pt x="6184785" y="137448"/>
                      <a:pt x="6182623" y="137231"/>
                      <a:pt x="6180115" y="137626"/>
                    </a:cubicBezTo>
                    <a:lnTo>
                      <a:pt x="6179136" y="137854"/>
                    </a:lnTo>
                    <a:lnTo>
                      <a:pt x="6178544" y="137905"/>
                    </a:lnTo>
                    <a:cubicBezTo>
                      <a:pt x="6165431" y="139947"/>
                      <a:pt x="6160608" y="151510"/>
                      <a:pt x="6139580" y="153739"/>
                    </a:cubicBezTo>
                    <a:cubicBezTo>
                      <a:pt x="6133310" y="152517"/>
                      <a:pt x="6123284" y="143304"/>
                      <a:pt x="6117390" y="136140"/>
                    </a:cubicBezTo>
                    <a:lnTo>
                      <a:pt x="6116935" y="135551"/>
                    </a:lnTo>
                    <a:lnTo>
                      <a:pt x="6118646" y="132692"/>
                    </a:lnTo>
                    <a:cubicBezTo>
                      <a:pt x="6120473" y="129846"/>
                      <a:pt x="6122473" y="126936"/>
                      <a:pt x="6124684" y="123947"/>
                    </a:cubicBezTo>
                    <a:cubicBezTo>
                      <a:pt x="6120819" y="113571"/>
                      <a:pt x="6110620" y="109973"/>
                      <a:pt x="6107736" y="97099"/>
                    </a:cubicBezTo>
                    <a:cubicBezTo>
                      <a:pt x="6112404" y="83779"/>
                      <a:pt x="6114307" y="75097"/>
                      <a:pt x="6137796" y="51251"/>
                    </a:cubicBezTo>
                    <a:cubicBezTo>
                      <a:pt x="6075358" y="60201"/>
                      <a:pt x="6075543" y="110467"/>
                      <a:pt x="6058280" y="98314"/>
                    </a:cubicBezTo>
                    <a:lnTo>
                      <a:pt x="6054679" y="95073"/>
                    </a:lnTo>
                    <a:lnTo>
                      <a:pt x="6055732" y="94482"/>
                    </a:lnTo>
                    <a:cubicBezTo>
                      <a:pt x="6062095" y="90196"/>
                      <a:pt x="6054560" y="84024"/>
                      <a:pt x="6059659" y="74710"/>
                    </a:cubicBezTo>
                    <a:lnTo>
                      <a:pt x="6049247" y="84735"/>
                    </a:lnTo>
                    <a:lnTo>
                      <a:pt x="6050153" y="77882"/>
                    </a:lnTo>
                    <a:cubicBezTo>
                      <a:pt x="6055214" y="72846"/>
                      <a:pt x="6062057" y="70008"/>
                      <a:pt x="6063707" y="69384"/>
                    </a:cubicBezTo>
                    <a:cubicBezTo>
                      <a:pt x="6060607" y="78843"/>
                      <a:pt x="6067369" y="85443"/>
                      <a:pt x="6063707" y="93050"/>
                    </a:cubicBezTo>
                    <a:cubicBezTo>
                      <a:pt x="6098924" y="48254"/>
                      <a:pt x="6123234" y="45396"/>
                      <a:pt x="6139534" y="44994"/>
                    </a:cubicBezTo>
                    <a:cubicBezTo>
                      <a:pt x="6152213" y="33724"/>
                      <a:pt x="6153299" y="30786"/>
                      <a:pt x="6161993" y="28572"/>
                    </a:cubicBezTo>
                    <a:lnTo>
                      <a:pt x="6167988" y="27944"/>
                    </a:lnTo>
                    <a:lnTo>
                      <a:pt x="6168683" y="26457"/>
                    </a:lnTo>
                    <a:cubicBezTo>
                      <a:pt x="6174019" y="15860"/>
                      <a:pt x="6178676" y="12554"/>
                      <a:pt x="6187833" y="8046"/>
                    </a:cubicBezTo>
                    <a:cubicBezTo>
                      <a:pt x="6196989" y="3538"/>
                      <a:pt x="6209689" y="-477"/>
                      <a:pt x="6223264" y="46"/>
                    </a:cubicBezTo>
                    <a:close/>
                    <a:moveTo>
                      <a:pt x="177366" y="46"/>
                    </a:moveTo>
                    <a:cubicBezTo>
                      <a:pt x="179305" y="121"/>
                      <a:pt x="181262" y="288"/>
                      <a:pt x="183229" y="560"/>
                    </a:cubicBezTo>
                    <a:cubicBezTo>
                      <a:pt x="198966" y="2733"/>
                      <a:pt x="219211" y="19235"/>
                      <a:pt x="226215" y="29780"/>
                    </a:cubicBezTo>
                    <a:cubicBezTo>
                      <a:pt x="235633" y="32356"/>
                      <a:pt x="241630" y="46000"/>
                      <a:pt x="244085" y="50789"/>
                    </a:cubicBezTo>
                    <a:cubicBezTo>
                      <a:pt x="246540" y="55579"/>
                      <a:pt x="243682" y="58316"/>
                      <a:pt x="240945" y="58517"/>
                    </a:cubicBezTo>
                    <a:cubicBezTo>
                      <a:pt x="240905" y="59101"/>
                      <a:pt x="249387" y="65882"/>
                      <a:pt x="253971" y="68554"/>
                    </a:cubicBezTo>
                    <a:cubicBezTo>
                      <a:pt x="257518" y="53134"/>
                      <a:pt x="252371" y="42785"/>
                      <a:pt x="252295" y="31470"/>
                    </a:cubicBezTo>
                    <a:cubicBezTo>
                      <a:pt x="257689" y="22052"/>
                      <a:pt x="262116" y="25433"/>
                      <a:pt x="267509" y="21811"/>
                    </a:cubicBezTo>
                    <a:cubicBezTo>
                      <a:pt x="270729" y="18108"/>
                      <a:pt x="273708" y="10300"/>
                      <a:pt x="279342" y="10702"/>
                    </a:cubicBezTo>
                    <a:cubicBezTo>
                      <a:pt x="289163" y="11105"/>
                      <a:pt x="301640" y="29378"/>
                      <a:pt x="302042" y="72765"/>
                    </a:cubicBezTo>
                    <a:cubicBezTo>
                      <a:pt x="302284" y="107217"/>
                      <a:pt x="288519" y="130320"/>
                      <a:pt x="264611" y="140624"/>
                    </a:cubicBezTo>
                    <a:cubicBezTo>
                      <a:pt x="252386" y="143884"/>
                      <a:pt x="241892" y="143680"/>
                      <a:pt x="232800" y="141337"/>
                    </a:cubicBezTo>
                    <a:lnTo>
                      <a:pt x="228820" y="139951"/>
                    </a:lnTo>
                    <a:lnTo>
                      <a:pt x="228343" y="142212"/>
                    </a:lnTo>
                    <a:cubicBezTo>
                      <a:pt x="223491" y="160826"/>
                      <a:pt x="209848" y="162257"/>
                      <a:pt x="203756" y="162116"/>
                    </a:cubicBezTo>
                    <a:cubicBezTo>
                      <a:pt x="196793" y="161955"/>
                      <a:pt x="186489" y="155515"/>
                      <a:pt x="182263" y="152456"/>
                    </a:cubicBezTo>
                    <a:cubicBezTo>
                      <a:pt x="182142" y="157125"/>
                      <a:pt x="183229" y="158775"/>
                      <a:pt x="181297" y="165014"/>
                    </a:cubicBezTo>
                    <a:cubicBezTo>
                      <a:pt x="186369" y="168354"/>
                      <a:pt x="189427" y="180268"/>
                      <a:pt x="190957" y="185540"/>
                    </a:cubicBezTo>
                    <a:cubicBezTo>
                      <a:pt x="192486" y="190813"/>
                      <a:pt x="190595" y="192020"/>
                      <a:pt x="190474" y="196649"/>
                    </a:cubicBezTo>
                    <a:cubicBezTo>
                      <a:pt x="190353" y="201277"/>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39"/>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0" y="95367"/>
                    </a:lnTo>
                    <a:lnTo>
                      <a:pt x="4553" y="96542"/>
                    </a:lnTo>
                    <a:cubicBezTo>
                      <a:pt x="5577" y="104920"/>
                      <a:pt x="8320" y="114203"/>
                      <a:pt x="24108" y="110389"/>
                    </a:cubicBezTo>
                    <a:cubicBezTo>
                      <a:pt x="17317" y="146421"/>
                      <a:pt x="32654" y="164288"/>
                      <a:pt x="42331" y="181019"/>
                    </a:cubicBezTo>
                    <a:lnTo>
                      <a:pt x="43293" y="182868"/>
                    </a:lnTo>
                    <a:lnTo>
                      <a:pt x="43259" y="183736"/>
                    </a:lnTo>
                    <a:cubicBezTo>
                      <a:pt x="42968" y="188844"/>
                      <a:pt x="42237" y="192384"/>
                      <a:pt x="41858" y="197179"/>
                    </a:cubicBezTo>
                    <a:cubicBezTo>
                      <a:pt x="40758" y="200955"/>
                      <a:pt x="38052" y="200538"/>
                      <a:pt x="38558" y="208507"/>
                    </a:cubicBezTo>
                    <a:cubicBezTo>
                      <a:pt x="38885" y="213472"/>
                      <a:pt x="68023" y="221470"/>
                      <a:pt x="72721" y="215107"/>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5"/>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8" y="142144"/>
                    </a:cubicBezTo>
                    <a:cubicBezTo>
                      <a:pt x="187489" y="147139"/>
                      <a:pt x="192543" y="155077"/>
                      <a:pt x="204466" y="156594"/>
                    </a:cubicBezTo>
                    <a:cubicBezTo>
                      <a:pt x="214634" y="158318"/>
                      <a:pt x="221859" y="148715"/>
                      <a:pt x="225427" y="138219"/>
                    </a:cubicBezTo>
                    <a:lnTo>
                      <a:pt x="222127" y="137952"/>
                    </a:lnTo>
                    <a:cubicBezTo>
                      <a:pt x="206963" y="163373"/>
                      <a:pt x="190937" y="140188"/>
                      <a:pt x="194334" y="115804"/>
                    </a:cubicBezTo>
                    <a:lnTo>
                      <a:pt x="195258" y="111028"/>
                    </a:lnTo>
                    <a:lnTo>
                      <a:pt x="197011" y="112937"/>
                    </a:lnTo>
                    <a:cubicBezTo>
                      <a:pt x="227283" y="143789"/>
                      <a:pt x="253753" y="139278"/>
                      <a:pt x="268778" y="131083"/>
                    </a:cubicBezTo>
                    <a:cubicBezTo>
                      <a:pt x="309927" y="105721"/>
                      <a:pt x="297871" y="18193"/>
                      <a:pt x="280641" y="13967"/>
                    </a:cubicBezTo>
                    <a:cubicBezTo>
                      <a:pt x="276701" y="13000"/>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19"/>
                      <a:pt x="251384" y="73818"/>
                    </a:cubicBezTo>
                    <a:cubicBezTo>
                      <a:pt x="246121" y="69626"/>
                      <a:pt x="242821" y="72837"/>
                      <a:pt x="238807" y="76227"/>
                    </a:cubicBezTo>
                    <a:cubicBezTo>
                      <a:pt x="241394" y="73283"/>
                      <a:pt x="244516" y="72748"/>
                      <a:pt x="240145" y="65791"/>
                    </a:cubicBezTo>
                    <a:cubicBezTo>
                      <a:pt x="236666" y="63442"/>
                      <a:pt x="234793" y="64036"/>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2"/>
                    </a:cubicBezTo>
                    <a:cubicBezTo>
                      <a:pt x="135144" y="29956"/>
                      <a:pt x="139712" y="29983"/>
                      <a:pt x="143141" y="30347"/>
                    </a:cubicBezTo>
                    <a:lnTo>
                      <a:pt x="143714" y="30430"/>
                    </a:lnTo>
                    <a:lnTo>
                      <a:pt x="141320" y="31081"/>
                    </a:lnTo>
                    <a:cubicBezTo>
                      <a:pt x="128600" y="34141"/>
                      <a:pt x="119739" y="33684"/>
                      <a:pt x="116887" y="36163"/>
                    </a:cubicBezTo>
                    <a:cubicBezTo>
                      <a:pt x="110925" y="40335"/>
                      <a:pt x="72316" y="75904"/>
                      <a:pt x="70724" y="96042"/>
                    </a:cubicBezTo>
                    <a:cubicBezTo>
                      <a:pt x="74813" y="106732"/>
                      <a:pt x="75582" y="99178"/>
                      <a:pt x="84611" y="118005"/>
                    </a:cubicBezTo>
                    <a:lnTo>
                      <a:pt x="99020" y="101579"/>
                    </a:lnTo>
                    <a:lnTo>
                      <a:pt x="82162" y="136449"/>
                    </a:lnTo>
                    <a:cubicBezTo>
                      <a:pt x="86366" y="142587"/>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8"/>
                      <a:pt x="136725" y="137231"/>
                      <a:pt x="134217" y="137626"/>
                    </a:cubicBezTo>
                    <a:lnTo>
                      <a:pt x="133238" y="137854"/>
                    </a:lnTo>
                    <a:lnTo>
                      <a:pt x="132646" y="137905"/>
                    </a:lnTo>
                    <a:cubicBezTo>
                      <a:pt x="119533" y="139947"/>
                      <a:pt x="114710" y="151510"/>
                      <a:pt x="93682" y="153739"/>
                    </a:cubicBezTo>
                    <a:cubicBezTo>
                      <a:pt x="87412" y="152517"/>
                      <a:pt x="77386" y="143304"/>
                      <a:pt x="71492" y="136140"/>
                    </a:cubicBezTo>
                    <a:lnTo>
                      <a:pt x="71037" y="135551"/>
                    </a:lnTo>
                    <a:lnTo>
                      <a:pt x="72748" y="132692"/>
                    </a:lnTo>
                    <a:cubicBezTo>
                      <a:pt x="74575" y="129846"/>
                      <a:pt x="76575" y="126936"/>
                      <a:pt x="78786" y="123947"/>
                    </a:cubicBezTo>
                    <a:cubicBezTo>
                      <a:pt x="74921" y="113571"/>
                      <a:pt x="64722" y="109973"/>
                      <a:pt x="61838" y="97099"/>
                    </a:cubicBezTo>
                    <a:cubicBezTo>
                      <a:pt x="66506" y="83779"/>
                      <a:pt x="68409" y="75097"/>
                      <a:pt x="91898" y="51251"/>
                    </a:cubicBezTo>
                    <a:cubicBezTo>
                      <a:pt x="29460" y="60201"/>
                      <a:pt x="29645" y="110467"/>
                      <a:pt x="12382" y="98314"/>
                    </a:cubicBezTo>
                    <a:lnTo>
                      <a:pt x="8781"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2"/>
                    </a:cubicBezTo>
                    <a:lnTo>
                      <a:pt x="122090" y="27944"/>
                    </a:lnTo>
                    <a:lnTo>
                      <a:pt x="122785" y="26457"/>
                    </a:lnTo>
                    <a:cubicBezTo>
                      <a:pt x="128121" y="15860"/>
                      <a:pt x="132778" y="12554"/>
                      <a:pt x="141935" y="8046"/>
                    </a:cubicBezTo>
                    <a:cubicBezTo>
                      <a:pt x="151091" y="3538"/>
                      <a:pt x="163791" y="-477"/>
                      <a:pt x="177366" y="46"/>
                    </a:cubicBezTo>
                    <a:close/>
                    <a:moveTo>
                      <a:pt x="7307220" y="0"/>
                    </a:moveTo>
                    <a:cubicBezTo>
                      <a:pt x="7337120" y="338"/>
                      <a:pt x="7352070" y="13345"/>
                      <a:pt x="7352070" y="39022"/>
                    </a:cubicBezTo>
                    <a:lnTo>
                      <a:pt x="7352070" y="75382"/>
                    </a:lnTo>
                    <a:cubicBezTo>
                      <a:pt x="7352070" y="92444"/>
                      <a:pt x="7358616" y="101397"/>
                      <a:pt x="7371707" y="102242"/>
                    </a:cubicBezTo>
                    <a:lnTo>
                      <a:pt x="7371707" y="120738"/>
                    </a:lnTo>
                    <a:cubicBezTo>
                      <a:pt x="7358616" y="121583"/>
                      <a:pt x="7352070" y="130367"/>
                      <a:pt x="7352070" y="147091"/>
                    </a:cubicBezTo>
                    <a:lnTo>
                      <a:pt x="7352070" y="184466"/>
                    </a:lnTo>
                    <a:cubicBezTo>
                      <a:pt x="7352070" y="209804"/>
                      <a:pt x="7337120" y="222642"/>
                      <a:pt x="7307220" y="222980"/>
                    </a:cubicBezTo>
                    <a:lnTo>
                      <a:pt x="7307220" y="203469"/>
                    </a:lnTo>
                    <a:cubicBezTo>
                      <a:pt x="7314569" y="203300"/>
                      <a:pt x="7319784" y="201273"/>
                      <a:pt x="7322867" y="197388"/>
                    </a:cubicBezTo>
                    <a:cubicBezTo>
                      <a:pt x="7325950" y="193503"/>
                      <a:pt x="7327491" y="187084"/>
                      <a:pt x="7327491" y="178131"/>
                    </a:cubicBezTo>
                    <a:lnTo>
                      <a:pt x="7327491" y="142783"/>
                    </a:lnTo>
                    <a:cubicBezTo>
                      <a:pt x="7327491" y="125638"/>
                      <a:pt x="7335811" y="115207"/>
                      <a:pt x="7352450" y="111490"/>
                    </a:cubicBezTo>
                    <a:lnTo>
                      <a:pt x="7352450" y="111110"/>
                    </a:lnTo>
                    <a:cubicBezTo>
                      <a:pt x="7335811" y="107140"/>
                      <a:pt x="7327491" y="96625"/>
                      <a:pt x="7327491" y="79563"/>
                    </a:cubicBezTo>
                    <a:lnTo>
                      <a:pt x="7327491" y="43836"/>
                    </a:lnTo>
                    <a:cubicBezTo>
                      <a:pt x="7327491" y="28041"/>
                      <a:pt x="7320734" y="19975"/>
                      <a:pt x="7307220" y="19638"/>
                    </a:cubicBezTo>
                    <a:close/>
                    <a:moveTo>
                      <a:pt x="7289736" y="0"/>
                    </a:moveTo>
                    <a:lnTo>
                      <a:pt x="7289736" y="19638"/>
                    </a:lnTo>
                    <a:cubicBezTo>
                      <a:pt x="7276307" y="19975"/>
                      <a:pt x="7269592" y="28041"/>
                      <a:pt x="7269592" y="43836"/>
                    </a:cubicBezTo>
                    <a:lnTo>
                      <a:pt x="7269592" y="79563"/>
                    </a:lnTo>
                    <a:cubicBezTo>
                      <a:pt x="7269592" y="96625"/>
                      <a:pt x="7261188" y="107140"/>
                      <a:pt x="7244380" y="111110"/>
                    </a:cubicBezTo>
                    <a:lnTo>
                      <a:pt x="7244380" y="111490"/>
                    </a:lnTo>
                    <a:cubicBezTo>
                      <a:pt x="7261188" y="115207"/>
                      <a:pt x="7269592" y="125638"/>
                      <a:pt x="7269592" y="142783"/>
                    </a:cubicBezTo>
                    <a:lnTo>
                      <a:pt x="7269592" y="178131"/>
                    </a:lnTo>
                    <a:cubicBezTo>
                      <a:pt x="7269592" y="187168"/>
                      <a:pt x="7271091" y="193608"/>
                      <a:pt x="7274090" y="197451"/>
                    </a:cubicBezTo>
                    <a:cubicBezTo>
                      <a:pt x="7277088" y="201294"/>
                      <a:pt x="7282304" y="203300"/>
                      <a:pt x="7289736" y="203469"/>
                    </a:cubicBezTo>
                    <a:lnTo>
                      <a:pt x="7289736" y="222980"/>
                    </a:lnTo>
                    <a:cubicBezTo>
                      <a:pt x="7259668" y="222642"/>
                      <a:pt x="7244634" y="209804"/>
                      <a:pt x="7244634" y="184466"/>
                    </a:cubicBezTo>
                    <a:lnTo>
                      <a:pt x="7244634" y="147091"/>
                    </a:lnTo>
                    <a:cubicBezTo>
                      <a:pt x="7244634" y="130367"/>
                      <a:pt x="7238045" y="121583"/>
                      <a:pt x="7224869" y="120738"/>
                    </a:cubicBezTo>
                    <a:lnTo>
                      <a:pt x="7224869" y="102242"/>
                    </a:lnTo>
                    <a:cubicBezTo>
                      <a:pt x="7238045" y="101397"/>
                      <a:pt x="7244634" y="92444"/>
                      <a:pt x="7244634" y="75382"/>
                    </a:cubicBezTo>
                    <a:lnTo>
                      <a:pt x="7244634" y="39022"/>
                    </a:lnTo>
                    <a:cubicBezTo>
                      <a:pt x="7244634" y="13345"/>
                      <a:pt x="7259668" y="338"/>
                      <a:pt x="7289736" y="0"/>
                    </a:cubicBezTo>
                    <a:close/>
                    <a:moveTo>
                      <a:pt x="1251167" y="0"/>
                    </a:moveTo>
                    <a:cubicBezTo>
                      <a:pt x="1281067" y="338"/>
                      <a:pt x="1296017" y="13345"/>
                      <a:pt x="1296017" y="39022"/>
                    </a:cubicBezTo>
                    <a:lnTo>
                      <a:pt x="1296017" y="75382"/>
                    </a:lnTo>
                    <a:cubicBezTo>
                      <a:pt x="1296017" y="92444"/>
                      <a:pt x="1302563" y="101397"/>
                      <a:pt x="1315654" y="102242"/>
                    </a:cubicBezTo>
                    <a:lnTo>
                      <a:pt x="1315654" y="120738"/>
                    </a:lnTo>
                    <a:cubicBezTo>
                      <a:pt x="1302563" y="121583"/>
                      <a:pt x="1296017" y="130367"/>
                      <a:pt x="1296017" y="147091"/>
                    </a:cubicBezTo>
                    <a:lnTo>
                      <a:pt x="1296017" y="184466"/>
                    </a:lnTo>
                    <a:cubicBezTo>
                      <a:pt x="1296017" y="209804"/>
                      <a:pt x="1281067" y="222642"/>
                      <a:pt x="1251167" y="222980"/>
                    </a:cubicBezTo>
                    <a:lnTo>
                      <a:pt x="1251167" y="203469"/>
                    </a:lnTo>
                    <a:cubicBezTo>
                      <a:pt x="1258516" y="203300"/>
                      <a:pt x="1263731" y="201273"/>
                      <a:pt x="1266814" y="197388"/>
                    </a:cubicBezTo>
                    <a:cubicBezTo>
                      <a:pt x="1269897" y="193503"/>
                      <a:pt x="1271438" y="187084"/>
                      <a:pt x="1271438" y="178131"/>
                    </a:cubicBezTo>
                    <a:lnTo>
                      <a:pt x="1271438" y="142783"/>
                    </a:lnTo>
                    <a:cubicBezTo>
                      <a:pt x="1271438" y="125638"/>
                      <a:pt x="1279758" y="115207"/>
                      <a:pt x="1296397" y="111490"/>
                    </a:cubicBezTo>
                    <a:lnTo>
                      <a:pt x="1296397" y="111110"/>
                    </a:lnTo>
                    <a:cubicBezTo>
                      <a:pt x="1279758" y="107140"/>
                      <a:pt x="1271438" y="96625"/>
                      <a:pt x="1271438" y="79563"/>
                    </a:cubicBezTo>
                    <a:lnTo>
                      <a:pt x="1271438" y="43836"/>
                    </a:lnTo>
                    <a:cubicBezTo>
                      <a:pt x="1271438" y="28041"/>
                      <a:pt x="1264681" y="19975"/>
                      <a:pt x="1251167" y="19638"/>
                    </a:cubicBezTo>
                    <a:close/>
                    <a:moveTo>
                      <a:pt x="1233683" y="0"/>
                    </a:moveTo>
                    <a:lnTo>
                      <a:pt x="1233683" y="19638"/>
                    </a:lnTo>
                    <a:cubicBezTo>
                      <a:pt x="1220254" y="19975"/>
                      <a:pt x="1213539" y="28041"/>
                      <a:pt x="1213539" y="43836"/>
                    </a:cubicBezTo>
                    <a:lnTo>
                      <a:pt x="1213539" y="79563"/>
                    </a:lnTo>
                    <a:cubicBezTo>
                      <a:pt x="1213539" y="96625"/>
                      <a:pt x="1205135" y="107140"/>
                      <a:pt x="1188327" y="111110"/>
                    </a:cubicBezTo>
                    <a:lnTo>
                      <a:pt x="1188327" y="111490"/>
                    </a:lnTo>
                    <a:cubicBezTo>
                      <a:pt x="1205135" y="115207"/>
                      <a:pt x="1213539" y="125638"/>
                      <a:pt x="1213539" y="142783"/>
                    </a:cubicBezTo>
                    <a:lnTo>
                      <a:pt x="1213539" y="178131"/>
                    </a:lnTo>
                    <a:cubicBezTo>
                      <a:pt x="1213539" y="187168"/>
                      <a:pt x="1215038" y="193608"/>
                      <a:pt x="1218037" y="197451"/>
                    </a:cubicBezTo>
                    <a:cubicBezTo>
                      <a:pt x="1221035" y="201294"/>
                      <a:pt x="1226251" y="203300"/>
                      <a:pt x="1233683" y="203469"/>
                    </a:cubicBezTo>
                    <a:lnTo>
                      <a:pt x="1233683" y="222980"/>
                    </a:lnTo>
                    <a:cubicBezTo>
                      <a:pt x="1203615" y="222642"/>
                      <a:pt x="1188581" y="209804"/>
                      <a:pt x="1188581" y="184466"/>
                    </a:cubicBezTo>
                    <a:lnTo>
                      <a:pt x="1188581" y="147091"/>
                    </a:lnTo>
                    <a:cubicBezTo>
                      <a:pt x="1188581" y="130367"/>
                      <a:pt x="1181992" y="121583"/>
                      <a:pt x="1168816" y="120738"/>
                    </a:cubicBezTo>
                    <a:lnTo>
                      <a:pt x="1168816" y="102242"/>
                    </a:lnTo>
                    <a:cubicBezTo>
                      <a:pt x="1181992" y="101397"/>
                      <a:pt x="1188581" y="92444"/>
                      <a:pt x="1188581" y="75382"/>
                    </a:cubicBezTo>
                    <a:lnTo>
                      <a:pt x="1188581" y="39022"/>
                    </a:lnTo>
                    <a:cubicBezTo>
                      <a:pt x="1188581" y="13345"/>
                      <a:pt x="1203615" y="338"/>
                      <a:pt x="12336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28" name="Freeform 427"/>
              <p:cNvSpPr/>
              <p:nvPr/>
            </p:nvSpPr>
            <p:spPr>
              <a:xfrm>
                <a:off x="2234480" y="1595884"/>
                <a:ext cx="9560519" cy="222980"/>
              </a:xfrm>
              <a:custGeom>
                <a:avLst/>
                <a:gdLst>
                  <a:gd name="connsiteX0" fmla="*/ 9496032 w 9560519"/>
                  <a:gd name="connsiteY0" fmla="*/ 0 h 222980"/>
                  <a:gd name="connsiteX1" fmla="*/ 9540881 w 9560519"/>
                  <a:gd name="connsiteY1" fmla="*/ 39022 h 222980"/>
                  <a:gd name="connsiteX2" fmla="*/ 9540881 w 9560519"/>
                  <a:gd name="connsiteY2" fmla="*/ 75382 h 222980"/>
                  <a:gd name="connsiteX3" fmla="*/ 9560519 w 9560519"/>
                  <a:gd name="connsiteY3" fmla="*/ 102242 h 222980"/>
                  <a:gd name="connsiteX4" fmla="*/ 9560519 w 9560519"/>
                  <a:gd name="connsiteY4" fmla="*/ 120738 h 222980"/>
                  <a:gd name="connsiteX5" fmla="*/ 9540881 w 9560519"/>
                  <a:gd name="connsiteY5" fmla="*/ 147091 h 222980"/>
                  <a:gd name="connsiteX6" fmla="*/ 9540881 w 9560519"/>
                  <a:gd name="connsiteY6" fmla="*/ 184466 h 222980"/>
                  <a:gd name="connsiteX7" fmla="*/ 9496032 w 9560519"/>
                  <a:gd name="connsiteY7" fmla="*/ 222980 h 222980"/>
                  <a:gd name="connsiteX8" fmla="*/ 9496032 w 9560519"/>
                  <a:gd name="connsiteY8" fmla="*/ 203469 h 222980"/>
                  <a:gd name="connsiteX9" fmla="*/ 9511679 w 9560519"/>
                  <a:gd name="connsiteY9" fmla="*/ 197388 h 222980"/>
                  <a:gd name="connsiteX10" fmla="*/ 9516303 w 9560519"/>
                  <a:gd name="connsiteY10" fmla="*/ 178131 h 222980"/>
                  <a:gd name="connsiteX11" fmla="*/ 9516303 w 9560519"/>
                  <a:gd name="connsiteY11" fmla="*/ 142783 h 222980"/>
                  <a:gd name="connsiteX12" fmla="*/ 9541262 w 9560519"/>
                  <a:gd name="connsiteY12" fmla="*/ 111490 h 222980"/>
                  <a:gd name="connsiteX13" fmla="*/ 9541262 w 9560519"/>
                  <a:gd name="connsiteY13" fmla="*/ 111110 h 222980"/>
                  <a:gd name="connsiteX14" fmla="*/ 9516303 w 9560519"/>
                  <a:gd name="connsiteY14" fmla="*/ 79563 h 222980"/>
                  <a:gd name="connsiteX15" fmla="*/ 9516303 w 9560519"/>
                  <a:gd name="connsiteY15" fmla="*/ 43836 h 222980"/>
                  <a:gd name="connsiteX16" fmla="*/ 9496032 w 9560519"/>
                  <a:gd name="connsiteY16" fmla="*/ 19638 h 222980"/>
                  <a:gd name="connsiteX17" fmla="*/ 9478548 w 9560519"/>
                  <a:gd name="connsiteY17" fmla="*/ 0 h 222980"/>
                  <a:gd name="connsiteX18" fmla="*/ 9478548 w 9560519"/>
                  <a:gd name="connsiteY18" fmla="*/ 19638 h 222980"/>
                  <a:gd name="connsiteX19" fmla="*/ 9458404 w 9560519"/>
                  <a:gd name="connsiteY19" fmla="*/ 43836 h 222980"/>
                  <a:gd name="connsiteX20" fmla="*/ 9458404 w 9560519"/>
                  <a:gd name="connsiteY20" fmla="*/ 79563 h 222980"/>
                  <a:gd name="connsiteX21" fmla="*/ 9433192 w 9560519"/>
                  <a:gd name="connsiteY21" fmla="*/ 111110 h 222980"/>
                  <a:gd name="connsiteX22" fmla="*/ 9433192 w 9560519"/>
                  <a:gd name="connsiteY22" fmla="*/ 111490 h 222980"/>
                  <a:gd name="connsiteX23" fmla="*/ 9458404 w 9560519"/>
                  <a:gd name="connsiteY23" fmla="*/ 142783 h 222980"/>
                  <a:gd name="connsiteX24" fmla="*/ 9458404 w 9560519"/>
                  <a:gd name="connsiteY24" fmla="*/ 178131 h 222980"/>
                  <a:gd name="connsiteX25" fmla="*/ 9462902 w 9560519"/>
                  <a:gd name="connsiteY25" fmla="*/ 197451 h 222980"/>
                  <a:gd name="connsiteX26" fmla="*/ 9478548 w 9560519"/>
                  <a:gd name="connsiteY26" fmla="*/ 203469 h 222980"/>
                  <a:gd name="connsiteX27" fmla="*/ 9478548 w 9560519"/>
                  <a:gd name="connsiteY27" fmla="*/ 222980 h 222980"/>
                  <a:gd name="connsiteX28" fmla="*/ 9433445 w 9560519"/>
                  <a:gd name="connsiteY28" fmla="*/ 184466 h 222980"/>
                  <a:gd name="connsiteX29" fmla="*/ 9433445 w 9560519"/>
                  <a:gd name="connsiteY29" fmla="*/ 147091 h 222980"/>
                  <a:gd name="connsiteX30" fmla="*/ 9413681 w 9560519"/>
                  <a:gd name="connsiteY30" fmla="*/ 120738 h 222980"/>
                  <a:gd name="connsiteX31" fmla="*/ 9413681 w 9560519"/>
                  <a:gd name="connsiteY31" fmla="*/ 102242 h 222980"/>
                  <a:gd name="connsiteX32" fmla="*/ 9433445 w 9560519"/>
                  <a:gd name="connsiteY32" fmla="*/ 75382 h 222980"/>
                  <a:gd name="connsiteX33" fmla="*/ 9433445 w 9560519"/>
                  <a:gd name="connsiteY33" fmla="*/ 39022 h 222980"/>
                  <a:gd name="connsiteX34" fmla="*/ 9478548 w 9560519"/>
                  <a:gd name="connsiteY34" fmla="*/ 0 h 222980"/>
                  <a:gd name="connsiteX35" fmla="*/ 3439979 w 9560519"/>
                  <a:gd name="connsiteY35" fmla="*/ 0 h 222980"/>
                  <a:gd name="connsiteX36" fmla="*/ 3484829 w 9560519"/>
                  <a:gd name="connsiteY36" fmla="*/ 39022 h 222980"/>
                  <a:gd name="connsiteX37" fmla="*/ 3484829 w 9560519"/>
                  <a:gd name="connsiteY37" fmla="*/ 75382 h 222980"/>
                  <a:gd name="connsiteX38" fmla="*/ 3504466 w 9560519"/>
                  <a:gd name="connsiteY38" fmla="*/ 102242 h 222980"/>
                  <a:gd name="connsiteX39" fmla="*/ 3504466 w 9560519"/>
                  <a:gd name="connsiteY39" fmla="*/ 120738 h 222980"/>
                  <a:gd name="connsiteX40" fmla="*/ 3484829 w 9560519"/>
                  <a:gd name="connsiteY40" fmla="*/ 147091 h 222980"/>
                  <a:gd name="connsiteX41" fmla="*/ 3484829 w 9560519"/>
                  <a:gd name="connsiteY41" fmla="*/ 184466 h 222980"/>
                  <a:gd name="connsiteX42" fmla="*/ 3439979 w 9560519"/>
                  <a:gd name="connsiteY42" fmla="*/ 222980 h 222980"/>
                  <a:gd name="connsiteX43" fmla="*/ 3439979 w 9560519"/>
                  <a:gd name="connsiteY43" fmla="*/ 203469 h 222980"/>
                  <a:gd name="connsiteX44" fmla="*/ 3455626 w 9560519"/>
                  <a:gd name="connsiteY44" fmla="*/ 197388 h 222980"/>
                  <a:gd name="connsiteX45" fmla="*/ 3460250 w 9560519"/>
                  <a:gd name="connsiteY45" fmla="*/ 178131 h 222980"/>
                  <a:gd name="connsiteX46" fmla="*/ 3460250 w 9560519"/>
                  <a:gd name="connsiteY46" fmla="*/ 142783 h 222980"/>
                  <a:gd name="connsiteX47" fmla="*/ 3485209 w 9560519"/>
                  <a:gd name="connsiteY47" fmla="*/ 111490 h 222980"/>
                  <a:gd name="connsiteX48" fmla="*/ 3485209 w 9560519"/>
                  <a:gd name="connsiteY48" fmla="*/ 111110 h 222980"/>
                  <a:gd name="connsiteX49" fmla="*/ 3460250 w 9560519"/>
                  <a:gd name="connsiteY49" fmla="*/ 79563 h 222980"/>
                  <a:gd name="connsiteX50" fmla="*/ 3460250 w 9560519"/>
                  <a:gd name="connsiteY50" fmla="*/ 43836 h 222980"/>
                  <a:gd name="connsiteX51" fmla="*/ 3439979 w 9560519"/>
                  <a:gd name="connsiteY51" fmla="*/ 19638 h 222980"/>
                  <a:gd name="connsiteX52" fmla="*/ 3422495 w 9560519"/>
                  <a:gd name="connsiteY52" fmla="*/ 0 h 222980"/>
                  <a:gd name="connsiteX53" fmla="*/ 3422495 w 9560519"/>
                  <a:gd name="connsiteY53" fmla="*/ 19638 h 222980"/>
                  <a:gd name="connsiteX54" fmla="*/ 3402351 w 9560519"/>
                  <a:gd name="connsiteY54" fmla="*/ 43836 h 222980"/>
                  <a:gd name="connsiteX55" fmla="*/ 3402351 w 9560519"/>
                  <a:gd name="connsiteY55" fmla="*/ 79563 h 222980"/>
                  <a:gd name="connsiteX56" fmla="*/ 3377139 w 9560519"/>
                  <a:gd name="connsiteY56" fmla="*/ 111110 h 222980"/>
                  <a:gd name="connsiteX57" fmla="*/ 3377139 w 9560519"/>
                  <a:gd name="connsiteY57" fmla="*/ 111490 h 222980"/>
                  <a:gd name="connsiteX58" fmla="*/ 3402351 w 9560519"/>
                  <a:gd name="connsiteY58" fmla="*/ 142783 h 222980"/>
                  <a:gd name="connsiteX59" fmla="*/ 3402351 w 9560519"/>
                  <a:gd name="connsiteY59" fmla="*/ 178131 h 222980"/>
                  <a:gd name="connsiteX60" fmla="*/ 3406849 w 9560519"/>
                  <a:gd name="connsiteY60" fmla="*/ 197451 h 222980"/>
                  <a:gd name="connsiteX61" fmla="*/ 3422495 w 9560519"/>
                  <a:gd name="connsiteY61" fmla="*/ 203469 h 222980"/>
                  <a:gd name="connsiteX62" fmla="*/ 3422495 w 9560519"/>
                  <a:gd name="connsiteY62" fmla="*/ 222980 h 222980"/>
                  <a:gd name="connsiteX63" fmla="*/ 3377393 w 9560519"/>
                  <a:gd name="connsiteY63" fmla="*/ 184466 h 222980"/>
                  <a:gd name="connsiteX64" fmla="*/ 3377393 w 9560519"/>
                  <a:gd name="connsiteY64" fmla="*/ 147091 h 222980"/>
                  <a:gd name="connsiteX65" fmla="*/ 3357628 w 9560519"/>
                  <a:gd name="connsiteY65" fmla="*/ 120738 h 222980"/>
                  <a:gd name="connsiteX66" fmla="*/ 3357628 w 9560519"/>
                  <a:gd name="connsiteY66" fmla="*/ 102242 h 222980"/>
                  <a:gd name="connsiteX67" fmla="*/ 3377393 w 9560519"/>
                  <a:gd name="connsiteY67" fmla="*/ 75382 h 222980"/>
                  <a:gd name="connsiteX68" fmla="*/ 3377393 w 9560519"/>
                  <a:gd name="connsiteY68" fmla="*/ 39022 h 222980"/>
                  <a:gd name="connsiteX69" fmla="*/ 3422495 w 9560519"/>
                  <a:gd name="connsiteY69" fmla="*/ 0 h 222980"/>
                  <a:gd name="connsiteX70" fmla="*/ 82351 w 9560519"/>
                  <a:gd name="connsiteY70" fmla="*/ 0 h 222980"/>
                  <a:gd name="connsiteX71" fmla="*/ 127201 w 9560519"/>
                  <a:gd name="connsiteY71" fmla="*/ 39022 h 222980"/>
                  <a:gd name="connsiteX72" fmla="*/ 127201 w 9560519"/>
                  <a:gd name="connsiteY72" fmla="*/ 75382 h 222980"/>
                  <a:gd name="connsiteX73" fmla="*/ 146838 w 9560519"/>
                  <a:gd name="connsiteY73" fmla="*/ 102242 h 222980"/>
                  <a:gd name="connsiteX74" fmla="*/ 146838 w 9560519"/>
                  <a:gd name="connsiteY74" fmla="*/ 120738 h 222980"/>
                  <a:gd name="connsiteX75" fmla="*/ 127201 w 9560519"/>
                  <a:gd name="connsiteY75" fmla="*/ 147091 h 222980"/>
                  <a:gd name="connsiteX76" fmla="*/ 127201 w 9560519"/>
                  <a:gd name="connsiteY76" fmla="*/ 184466 h 222980"/>
                  <a:gd name="connsiteX77" fmla="*/ 82351 w 9560519"/>
                  <a:gd name="connsiteY77" fmla="*/ 222980 h 222980"/>
                  <a:gd name="connsiteX78" fmla="*/ 82351 w 9560519"/>
                  <a:gd name="connsiteY78" fmla="*/ 203469 h 222980"/>
                  <a:gd name="connsiteX79" fmla="*/ 97998 w 9560519"/>
                  <a:gd name="connsiteY79" fmla="*/ 197388 h 222980"/>
                  <a:gd name="connsiteX80" fmla="*/ 102622 w 9560519"/>
                  <a:gd name="connsiteY80" fmla="*/ 178131 h 222980"/>
                  <a:gd name="connsiteX81" fmla="*/ 102622 w 9560519"/>
                  <a:gd name="connsiteY81" fmla="*/ 142783 h 222980"/>
                  <a:gd name="connsiteX82" fmla="*/ 127581 w 9560519"/>
                  <a:gd name="connsiteY82" fmla="*/ 111490 h 222980"/>
                  <a:gd name="connsiteX83" fmla="*/ 127581 w 9560519"/>
                  <a:gd name="connsiteY83" fmla="*/ 111110 h 222980"/>
                  <a:gd name="connsiteX84" fmla="*/ 102622 w 9560519"/>
                  <a:gd name="connsiteY84" fmla="*/ 79563 h 222980"/>
                  <a:gd name="connsiteX85" fmla="*/ 102622 w 9560519"/>
                  <a:gd name="connsiteY85" fmla="*/ 43836 h 222980"/>
                  <a:gd name="connsiteX86" fmla="*/ 82351 w 9560519"/>
                  <a:gd name="connsiteY86" fmla="*/ 19638 h 222980"/>
                  <a:gd name="connsiteX87" fmla="*/ 64867 w 9560519"/>
                  <a:gd name="connsiteY87" fmla="*/ 0 h 222980"/>
                  <a:gd name="connsiteX88" fmla="*/ 64867 w 9560519"/>
                  <a:gd name="connsiteY88" fmla="*/ 19638 h 222980"/>
                  <a:gd name="connsiteX89" fmla="*/ 44723 w 9560519"/>
                  <a:gd name="connsiteY89" fmla="*/ 43836 h 222980"/>
                  <a:gd name="connsiteX90" fmla="*/ 44723 w 9560519"/>
                  <a:gd name="connsiteY90" fmla="*/ 79563 h 222980"/>
                  <a:gd name="connsiteX91" fmla="*/ 19511 w 9560519"/>
                  <a:gd name="connsiteY91" fmla="*/ 111110 h 222980"/>
                  <a:gd name="connsiteX92" fmla="*/ 19511 w 9560519"/>
                  <a:gd name="connsiteY92" fmla="*/ 111490 h 222980"/>
                  <a:gd name="connsiteX93" fmla="*/ 44723 w 9560519"/>
                  <a:gd name="connsiteY93" fmla="*/ 142783 h 222980"/>
                  <a:gd name="connsiteX94" fmla="*/ 44723 w 9560519"/>
                  <a:gd name="connsiteY94" fmla="*/ 178131 h 222980"/>
                  <a:gd name="connsiteX95" fmla="*/ 49221 w 9560519"/>
                  <a:gd name="connsiteY95" fmla="*/ 197451 h 222980"/>
                  <a:gd name="connsiteX96" fmla="*/ 64867 w 9560519"/>
                  <a:gd name="connsiteY96" fmla="*/ 203469 h 222980"/>
                  <a:gd name="connsiteX97" fmla="*/ 64867 w 9560519"/>
                  <a:gd name="connsiteY97" fmla="*/ 222980 h 222980"/>
                  <a:gd name="connsiteX98" fmla="*/ 19765 w 9560519"/>
                  <a:gd name="connsiteY98" fmla="*/ 184466 h 222980"/>
                  <a:gd name="connsiteX99" fmla="*/ 19765 w 9560519"/>
                  <a:gd name="connsiteY99" fmla="*/ 147091 h 222980"/>
                  <a:gd name="connsiteX100" fmla="*/ 0 w 9560519"/>
                  <a:gd name="connsiteY100" fmla="*/ 120738 h 222980"/>
                  <a:gd name="connsiteX101" fmla="*/ 0 w 9560519"/>
                  <a:gd name="connsiteY101" fmla="*/ 102242 h 222980"/>
                  <a:gd name="connsiteX102" fmla="*/ 19765 w 9560519"/>
                  <a:gd name="connsiteY102" fmla="*/ 75382 h 222980"/>
                  <a:gd name="connsiteX103" fmla="*/ 19765 w 9560519"/>
                  <a:gd name="connsiteY103" fmla="*/ 39022 h 222980"/>
                  <a:gd name="connsiteX104" fmla="*/ 64867 w 9560519"/>
                  <a:gd name="connsiteY10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9560519" h="222980">
                    <a:moveTo>
                      <a:pt x="9496032" y="0"/>
                    </a:moveTo>
                    <a:cubicBezTo>
                      <a:pt x="9525932" y="338"/>
                      <a:pt x="9540881" y="13345"/>
                      <a:pt x="9540881" y="39022"/>
                    </a:cubicBezTo>
                    <a:lnTo>
                      <a:pt x="9540881" y="75382"/>
                    </a:lnTo>
                    <a:cubicBezTo>
                      <a:pt x="9540881" y="92444"/>
                      <a:pt x="9547427" y="101397"/>
                      <a:pt x="9560519" y="102242"/>
                    </a:cubicBezTo>
                    <a:lnTo>
                      <a:pt x="9560519" y="120738"/>
                    </a:lnTo>
                    <a:cubicBezTo>
                      <a:pt x="9547427" y="121583"/>
                      <a:pt x="9540881" y="130367"/>
                      <a:pt x="9540881" y="147091"/>
                    </a:cubicBezTo>
                    <a:lnTo>
                      <a:pt x="9540881" y="184466"/>
                    </a:lnTo>
                    <a:cubicBezTo>
                      <a:pt x="9540881" y="209804"/>
                      <a:pt x="9525932" y="222642"/>
                      <a:pt x="9496032" y="222980"/>
                    </a:cubicBezTo>
                    <a:lnTo>
                      <a:pt x="9496032" y="203469"/>
                    </a:lnTo>
                    <a:cubicBezTo>
                      <a:pt x="9503380" y="203300"/>
                      <a:pt x="9508596" y="201273"/>
                      <a:pt x="9511679" y="197388"/>
                    </a:cubicBezTo>
                    <a:cubicBezTo>
                      <a:pt x="9514761" y="193503"/>
                      <a:pt x="9516303" y="187084"/>
                      <a:pt x="9516303" y="178131"/>
                    </a:cubicBezTo>
                    <a:lnTo>
                      <a:pt x="9516303" y="142783"/>
                    </a:lnTo>
                    <a:cubicBezTo>
                      <a:pt x="9516303" y="125638"/>
                      <a:pt x="9524623" y="115207"/>
                      <a:pt x="9541262" y="111490"/>
                    </a:cubicBezTo>
                    <a:lnTo>
                      <a:pt x="9541262" y="111110"/>
                    </a:lnTo>
                    <a:cubicBezTo>
                      <a:pt x="9524623" y="107140"/>
                      <a:pt x="9516303" y="96625"/>
                      <a:pt x="9516303" y="79563"/>
                    </a:cubicBezTo>
                    <a:lnTo>
                      <a:pt x="9516303" y="43836"/>
                    </a:lnTo>
                    <a:cubicBezTo>
                      <a:pt x="9516303" y="28041"/>
                      <a:pt x="9509546" y="19975"/>
                      <a:pt x="9496032" y="19638"/>
                    </a:cubicBezTo>
                    <a:close/>
                    <a:moveTo>
                      <a:pt x="9478548" y="0"/>
                    </a:moveTo>
                    <a:lnTo>
                      <a:pt x="9478548" y="19638"/>
                    </a:lnTo>
                    <a:cubicBezTo>
                      <a:pt x="9465119" y="19975"/>
                      <a:pt x="9458404" y="28041"/>
                      <a:pt x="9458404" y="43836"/>
                    </a:cubicBezTo>
                    <a:lnTo>
                      <a:pt x="9458404" y="79563"/>
                    </a:lnTo>
                    <a:cubicBezTo>
                      <a:pt x="9458404" y="96625"/>
                      <a:pt x="9450000" y="107140"/>
                      <a:pt x="9433192" y="111110"/>
                    </a:cubicBezTo>
                    <a:lnTo>
                      <a:pt x="9433192" y="111490"/>
                    </a:lnTo>
                    <a:cubicBezTo>
                      <a:pt x="9450000" y="115207"/>
                      <a:pt x="9458404" y="125638"/>
                      <a:pt x="9458404" y="142783"/>
                    </a:cubicBezTo>
                    <a:lnTo>
                      <a:pt x="9458404" y="178131"/>
                    </a:lnTo>
                    <a:cubicBezTo>
                      <a:pt x="9458404" y="187168"/>
                      <a:pt x="9459903" y="193608"/>
                      <a:pt x="9462902" y="197451"/>
                    </a:cubicBezTo>
                    <a:cubicBezTo>
                      <a:pt x="9465900" y="201294"/>
                      <a:pt x="9471115" y="203300"/>
                      <a:pt x="9478548" y="203469"/>
                    </a:cubicBezTo>
                    <a:lnTo>
                      <a:pt x="9478548" y="222980"/>
                    </a:lnTo>
                    <a:cubicBezTo>
                      <a:pt x="9448479" y="222642"/>
                      <a:pt x="9433445" y="209804"/>
                      <a:pt x="9433445" y="184466"/>
                    </a:cubicBezTo>
                    <a:lnTo>
                      <a:pt x="9433445" y="147091"/>
                    </a:lnTo>
                    <a:cubicBezTo>
                      <a:pt x="9433445" y="130367"/>
                      <a:pt x="9426857" y="121583"/>
                      <a:pt x="9413681" y="120738"/>
                    </a:cubicBezTo>
                    <a:lnTo>
                      <a:pt x="9413681" y="102242"/>
                    </a:lnTo>
                    <a:cubicBezTo>
                      <a:pt x="9426857" y="101397"/>
                      <a:pt x="9433445" y="92444"/>
                      <a:pt x="9433445" y="75382"/>
                    </a:cubicBezTo>
                    <a:lnTo>
                      <a:pt x="9433445" y="39022"/>
                    </a:lnTo>
                    <a:cubicBezTo>
                      <a:pt x="9433445" y="13345"/>
                      <a:pt x="9448479" y="338"/>
                      <a:pt x="9478548" y="0"/>
                    </a:cubicBezTo>
                    <a:close/>
                    <a:moveTo>
                      <a:pt x="3439979" y="0"/>
                    </a:moveTo>
                    <a:cubicBezTo>
                      <a:pt x="3469879" y="338"/>
                      <a:pt x="3484829" y="13345"/>
                      <a:pt x="3484829" y="39022"/>
                    </a:cubicBezTo>
                    <a:lnTo>
                      <a:pt x="3484829" y="75382"/>
                    </a:lnTo>
                    <a:cubicBezTo>
                      <a:pt x="3484829" y="92444"/>
                      <a:pt x="3491375" y="101397"/>
                      <a:pt x="3504466" y="102242"/>
                    </a:cubicBezTo>
                    <a:lnTo>
                      <a:pt x="3504466" y="120738"/>
                    </a:lnTo>
                    <a:cubicBezTo>
                      <a:pt x="3491375" y="121583"/>
                      <a:pt x="3484829" y="130367"/>
                      <a:pt x="3484829" y="147091"/>
                    </a:cubicBezTo>
                    <a:lnTo>
                      <a:pt x="3484829" y="184466"/>
                    </a:lnTo>
                    <a:cubicBezTo>
                      <a:pt x="3484829" y="209804"/>
                      <a:pt x="3469879" y="222642"/>
                      <a:pt x="3439979" y="222980"/>
                    </a:cubicBezTo>
                    <a:lnTo>
                      <a:pt x="3439979" y="203469"/>
                    </a:lnTo>
                    <a:cubicBezTo>
                      <a:pt x="3447328" y="203300"/>
                      <a:pt x="3452543" y="201273"/>
                      <a:pt x="3455626" y="197388"/>
                    </a:cubicBezTo>
                    <a:cubicBezTo>
                      <a:pt x="3458709" y="193503"/>
                      <a:pt x="3460250" y="187084"/>
                      <a:pt x="3460250" y="178131"/>
                    </a:cubicBezTo>
                    <a:lnTo>
                      <a:pt x="3460250" y="142783"/>
                    </a:lnTo>
                    <a:cubicBezTo>
                      <a:pt x="3460250" y="125638"/>
                      <a:pt x="3468570" y="115207"/>
                      <a:pt x="3485209" y="111490"/>
                    </a:cubicBezTo>
                    <a:lnTo>
                      <a:pt x="3485209" y="111110"/>
                    </a:lnTo>
                    <a:cubicBezTo>
                      <a:pt x="3468570" y="107140"/>
                      <a:pt x="3460250" y="96625"/>
                      <a:pt x="3460250" y="79563"/>
                    </a:cubicBezTo>
                    <a:lnTo>
                      <a:pt x="3460250" y="43836"/>
                    </a:lnTo>
                    <a:cubicBezTo>
                      <a:pt x="3460250" y="28041"/>
                      <a:pt x="3453493" y="19975"/>
                      <a:pt x="3439979" y="19638"/>
                    </a:cubicBezTo>
                    <a:close/>
                    <a:moveTo>
                      <a:pt x="3422495" y="0"/>
                    </a:moveTo>
                    <a:lnTo>
                      <a:pt x="3422495" y="19638"/>
                    </a:lnTo>
                    <a:cubicBezTo>
                      <a:pt x="3409066" y="19975"/>
                      <a:pt x="3402351" y="28041"/>
                      <a:pt x="3402351" y="43836"/>
                    </a:cubicBezTo>
                    <a:lnTo>
                      <a:pt x="3402351" y="79563"/>
                    </a:lnTo>
                    <a:cubicBezTo>
                      <a:pt x="3402351" y="96625"/>
                      <a:pt x="3393947" y="107140"/>
                      <a:pt x="3377139" y="111110"/>
                    </a:cubicBezTo>
                    <a:lnTo>
                      <a:pt x="3377139" y="111490"/>
                    </a:lnTo>
                    <a:cubicBezTo>
                      <a:pt x="3393947" y="115207"/>
                      <a:pt x="3402351" y="125638"/>
                      <a:pt x="3402351" y="142783"/>
                    </a:cubicBezTo>
                    <a:lnTo>
                      <a:pt x="3402351" y="178131"/>
                    </a:lnTo>
                    <a:cubicBezTo>
                      <a:pt x="3402351" y="187168"/>
                      <a:pt x="3403850" y="193608"/>
                      <a:pt x="3406849" y="197451"/>
                    </a:cubicBezTo>
                    <a:cubicBezTo>
                      <a:pt x="3409847" y="201294"/>
                      <a:pt x="3415063" y="203300"/>
                      <a:pt x="3422495" y="203469"/>
                    </a:cubicBezTo>
                    <a:lnTo>
                      <a:pt x="3422495" y="222980"/>
                    </a:lnTo>
                    <a:cubicBezTo>
                      <a:pt x="3392427" y="222642"/>
                      <a:pt x="3377393" y="209804"/>
                      <a:pt x="3377393" y="184466"/>
                    </a:cubicBezTo>
                    <a:lnTo>
                      <a:pt x="3377393" y="147091"/>
                    </a:lnTo>
                    <a:cubicBezTo>
                      <a:pt x="3377393" y="130367"/>
                      <a:pt x="3370804" y="121583"/>
                      <a:pt x="3357628" y="120738"/>
                    </a:cubicBezTo>
                    <a:lnTo>
                      <a:pt x="3357628" y="102242"/>
                    </a:lnTo>
                    <a:cubicBezTo>
                      <a:pt x="3370804" y="101397"/>
                      <a:pt x="3377393" y="92444"/>
                      <a:pt x="3377393" y="75382"/>
                    </a:cubicBezTo>
                    <a:lnTo>
                      <a:pt x="3377393" y="39022"/>
                    </a:lnTo>
                    <a:cubicBezTo>
                      <a:pt x="3377393" y="13345"/>
                      <a:pt x="3392427" y="338"/>
                      <a:pt x="3422495" y="0"/>
                    </a:cubicBezTo>
                    <a:close/>
                    <a:moveTo>
                      <a:pt x="82351" y="0"/>
                    </a:moveTo>
                    <a:cubicBezTo>
                      <a:pt x="112251" y="338"/>
                      <a:pt x="127201" y="13345"/>
                      <a:pt x="127201" y="39022"/>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700" y="203300"/>
                      <a:pt x="94915" y="201273"/>
                      <a:pt x="97998" y="197388"/>
                    </a:cubicBezTo>
                    <a:cubicBezTo>
                      <a:pt x="101081" y="193503"/>
                      <a:pt x="102622" y="187084"/>
                      <a:pt x="102622" y="178131"/>
                    </a:cubicBezTo>
                    <a:lnTo>
                      <a:pt x="102622" y="142783"/>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3"/>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9" name="Freeform 428"/>
              <p:cNvSpPr/>
              <p:nvPr/>
            </p:nvSpPr>
            <p:spPr>
              <a:xfrm>
                <a:off x="4636354" y="1595884"/>
                <a:ext cx="6203804" cy="222980"/>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5"/>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0" name="Freeform 429"/>
              <p:cNvSpPr/>
              <p:nvPr/>
            </p:nvSpPr>
            <p:spPr>
              <a:xfrm>
                <a:off x="79949" y="1595884"/>
                <a:ext cx="11888025" cy="222981"/>
              </a:xfrm>
              <a:custGeom>
                <a:avLst/>
                <a:gdLst>
                  <a:gd name="connsiteX0" fmla="*/ 10044686 w 11888025"/>
                  <a:gd name="connsiteY0" fmla="*/ 27835 h 222981"/>
                  <a:gd name="connsiteX1" fmla="*/ 10005416 w 11888025"/>
                  <a:gd name="connsiteY1" fmla="*/ 114349 h 222981"/>
                  <a:gd name="connsiteX2" fmla="*/ 10043934 w 11888025"/>
                  <a:gd name="connsiteY2" fmla="*/ 195296 h 222981"/>
                  <a:gd name="connsiteX3" fmla="*/ 10081849 w 11888025"/>
                  <a:gd name="connsiteY3" fmla="*/ 112995 h 222981"/>
                  <a:gd name="connsiteX4" fmla="*/ 10044686 w 11888025"/>
                  <a:gd name="connsiteY4" fmla="*/ 27835 h 222981"/>
                  <a:gd name="connsiteX5" fmla="*/ 9823763 w 11888025"/>
                  <a:gd name="connsiteY5" fmla="*/ 27835 h 222981"/>
                  <a:gd name="connsiteX6" fmla="*/ 9784493 w 11888025"/>
                  <a:gd name="connsiteY6" fmla="*/ 114349 h 222981"/>
                  <a:gd name="connsiteX7" fmla="*/ 9823011 w 11888025"/>
                  <a:gd name="connsiteY7" fmla="*/ 195296 h 222981"/>
                  <a:gd name="connsiteX8" fmla="*/ 9860926 w 11888025"/>
                  <a:gd name="connsiteY8" fmla="*/ 112995 h 222981"/>
                  <a:gd name="connsiteX9" fmla="*/ 9823763 w 11888025"/>
                  <a:gd name="connsiteY9" fmla="*/ 27835 h 222981"/>
                  <a:gd name="connsiteX10" fmla="*/ 9162103 w 11888025"/>
                  <a:gd name="connsiteY10" fmla="*/ 27835 h 222981"/>
                  <a:gd name="connsiteX11" fmla="*/ 9122833 w 11888025"/>
                  <a:gd name="connsiteY11" fmla="*/ 114349 h 222981"/>
                  <a:gd name="connsiteX12" fmla="*/ 9161351 w 11888025"/>
                  <a:gd name="connsiteY12" fmla="*/ 195296 h 222981"/>
                  <a:gd name="connsiteX13" fmla="*/ 9199266 w 11888025"/>
                  <a:gd name="connsiteY13" fmla="*/ 112995 h 222981"/>
                  <a:gd name="connsiteX14" fmla="*/ 9162103 w 11888025"/>
                  <a:gd name="connsiteY14" fmla="*/ 27835 h 222981"/>
                  <a:gd name="connsiteX15" fmla="*/ 8941180 w 11888025"/>
                  <a:gd name="connsiteY15" fmla="*/ 27835 h 222981"/>
                  <a:gd name="connsiteX16" fmla="*/ 8901910 w 11888025"/>
                  <a:gd name="connsiteY16" fmla="*/ 114349 h 222981"/>
                  <a:gd name="connsiteX17" fmla="*/ 8940428 w 11888025"/>
                  <a:gd name="connsiteY17" fmla="*/ 195296 h 222981"/>
                  <a:gd name="connsiteX18" fmla="*/ 8978343 w 11888025"/>
                  <a:gd name="connsiteY18" fmla="*/ 112995 h 222981"/>
                  <a:gd name="connsiteX19" fmla="*/ 8941180 w 11888025"/>
                  <a:gd name="connsiteY19" fmla="*/ 27835 h 222981"/>
                  <a:gd name="connsiteX20" fmla="*/ 3988633 w 11888025"/>
                  <a:gd name="connsiteY20" fmla="*/ 27835 h 222981"/>
                  <a:gd name="connsiteX21" fmla="*/ 3949363 w 11888025"/>
                  <a:gd name="connsiteY21" fmla="*/ 114349 h 222981"/>
                  <a:gd name="connsiteX22" fmla="*/ 3987881 w 11888025"/>
                  <a:gd name="connsiteY22" fmla="*/ 195296 h 222981"/>
                  <a:gd name="connsiteX23" fmla="*/ 4025796 w 11888025"/>
                  <a:gd name="connsiteY23" fmla="*/ 112995 h 222981"/>
                  <a:gd name="connsiteX24" fmla="*/ 3988633 w 11888025"/>
                  <a:gd name="connsiteY24" fmla="*/ 27835 h 222981"/>
                  <a:gd name="connsiteX25" fmla="*/ 3767710 w 11888025"/>
                  <a:gd name="connsiteY25" fmla="*/ 27835 h 222981"/>
                  <a:gd name="connsiteX26" fmla="*/ 3728440 w 11888025"/>
                  <a:gd name="connsiteY26" fmla="*/ 114349 h 222981"/>
                  <a:gd name="connsiteX27" fmla="*/ 3766958 w 11888025"/>
                  <a:gd name="connsiteY27" fmla="*/ 195296 h 222981"/>
                  <a:gd name="connsiteX28" fmla="*/ 3804873 w 11888025"/>
                  <a:gd name="connsiteY28" fmla="*/ 112995 h 222981"/>
                  <a:gd name="connsiteX29" fmla="*/ 3767710 w 11888025"/>
                  <a:gd name="connsiteY29" fmla="*/ 27835 h 222981"/>
                  <a:gd name="connsiteX30" fmla="*/ 3106050 w 11888025"/>
                  <a:gd name="connsiteY30" fmla="*/ 27835 h 222981"/>
                  <a:gd name="connsiteX31" fmla="*/ 3066780 w 11888025"/>
                  <a:gd name="connsiteY31" fmla="*/ 114349 h 222981"/>
                  <a:gd name="connsiteX32" fmla="*/ 3105298 w 11888025"/>
                  <a:gd name="connsiteY32" fmla="*/ 195296 h 222981"/>
                  <a:gd name="connsiteX33" fmla="*/ 3143213 w 11888025"/>
                  <a:gd name="connsiteY33" fmla="*/ 112995 h 222981"/>
                  <a:gd name="connsiteX34" fmla="*/ 3106050 w 11888025"/>
                  <a:gd name="connsiteY34" fmla="*/ 27835 h 222981"/>
                  <a:gd name="connsiteX35" fmla="*/ 2885127 w 11888025"/>
                  <a:gd name="connsiteY35" fmla="*/ 27835 h 222981"/>
                  <a:gd name="connsiteX36" fmla="*/ 2845857 w 11888025"/>
                  <a:gd name="connsiteY36" fmla="*/ 114349 h 222981"/>
                  <a:gd name="connsiteX37" fmla="*/ 2884375 w 11888025"/>
                  <a:gd name="connsiteY37" fmla="*/ 195296 h 222981"/>
                  <a:gd name="connsiteX38" fmla="*/ 2922290 w 11888025"/>
                  <a:gd name="connsiteY38" fmla="*/ 112995 h 222981"/>
                  <a:gd name="connsiteX39" fmla="*/ 2885127 w 11888025"/>
                  <a:gd name="connsiteY39" fmla="*/ 27835 h 222981"/>
                  <a:gd name="connsiteX40" fmla="*/ 11873119 w 11888025"/>
                  <a:gd name="connsiteY40" fmla="*/ 1 h 222981"/>
                  <a:gd name="connsiteX41" fmla="*/ 11888025 w 11888025"/>
                  <a:gd name="connsiteY41" fmla="*/ 1 h 222981"/>
                  <a:gd name="connsiteX42" fmla="*/ 11888025 w 11888025"/>
                  <a:gd name="connsiteY42" fmla="*/ 222981 h 222981"/>
                  <a:gd name="connsiteX43" fmla="*/ 11852737 w 11888025"/>
                  <a:gd name="connsiteY43" fmla="*/ 222981 h 222981"/>
                  <a:gd name="connsiteX44" fmla="*/ 11852737 w 11888025"/>
                  <a:gd name="connsiteY44" fmla="*/ 43198 h 222981"/>
                  <a:gd name="connsiteX45" fmla="*/ 11832128 w 11888025"/>
                  <a:gd name="connsiteY45" fmla="*/ 54833 h 222981"/>
                  <a:gd name="connsiteX46" fmla="*/ 11806955 w 11888025"/>
                  <a:gd name="connsiteY46" fmla="*/ 63275 h 222981"/>
                  <a:gd name="connsiteX47" fmla="*/ 11806955 w 11888025"/>
                  <a:gd name="connsiteY47" fmla="*/ 33159 h 222981"/>
                  <a:gd name="connsiteX48" fmla="*/ 11823990 w 11888025"/>
                  <a:gd name="connsiteY48" fmla="*/ 27075 h 222981"/>
                  <a:gd name="connsiteX49" fmla="*/ 11840189 w 11888025"/>
                  <a:gd name="connsiteY49" fmla="*/ 19926 h 222981"/>
                  <a:gd name="connsiteX50" fmla="*/ 11856312 w 11888025"/>
                  <a:gd name="connsiteY50" fmla="*/ 11104 h 222981"/>
                  <a:gd name="connsiteX51" fmla="*/ 11873119 w 11888025"/>
                  <a:gd name="connsiteY51" fmla="*/ 1 h 222981"/>
                  <a:gd name="connsiteX52" fmla="*/ 11490251 w 11888025"/>
                  <a:gd name="connsiteY52" fmla="*/ 1 h 222981"/>
                  <a:gd name="connsiteX53" fmla="*/ 11505157 w 11888025"/>
                  <a:gd name="connsiteY53" fmla="*/ 1 h 222981"/>
                  <a:gd name="connsiteX54" fmla="*/ 11505157 w 11888025"/>
                  <a:gd name="connsiteY54" fmla="*/ 222981 h 222981"/>
                  <a:gd name="connsiteX55" fmla="*/ 11469869 w 11888025"/>
                  <a:gd name="connsiteY55" fmla="*/ 222981 h 222981"/>
                  <a:gd name="connsiteX56" fmla="*/ 11469869 w 11888025"/>
                  <a:gd name="connsiteY56" fmla="*/ 43198 h 222981"/>
                  <a:gd name="connsiteX57" fmla="*/ 11449260 w 11888025"/>
                  <a:gd name="connsiteY57" fmla="*/ 54833 h 222981"/>
                  <a:gd name="connsiteX58" fmla="*/ 11424087 w 11888025"/>
                  <a:gd name="connsiteY58" fmla="*/ 63275 h 222981"/>
                  <a:gd name="connsiteX59" fmla="*/ 11424087 w 11888025"/>
                  <a:gd name="connsiteY59" fmla="*/ 33159 h 222981"/>
                  <a:gd name="connsiteX60" fmla="*/ 11441122 w 11888025"/>
                  <a:gd name="connsiteY60" fmla="*/ 27075 h 222981"/>
                  <a:gd name="connsiteX61" fmla="*/ 11457321 w 11888025"/>
                  <a:gd name="connsiteY61" fmla="*/ 19926 h 222981"/>
                  <a:gd name="connsiteX62" fmla="*/ 11473444 w 11888025"/>
                  <a:gd name="connsiteY62" fmla="*/ 11104 h 222981"/>
                  <a:gd name="connsiteX63" fmla="*/ 11490251 w 11888025"/>
                  <a:gd name="connsiteY63" fmla="*/ 1 h 222981"/>
                  <a:gd name="connsiteX64" fmla="*/ 11346125 w 11888025"/>
                  <a:gd name="connsiteY64" fmla="*/ 1 h 222981"/>
                  <a:gd name="connsiteX65" fmla="*/ 11361031 w 11888025"/>
                  <a:gd name="connsiteY65" fmla="*/ 1 h 222981"/>
                  <a:gd name="connsiteX66" fmla="*/ 11361031 w 11888025"/>
                  <a:gd name="connsiteY66" fmla="*/ 222981 h 222981"/>
                  <a:gd name="connsiteX67" fmla="*/ 11325743 w 11888025"/>
                  <a:gd name="connsiteY67" fmla="*/ 222981 h 222981"/>
                  <a:gd name="connsiteX68" fmla="*/ 11325743 w 11888025"/>
                  <a:gd name="connsiteY68" fmla="*/ 43198 h 222981"/>
                  <a:gd name="connsiteX69" fmla="*/ 11305134 w 11888025"/>
                  <a:gd name="connsiteY69" fmla="*/ 54833 h 222981"/>
                  <a:gd name="connsiteX70" fmla="*/ 11279961 w 11888025"/>
                  <a:gd name="connsiteY70" fmla="*/ 63275 h 222981"/>
                  <a:gd name="connsiteX71" fmla="*/ 11279961 w 11888025"/>
                  <a:gd name="connsiteY71" fmla="*/ 33159 h 222981"/>
                  <a:gd name="connsiteX72" fmla="*/ 11296996 w 11888025"/>
                  <a:gd name="connsiteY72" fmla="*/ 27075 h 222981"/>
                  <a:gd name="connsiteX73" fmla="*/ 11313195 w 11888025"/>
                  <a:gd name="connsiteY73" fmla="*/ 19926 h 222981"/>
                  <a:gd name="connsiteX74" fmla="*/ 11329318 w 11888025"/>
                  <a:gd name="connsiteY74" fmla="*/ 11104 h 222981"/>
                  <a:gd name="connsiteX75" fmla="*/ 11346125 w 11888025"/>
                  <a:gd name="connsiteY75" fmla="*/ 1 h 222981"/>
                  <a:gd name="connsiteX76" fmla="*/ 11202000 w 11888025"/>
                  <a:gd name="connsiteY76" fmla="*/ 1 h 222981"/>
                  <a:gd name="connsiteX77" fmla="*/ 11216906 w 11888025"/>
                  <a:gd name="connsiteY77" fmla="*/ 1 h 222981"/>
                  <a:gd name="connsiteX78" fmla="*/ 11216906 w 11888025"/>
                  <a:gd name="connsiteY78" fmla="*/ 222981 h 222981"/>
                  <a:gd name="connsiteX79" fmla="*/ 11181618 w 11888025"/>
                  <a:gd name="connsiteY79" fmla="*/ 222981 h 222981"/>
                  <a:gd name="connsiteX80" fmla="*/ 11181618 w 11888025"/>
                  <a:gd name="connsiteY80" fmla="*/ 43198 h 222981"/>
                  <a:gd name="connsiteX81" fmla="*/ 11161009 w 11888025"/>
                  <a:gd name="connsiteY81" fmla="*/ 54833 h 222981"/>
                  <a:gd name="connsiteX82" fmla="*/ 11135836 w 11888025"/>
                  <a:gd name="connsiteY82" fmla="*/ 63275 h 222981"/>
                  <a:gd name="connsiteX83" fmla="*/ 11135836 w 11888025"/>
                  <a:gd name="connsiteY83" fmla="*/ 33159 h 222981"/>
                  <a:gd name="connsiteX84" fmla="*/ 11152871 w 11888025"/>
                  <a:gd name="connsiteY84" fmla="*/ 27075 h 222981"/>
                  <a:gd name="connsiteX85" fmla="*/ 11169070 w 11888025"/>
                  <a:gd name="connsiteY85" fmla="*/ 19926 h 222981"/>
                  <a:gd name="connsiteX86" fmla="*/ 11185193 w 11888025"/>
                  <a:gd name="connsiteY86" fmla="*/ 11104 h 222981"/>
                  <a:gd name="connsiteX87" fmla="*/ 11202000 w 11888025"/>
                  <a:gd name="connsiteY87" fmla="*/ 1 h 222981"/>
                  <a:gd name="connsiteX88" fmla="*/ 11057875 w 11888025"/>
                  <a:gd name="connsiteY88" fmla="*/ 1 h 222981"/>
                  <a:gd name="connsiteX89" fmla="*/ 11072781 w 11888025"/>
                  <a:gd name="connsiteY89" fmla="*/ 1 h 222981"/>
                  <a:gd name="connsiteX90" fmla="*/ 11072781 w 11888025"/>
                  <a:gd name="connsiteY90" fmla="*/ 222981 h 222981"/>
                  <a:gd name="connsiteX91" fmla="*/ 11037493 w 11888025"/>
                  <a:gd name="connsiteY91" fmla="*/ 222981 h 222981"/>
                  <a:gd name="connsiteX92" fmla="*/ 11037493 w 11888025"/>
                  <a:gd name="connsiteY92" fmla="*/ 43198 h 222981"/>
                  <a:gd name="connsiteX93" fmla="*/ 11016884 w 11888025"/>
                  <a:gd name="connsiteY93" fmla="*/ 54833 h 222981"/>
                  <a:gd name="connsiteX94" fmla="*/ 10991711 w 11888025"/>
                  <a:gd name="connsiteY94" fmla="*/ 63275 h 222981"/>
                  <a:gd name="connsiteX95" fmla="*/ 10991711 w 11888025"/>
                  <a:gd name="connsiteY95" fmla="*/ 33159 h 222981"/>
                  <a:gd name="connsiteX96" fmla="*/ 11008746 w 11888025"/>
                  <a:gd name="connsiteY96" fmla="*/ 27075 h 222981"/>
                  <a:gd name="connsiteX97" fmla="*/ 11024945 w 11888025"/>
                  <a:gd name="connsiteY97" fmla="*/ 19926 h 222981"/>
                  <a:gd name="connsiteX98" fmla="*/ 11041068 w 11888025"/>
                  <a:gd name="connsiteY98" fmla="*/ 11104 h 222981"/>
                  <a:gd name="connsiteX99" fmla="*/ 11057875 w 11888025"/>
                  <a:gd name="connsiteY99" fmla="*/ 1 h 222981"/>
                  <a:gd name="connsiteX100" fmla="*/ 10913750 w 11888025"/>
                  <a:gd name="connsiteY100" fmla="*/ 1 h 222981"/>
                  <a:gd name="connsiteX101" fmla="*/ 10928656 w 11888025"/>
                  <a:gd name="connsiteY101" fmla="*/ 1 h 222981"/>
                  <a:gd name="connsiteX102" fmla="*/ 10928656 w 11888025"/>
                  <a:gd name="connsiteY102" fmla="*/ 222981 h 222981"/>
                  <a:gd name="connsiteX103" fmla="*/ 10893368 w 11888025"/>
                  <a:gd name="connsiteY103" fmla="*/ 222981 h 222981"/>
                  <a:gd name="connsiteX104" fmla="*/ 10893368 w 11888025"/>
                  <a:gd name="connsiteY104" fmla="*/ 43198 h 222981"/>
                  <a:gd name="connsiteX105" fmla="*/ 10872759 w 11888025"/>
                  <a:gd name="connsiteY105" fmla="*/ 54833 h 222981"/>
                  <a:gd name="connsiteX106" fmla="*/ 10847586 w 11888025"/>
                  <a:gd name="connsiteY106" fmla="*/ 63275 h 222981"/>
                  <a:gd name="connsiteX107" fmla="*/ 10847586 w 11888025"/>
                  <a:gd name="connsiteY107" fmla="*/ 33159 h 222981"/>
                  <a:gd name="connsiteX108" fmla="*/ 10864621 w 11888025"/>
                  <a:gd name="connsiteY108" fmla="*/ 27075 h 222981"/>
                  <a:gd name="connsiteX109" fmla="*/ 10880820 w 11888025"/>
                  <a:gd name="connsiteY109" fmla="*/ 19926 h 222981"/>
                  <a:gd name="connsiteX110" fmla="*/ 10896943 w 11888025"/>
                  <a:gd name="connsiteY110" fmla="*/ 11104 h 222981"/>
                  <a:gd name="connsiteX111" fmla="*/ 10913750 w 11888025"/>
                  <a:gd name="connsiteY111" fmla="*/ 1 h 222981"/>
                  <a:gd name="connsiteX112" fmla="*/ 10525517 w 11888025"/>
                  <a:gd name="connsiteY112" fmla="*/ 1 h 222981"/>
                  <a:gd name="connsiteX113" fmla="*/ 10540423 w 11888025"/>
                  <a:gd name="connsiteY113" fmla="*/ 1 h 222981"/>
                  <a:gd name="connsiteX114" fmla="*/ 10540423 w 11888025"/>
                  <a:gd name="connsiteY114" fmla="*/ 222981 h 222981"/>
                  <a:gd name="connsiteX115" fmla="*/ 10505135 w 11888025"/>
                  <a:gd name="connsiteY115" fmla="*/ 222981 h 222981"/>
                  <a:gd name="connsiteX116" fmla="*/ 10505135 w 11888025"/>
                  <a:gd name="connsiteY116" fmla="*/ 43198 h 222981"/>
                  <a:gd name="connsiteX117" fmla="*/ 10484526 w 11888025"/>
                  <a:gd name="connsiteY117" fmla="*/ 54833 h 222981"/>
                  <a:gd name="connsiteX118" fmla="*/ 10459353 w 11888025"/>
                  <a:gd name="connsiteY118" fmla="*/ 63275 h 222981"/>
                  <a:gd name="connsiteX119" fmla="*/ 10459353 w 11888025"/>
                  <a:gd name="connsiteY119" fmla="*/ 33159 h 222981"/>
                  <a:gd name="connsiteX120" fmla="*/ 10476388 w 11888025"/>
                  <a:gd name="connsiteY120" fmla="*/ 27075 h 222981"/>
                  <a:gd name="connsiteX121" fmla="*/ 10492587 w 11888025"/>
                  <a:gd name="connsiteY121" fmla="*/ 19926 h 222981"/>
                  <a:gd name="connsiteX122" fmla="*/ 10508710 w 11888025"/>
                  <a:gd name="connsiteY122" fmla="*/ 11104 h 222981"/>
                  <a:gd name="connsiteX123" fmla="*/ 10525517 w 11888025"/>
                  <a:gd name="connsiteY123" fmla="*/ 1 h 222981"/>
                  <a:gd name="connsiteX124" fmla="*/ 10259409 w 11888025"/>
                  <a:gd name="connsiteY124" fmla="*/ 1 h 222981"/>
                  <a:gd name="connsiteX125" fmla="*/ 10274315 w 11888025"/>
                  <a:gd name="connsiteY125" fmla="*/ 1 h 222981"/>
                  <a:gd name="connsiteX126" fmla="*/ 10274315 w 11888025"/>
                  <a:gd name="connsiteY126" fmla="*/ 222981 h 222981"/>
                  <a:gd name="connsiteX127" fmla="*/ 10239027 w 11888025"/>
                  <a:gd name="connsiteY127" fmla="*/ 222981 h 222981"/>
                  <a:gd name="connsiteX128" fmla="*/ 10239027 w 11888025"/>
                  <a:gd name="connsiteY128" fmla="*/ 43198 h 222981"/>
                  <a:gd name="connsiteX129" fmla="*/ 10218418 w 11888025"/>
                  <a:gd name="connsiteY129" fmla="*/ 54833 h 222981"/>
                  <a:gd name="connsiteX130" fmla="*/ 10193245 w 11888025"/>
                  <a:gd name="connsiteY130" fmla="*/ 63275 h 222981"/>
                  <a:gd name="connsiteX131" fmla="*/ 10193245 w 11888025"/>
                  <a:gd name="connsiteY131" fmla="*/ 33159 h 222981"/>
                  <a:gd name="connsiteX132" fmla="*/ 10210280 w 11888025"/>
                  <a:gd name="connsiteY132" fmla="*/ 27075 h 222981"/>
                  <a:gd name="connsiteX133" fmla="*/ 10226479 w 11888025"/>
                  <a:gd name="connsiteY133" fmla="*/ 19926 h 222981"/>
                  <a:gd name="connsiteX134" fmla="*/ 10242602 w 11888025"/>
                  <a:gd name="connsiteY134" fmla="*/ 11104 h 222981"/>
                  <a:gd name="connsiteX135" fmla="*/ 10259409 w 11888025"/>
                  <a:gd name="connsiteY135" fmla="*/ 1 h 222981"/>
                  <a:gd name="connsiteX136" fmla="*/ 9647810 w 11888025"/>
                  <a:gd name="connsiteY136" fmla="*/ 1 h 222981"/>
                  <a:gd name="connsiteX137" fmla="*/ 9662716 w 11888025"/>
                  <a:gd name="connsiteY137" fmla="*/ 1 h 222981"/>
                  <a:gd name="connsiteX138" fmla="*/ 9662716 w 11888025"/>
                  <a:gd name="connsiteY138" fmla="*/ 222981 h 222981"/>
                  <a:gd name="connsiteX139" fmla="*/ 9627428 w 11888025"/>
                  <a:gd name="connsiteY139" fmla="*/ 222981 h 222981"/>
                  <a:gd name="connsiteX140" fmla="*/ 9627428 w 11888025"/>
                  <a:gd name="connsiteY140" fmla="*/ 43198 h 222981"/>
                  <a:gd name="connsiteX141" fmla="*/ 9606819 w 11888025"/>
                  <a:gd name="connsiteY141" fmla="*/ 54833 h 222981"/>
                  <a:gd name="connsiteX142" fmla="*/ 9581646 w 11888025"/>
                  <a:gd name="connsiteY142" fmla="*/ 63275 h 222981"/>
                  <a:gd name="connsiteX143" fmla="*/ 9581646 w 11888025"/>
                  <a:gd name="connsiteY143" fmla="*/ 33159 h 222981"/>
                  <a:gd name="connsiteX144" fmla="*/ 9598681 w 11888025"/>
                  <a:gd name="connsiteY144" fmla="*/ 27075 h 222981"/>
                  <a:gd name="connsiteX145" fmla="*/ 9614880 w 11888025"/>
                  <a:gd name="connsiteY145" fmla="*/ 19926 h 222981"/>
                  <a:gd name="connsiteX146" fmla="*/ 9631003 w 11888025"/>
                  <a:gd name="connsiteY146" fmla="*/ 11104 h 222981"/>
                  <a:gd name="connsiteX147" fmla="*/ 9647810 w 11888025"/>
                  <a:gd name="connsiteY147" fmla="*/ 1 h 222981"/>
                  <a:gd name="connsiteX148" fmla="*/ 9381702 w 11888025"/>
                  <a:gd name="connsiteY148" fmla="*/ 1 h 222981"/>
                  <a:gd name="connsiteX149" fmla="*/ 9396608 w 11888025"/>
                  <a:gd name="connsiteY149" fmla="*/ 1 h 222981"/>
                  <a:gd name="connsiteX150" fmla="*/ 9396608 w 11888025"/>
                  <a:gd name="connsiteY150" fmla="*/ 222981 h 222981"/>
                  <a:gd name="connsiteX151" fmla="*/ 9361320 w 11888025"/>
                  <a:gd name="connsiteY151" fmla="*/ 222981 h 222981"/>
                  <a:gd name="connsiteX152" fmla="*/ 9361320 w 11888025"/>
                  <a:gd name="connsiteY152" fmla="*/ 43198 h 222981"/>
                  <a:gd name="connsiteX153" fmla="*/ 9340711 w 11888025"/>
                  <a:gd name="connsiteY153" fmla="*/ 54833 h 222981"/>
                  <a:gd name="connsiteX154" fmla="*/ 9315538 w 11888025"/>
                  <a:gd name="connsiteY154" fmla="*/ 63275 h 222981"/>
                  <a:gd name="connsiteX155" fmla="*/ 9315538 w 11888025"/>
                  <a:gd name="connsiteY155" fmla="*/ 33159 h 222981"/>
                  <a:gd name="connsiteX156" fmla="*/ 9332573 w 11888025"/>
                  <a:gd name="connsiteY156" fmla="*/ 27075 h 222981"/>
                  <a:gd name="connsiteX157" fmla="*/ 9348772 w 11888025"/>
                  <a:gd name="connsiteY157" fmla="*/ 19926 h 222981"/>
                  <a:gd name="connsiteX158" fmla="*/ 9364895 w 11888025"/>
                  <a:gd name="connsiteY158" fmla="*/ 11104 h 222981"/>
                  <a:gd name="connsiteX159" fmla="*/ 9381702 w 11888025"/>
                  <a:gd name="connsiteY159" fmla="*/ 1 h 222981"/>
                  <a:gd name="connsiteX160" fmla="*/ 8775355 w 11888025"/>
                  <a:gd name="connsiteY160" fmla="*/ 1 h 222981"/>
                  <a:gd name="connsiteX161" fmla="*/ 8790261 w 11888025"/>
                  <a:gd name="connsiteY161" fmla="*/ 1 h 222981"/>
                  <a:gd name="connsiteX162" fmla="*/ 8790261 w 11888025"/>
                  <a:gd name="connsiteY162" fmla="*/ 222981 h 222981"/>
                  <a:gd name="connsiteX163" fmla="*/ 8754973 w 11888025"/>
                  <a:gd name="connsiteY163" fmla="*/ 222981 h 222981"/>
                  <a:gd name="connsiteX164" fmla="*/ 8754973 w 11888025"/>
                  <a:gd name="connsiteY164" fmla="*/ 43198 h 222981"/>
                  <a:gd name="connsiteX165" fmla="*/ 8734364 w 11888025"/>
                  <a:gd name="connsiteY165" fmla="*/ 54833 h 222981"/>
                  <a:gd name="connsiteX166" fmla="*/ 8709191 w 11888025"/>
                  <a:gd name="connsiteY166" fmla="*/ 63275 h 222981"/>
                  <a:gd name="connsiteX167" fmla="*/ 8709191 w 11888025"/>
                  <a:gd name="connsiteY167" fmla="*/ 33159 h 222981"/>
                  <a:gd name="connsiteX168" fmla="*/ 8726226 w 11888025"/>
                  <a:gd name="connsiteY168" fmla="*/ 27075 h 222981"/>
                  <a:gd name="connsiteX169" fmla="*/ 8742425 w 11888025"/>
                  <a:gd name="connsiteY169" fmla="*/ 19926 h 222981"/>
                  <a:gd name="connsiteX170" fmla="*/ 8758548 w 11888025"/>
                  <a:gd name="connsiteY170" fmla="*/ 11104 h 222981"/>
                  <a:gd name="connsiteX171" fmla="*/ 8775355 w 11888025"/>
                  <a:gd name="connsiteY171" fmla="*/ 1 h 222981"/>
                  <a:gd name="connsiteX172" fmla="*/ 8509247 w 11888025"/>
                  <a:gd name="connsiteY172" fmla="*/ 1 h 222981"/>
                  <a:gd name="connsiteX173" fmla="*/ 8524153 w 11888025"/>
                  <a:gd name="connsiteY173" fmla="*/ 1 h 222981"/>
                  <a:gd name="connsiteX174" fmla="*/ 8524153 w 11888025"/>
                  <a:gd name="connsiteY174" fmla="*/ 222981 h 222981"/>
                  <a:gd name="connsiteX175" fmla="*/ 8488865 w 11888025"/>
                  <a:gd name="connsiteY175" fmla="*/ 222981 h 222981"/>
                  <a:gd name="connsiteX176" fmla="*/ 8488865 w 11888025"/>
                  <a:gd name="connsiteY176" fmla="*/ 43198 h 222981"/>
                  <a:gd name="connsiteX177" fmla="*/ 8468256 w 11888025"/>
                  <a:gd name="connsiteY177" fmla="*/ 54833 h 222981"/>
                  <a:gd name="connsiteX178" fmla="*/ 8443083 w 11888025"/>
                  <a:gd name="connsiteY178" fmla="*/ 63275 h 222981"/>
                  <a:gd name="connsiteX179" fmla="*/ 8443083 w 11888025"/>
                  <a:gd name="connsiteY179" fmla="*/ 33159 h 222981"/>
                  <a:gd name="connsiteX180" fmla="*/ 8460118 w 11888025"/>
                  <a:gd name="connsiteY180" fmla="*/ 27075 h 222981"/>
                  <a:gd name="connsiteX181" fmla="*/ 8476317 w 11888025"/>
                  <a:gd name="connsiteY181" fmla="*/ 19926 h 222981"/>
                  <a:gd name="connsiteX182" fmla="*/ 8492440 w 11888025"/>
                  <a:gd name="connsiteY182" fmla="*/ 11104 h 222981"/>
                  <a:gd name="connsiteX183" fmla="*/ 8509247 w 11888025"/>
                  <a:gd name="connsiteY183" fmla="*/ 1 h 222981"/>
                  <a:gd name="connsiteX184" fmla="*/ 8097479 w 11888025"/>
                  <a:gd name="connsiteY184" fmla="*/ 1 h 222981"/>
                  <a:gd name="connsiteX185" fmla="*/ 8112386 w 11888025"/>
                  <a:gd name="connsiteY185" fmla="*/ 1 h 222981"/>
                  <a:gd name="connsiteX186" fmla="*/ 8112386 w 11888025"/>
                  <a:gd name="connsiteY186" fmla="*/ 222981 h 222981"/>
                  <a:gd name="connsiteX187" fmla="*/ 8077098 w 11888025"/>
                  <a:gd name="connsiteY187" fmla="*/ 222981 h 222981"/>
                  <a:gd name="connsiteX188" fmla="*/ 8077098 w 11888025"/>
                  <a:gd name="connsiteY188" fmla="*/ 43198 h 222981"/>
                  <a:gd name="connsiteX189" fmla="*/ 8056488 w 11888025"/>
                  <a:gd name="connsiteY189" fmla="*/ 54833 h 222981"/>
                  <a:gd name="connsiteX190" fmla="*/ 8031316 w 11888025"/>
                  <a:gd name="connsiteY190" fmla="*/ 63275 h 222981"/>
                  <a:gd name="connsiteX191" fmla="*/ 8031316 w 11888025"/>
                  <a:gd name="connsiteY191" fmla="*/ 33159 h 222981"/>
                  <a:gd name="connsiteX192" fmla="*/ 8048351 w 11888025"/>
                  <a:gd name="connsiteY192" fmla="*/ 27075 h 222981"/>
                  <a:gd name="connsiteX193" fmla="*/ 8064550 w 11888025"/>
                  <a:gd name="connsiteY193" fmla="*/ 19926 h 222981"/>
                  <a:gd name="connsiteX194" fmla="*/ 8080672 w 11888025"/>
                  <a:gd name="connsiteY194" fmla="*/ 11104 h 222981"/>
                  <a:gd name="connsiteX195" fmla="*/ 8097479 w 11888025"/>
                  <a:gd name="connsiteY195" fmla="*/ 1 h 222981"/>
                  <a:gd name="connsiteX196" fmla="*/ 7964425 w 11888025"/>
                  <a:gd name="connsiteY196" fmla="*/ 1 h 222981"/>
                  <a:gd name="connsiteX197" fmla="*/ 7979332 w 11888025"/>
                  <a:gd name="connsiteY197" fmla="*/ 1 h 222981"/>
                  <a:gd name="connsiteX198" fmla="*/ 7979332 w 11888025"/>
                  <a:gd name="connsiteY198" fmla="*/ 222981 h 222981"/>
                  <a:gd name="connsiteX199" fmla="*/ 7944044 w 11888025"/>
                  <a:gd name="connsiteY199" fmla="*/ 222981 h 222981"/>
                  <a:gd name="connsiteX200" fmla="*/ 7944044 w 11888025"/>
                  <a:gd name="connsiteY200" fmla="*/ 43198 h 222981"/>
                  <a:gd name="connsiteX201" fmla="*/ 7923434 w 11888025"/>
                  <a:gd name="connsiteY201" fmla="*/ 54833 h 222981"/>
                  <a:gd name="connsiteX202" fmla="*/ 7898262 w 11888025"/>
                  <a:gd name="connsiteY202" fmla="*/ 63275 h 222981"/>
                  <a:gd name="connsiteX203" fmla="*/ 7898262 w 11888025"/>
                  <a:gd name="connsiteY203" fmla="*/ 33159 h 222981"/>
                  <a:gd name="connsiteX204" fmla="*/ 7915297 w 11888025"/>
                  <a:gd name="connsiteY204" fmla="*/ 27075 h 222981"/>
                  <a:gd name="connsiteX205" fmla="*/ 7931496 w 11888025"/>
                  <a:gd name="connsiteY205" fmla="*/ 19926 h 222981"/>
                  <a:gd name="connsiteX206" fmla="*/ 7947618 w 11888025"/>
                  <a:gd name="connsiteY206" fmla="*/ 11104 h 222981"/>
                  <a:gd name="connsiteX207" fmla="*/ 7964425 w 11888025"/>
                  <a:gd name="connsiteY207" fmla="*/ 1 h 222981"/>
                  <a:gd name="connsiteX208" fmla="*/ 7831371 w 11888025"/>
                  <a:gd name="connsiteY208" fmla="*/ 1 h 222981"/>
                  <a:gd name="connsiteX209" fmla="*/ 7846278 w 11888025"/>
                  <a:gd name="connsiteY209" fmla="*/ 1 h 222981"/>
                  <a:gd name="connsiteX210" fmla="*/ 7846278 w 11888025"/>
                  <a:gd name="connsiteY210" fmla="*/ 222981 h 222981"/>
                  <a:gd name="connsiteX211" fmla="*/ 7810990 w 11888025"/>
                  <a:gd name="connsiteY211" fmla="*/ 222981 h 222981"/>
                  <a:gd name="connsiteX212" fmla="*/ 7810990 w 11888025"/>
                  <a:gd name="connsiteY212" fmla="*/ 43198 h 222981"/>
                  <a:gd name="connsiteX213" fmla="*/ 7790380 w 11888025"/>
                  <a:gd name="connsiteY213" fmla="*/ 54833 h 222981"/>
                  <a:gd name="connsiteX214" fmla="*/ 7765208 w 11888025"/>
                  <a:gd name="connsiteY214" fmla="*/ 63275 h 222981"/>
                  <a:gd name="connsiteX215" fmla="*/ 7765208 w 11888025"/>
                  <a:gd name="connsiteY215" fmla="*/ 33159 h 222981"/>
                  <a:gd name="connsiteX216" fmla="*/ 7782243 w 11888025"/>
                  <a:gd name="connsiteY216" fmla="*/ 27075 h 222981"/>
                  <a:gd name="connsiteX217" fmla="*/ 7798442 w 11888025"/>
                  <a:gd name="connsiteY217" fmla="*/ 19926 h 222981"/>
                  <a:gd name="connsiteX218" fmla="*/ 7814564 w 11888025"/>
                  <a:gd name="connsiteY218" fmla="*/ 11104 h 222981"/>
                  <a:gd name="connsiteX219" fmla="*/ 7831371 w 11888025"/>
                  <a:gd name="connsiteY219" fmla="*/ 1 h 222981"/>
                  <a:gd name="connsiteX220" fmla="*/ 7688759 w 11888025"/>
                  <a:gd name="connsiteY220" fmla="*/ 1 h 222981"/>
                  <a:gd name="connsiteX221" fmla="*/ 7703666 w 11888025"/>
                  <a:gd name="connsiteY221" fmla="*/ 1 h 222981"/>
                  <a:gd name="connsiteX222" fmla="*/ 7703666 w 11888025"/>
                  <a:gd name="connsiteY222" fmla="*/ 222981 h 222981"/>
                  <a:gd name="connsiteX223" fmla="*/ 7668378 w 11888025"/>
                  <a:gd name="connsiteY223" fmla="*/ 222981 h 222981"/>
                  <a:gd name="connsiteX224" fmla="*/ 7668378 w 11888025"/>
                  <a:gd name="connsiteY224" fmla="*/ 43198 h 222981"/>
                  <a:gd name="connsiteX225" fmla="*/ 7647768 w 11888025"/>
                  <a:gd name="connsiteY225" fmla="*/ 54833 h 222981"/>
                  <a:gd name="connsiteX226" fmla="*/ 7622596 w 11888025"/>
                  <a:gd name="connsiteY226" fmla="*/ 63275 h 222981"/>
                  <a:gd name="connsiteX227" fmla="*/ 7622596 w 11888025"/>
                  <a:gd name="connsiteY227" fmla="*/ 33159 h 222981"/>
                  <a:gd name="connsiteX228" fmla="*/ 7639631 w 11888025"/>
                  <a:gd name="connsiteY228" fmla="*/ 27075 h 222981"/>
                  <a:gd name="connsiteX229" fmla="*/ 7655830 w 11888025"/>
                  <a:gd name="connsiteY229" fmla="*/ 19926 h 222981"/>
                  <a:gd name="connsiteX230" fmla="*/ 7671952 w 11888025"/>
                  <a:gd name="connsiteY230" fmla="*/ 11104 h 222981"/>
                  <a:gd name="connsiteX231" fmla="*/ 7688759 w 11888025"/>
                  <a:gd name="connsiteY231" fmla="*/ 1 h 222981"/>
                  <a:gd name="connsiteX232" fmla="*/ 6941419 w 11888025"/>
                  <a:gd name="connsiteY232" fmla="*/ 1 h 222981"/>
                  <a:gd name="connsiteX233" fmla="*/ 6956326 w 11888025"/>
                  <a:gd name="connsiteY233" fmla="*/ 1 h 222981"/>
                  <a:gd name="connsiteX234" fmla="*/ 6956326 w 11888025"/>
                  <a:gd name="connsiteY234" fmla="*/ 222981 h 222981"/>
                  <a:gd name="connsiteX235" fmla="*/ 6921038 w 11888025"/>
                  <a:gd name="connsiteY235" fmla="*/ 222981 h 222981"/>
                  <a:gd name="connsiteX236" fmla="*/ 6921038 w 11888025"/>
                  <a:gd name="connsiteY236" fmla="*/ 43198 h 222981"/>
                  <a:gd name="connsiteX237" fmla="*/ 6900428 w 11888025"/>
                  <a:gd name="connsiteY237" fmla="*/ 54833 h 222981"/>
                  <a:gd name="connsiteX238" fmla="*/ 6875256 w 11888025"/>
                  <a:gd name="connsiteY238" fmla="*/ 63275 h 222981"/>
                  <a:gd name="connsiteX239" fmla="*/ 6875256 w 11888025"/>
                  <a:gd name="connsiteY239" fmla="*/ 33159 h 222981"/>
                  <a:gd name="connsiteX240" fmla="*/ 6892291 w 11888025"/>
                  <a:gd name="connsiteY240" fmla="*/ 27075 h 222981"/>
                  <a:gd name="connsiteX241" fmla="*/ 6908490 w 11888025"/>
                  <a:gd name="connsiteY241" fmla="*/ 19926 h 222981"/>
                  <a:gd name="connsiteX242" fmla="*/ 6924612 w 11888025"/>
                  <a:gd name="connsiteY242" fmla="*/ 11104 h 222981"/>
                  <a:gd name="connsiteX243" fmla="*/ 6941419 w 11888025"/>
                  <a:gd name="connsiteY243" fmla="*/ 1 h 222981"/>
                  <a:gd name="connsiteX244" fmla="*/ 6797293 w 11888025"/>
                  <a:gd name="connsiteY244" fmla="*/ 1 h 222981"/>
                  <a:gd name="connsiteX245" fmla="*/ 6812200 w 11888025"/>
                  <a:gd name="connsiteY245" fmla="*/ 1 h 222981"/>
                  <a:gd name="connsiteX246" fmla="*/ 6812200 w 11888025"/>
                  <a:gd name="connsiteY246" fmla="*/ 222981 h 222981"/>
                  <a:gd name="connsiteX247" fmla="*/ 6776912 w 11888025"/>
                  <a:gd name="connsiteY247" fmla="*/ 222981 h 222981"/>
                  <a:gd name="connsiteX248" fmla="*/ 6776912 w 11888025"/>
                  <a:gd name="connsiteY248" fmla="*/ 43198 h 222981"/>
                  <a:gd name="connsiteX249" fmla="*/ 6756302 w 11888025"/>
                  <a:gd name="connsiteY249" fmla="*/ 54833 h 222981"/>
                  <a:gd name="connsiteX250" fmla="*/ 6731130 w 11888025"/>
                  <a:gd name="connsiteY250" fmla="*/ 63275 h 222981"/>
                  <a:gd name="connsiteX251" fmla="*/ 6731130 w 11888025"/>
                  <a:gd name="connsiteY251" fmla="*/ 33159 h 222981"/>
                  <a:gd name="connsiteX252" fmla="*/ 6748165 w 11888025"/>
                  <a:gd name="connsiteY252" fmla="*/ 27075 h 222981"/>
                  <a:gd name="connsiteX253" fmla="*/ 6764364 w 11888025"/>
                  <a:gd name="connsiteY253" fmla="*/ 19926 h 222981"/>
                  <a:gd name="connsiteX254" fmla="*/ 6780486 w 11888025"/>
                  <a:gd name="connsiteY254" fmla="*/ 11104 h 222981"/>
                  <a:gd name="connsiteX255" fmla="*/ 6797293 w 11888025"/>
                  <a:gd name="connsiteY255" fmla="*/ 1 h 222981"/>
                  <a:gd name="connsiteX256" fmla="*/ 6105316 w 11888025"/>
                  <a:gd name="connsiteY256" fmla="*/ 1 h 222981"/>
                  <a:gd name="connsiteX257" fmla="*/ 6120223 w 11888025"/>
                  <a:gd name="connsiteY257" fmla="*/ 1 h 222981"/>
                  <a:gd name="connsiteX258" fmla="*/ 6120223 w 11888025"/>
                  <a:gd name="connsiteY258" fmla="*/ 222981 h 222981"/>
                  <a:gd name="connsiteX259" fmla="*/ 6084935 w 11888025"/>
                  <a:gd name="connsiteY259" fmla="*/ 222981 h 222981"/>
                  <a:gd name="connsiteX260" fmla="*/ 6084935 w 11888025"/>
                  <a:gd name="connsiteY260" fmla="*/ 43198 h 222981"/>
                  <a:gd name="connsiteX261" fmla="*/ 6064325 w 11888025"/>
                  <a:gd name="connsiteY261" fmla="*/ 54833 h 222981"/>
                  <a:gd name="connsiteX262" fmla="*/ 6039153 w 11888025"/>
                  <a:gd name="connsiteY262" fmla="*/ 63275 h 222981"/>
                  <a:gd name="connsiteX263" fmla="*/ 6039153 w 11888025"/>
                  <a:gd name="connsiteY263" fmla="*/ 33159 h 222981"/>
                  <a:gd name="connsiteX264" fmla="*/ 6056188 w 11888025"/>
                  <a:gd name="connsiteY264" fmla="*/ 27075 h 222981"/>
                  <a:gd name="connsiteX265" fmla="*/ 6072387 w 11888025"/>
                  <a:gd name="connsiteY265" fmla="*/ 19926 h 222981"/>
                  <a:gd name="connsiteX266" fmla="*/ 6088509 w 11888025"/>
                  <a:gd name="connsiteY266" fmla="*/ 11104 h 222981"/>
                  <a:gd name="connsiteX267" fmla="*/ 6105316 w 11888025"/>
                  <a:gd name="connsiteY267" fmla="*/ 1 h 222981"/>
                  <a:gd name="connsiteX268" fmla="*/ 5817065 w 11888025"/>
                  <a:gd name="connsiteY268" fmla="*/ 1 h 222981"/>
                  <a:gd name="connsiteX269" fmla="*/ 5831972 w 11888025"/>
                  <a:gd name="connsiteY269" fmla="*/ 1 h 222981"/>
                  <a:gd name="connsiteX270" fmla="*/ 5831972 w 11888025"/>
                  <a:gd name="connsiteY270" fmla="*/ 222981 h 222981"/>
                  <a:gd name="connsiteX271" fmla="*/ 5796684 w 11888025"/>
                  <a:gd name="connsiteY271" fmla="*/ 222981 h 222981"/>
                  <a:gd name="connsiteX272" fmla="*/ 5796684 w 11888025"/>
                  <a:gd name="connsiteY272" fmla="*/ 43198 h 222981"/>
                  <a:gd name="connsiteX273" fmla="*/ 5776074 w 11888025"/>
                  <a:gd name="connsiteY273" fmla="*/ 54833 h 222981"/>
                  <a:gd name="connsiteX274" fmla="*/ 5750902 w 11888025"/>
                  <a:gd name="connsiteY274" fmla="*/ 63275 h 222981"/>
                  <a:gd name="connsiteX275" fmla="*/ 5750902 w 11888025"/>
                  <a:gd name="connsiteY275" fmla="*/ 33159 h 222981"/>
                  <a:gd name="connsiteX276" fmla="*/ 5767937 w 11888025"/>
                  <a:gd name="connsiteY276" fmla="*/ 27075 h 222981"/>
                  <a:gd name="connsiteX277" fmla="*/ 5784136 w 11888025"/>
                  <a:gd name="connsiteY277" fmla="*/ 19926 h 222981"/>
                  <a:gd name="connsiteX278" fmla="*/ 5800258 w 11888025"/>
                  <a:gd name="connsiteY278" fmla="*/ 11104 h 222981"/>
                  <a:gd name="connsiteX279" fmla="*/ 5817065 w 11888025"/>
                  <a:gd name="connsiteY279" fmla="*/ 1 h 222981"/>
                  <a:gd name="connsiteX280" fmla="*/ 5434197 w 11888025"/>
                  <a:gd name="connsiteY280" fmla="*/ 1 h 222981"/>
                  <a:gd name="connsiteX281" fmla="*/ 5449104 w 11888025"/>
                  <a:gd name="connsiteY281" fmla="*/ 1 h 222981"/>
                  <a:gd name="connsiteX282" fmla="*/ 5449104 w 11888025"/>
                  <a:gd name="connsiteY282" fmla="*/ 222981 h 222981"/>
                  <a:gd name="connsiteX283" fmla="*/ 5413816 w 11888025"/>
                  <a:gd name="connsiteY283" fmla="*/ 222981 h 222981"/>
                  <a:gd name="connsiteX284" fmla="*/ 5413816 w 11888025"/>
                  <a:gd name="connsiteY284" fmla="*/ 43198 h 222981"/>
                  <a:gd name="connsiteX285" fmla="*/ 5393206 w 11888025"/>
                  <a:gd name="connsiteY285" fmla="*/ 54833 h 222981"/>
                  <a:gd name="connsiteX286" fmla="*/ 5368034 w 11888025"/>
                  <a:gd name="connsiteY286" fmla="*/ 63275 h 222981"/>
                  <a:gd name="connsiteX287" fmla="*/ 5368034 w 11888025"/>
                  <a:gd name="connsiteY287" fmla="*/ 33159 h 222981"/>
                  <a:gd name="connsiteX288" fmla="*/ 5385069 w 11888025"/>
                  <a:gd name="connsiteY288" fmla="*/ 27075 h 222981"/>
                  <a:gd name="connsiteX289" fmla="*/ 5401268 w 11888025"/>
                  <a:gd name="connsiteY289" fmla="*/ 19926 h 222981"/>
                  <a:gd name="connsiteX290" fmla="*/ 5417390 w 11888025"/>
                  <a:gd name="connsiteY290" fmla="*/ 11104 h 222981"/>
                  <a:gd name="connsiteX291" fmla="*/ 5434197 w 11888025"/>
                  <a:gd name="connsiteY291" fmla="*/ 1 h 222981"/>
                  <a:gd name="connsiteX292" fmla="*/ 5290071 w 11888025"/>
                  <a:gd name="connsiteY292" fmla="*/ 1 h 222981"/>
                  <a:gd name="connsiteX293" fmla="*/ 5304978 w 11888025"/>
                  <a:gd name="connsiteY293" fmla="*/ 1 h 222981"/>
                  <a:gd name="connsiteX294" fmla="*/ 5304978 w 11888025"/>
                  <a:gd name="connsiteY294" fmla="*/ 222981 h 222981"/>
                  <a:gd name="connsiteX295" fmla="*/ 5269690 w 11888025"/>
                  <a:gd name="connsiteY295" fmla="*/ 222981 h 222981"/>
                  <a:gd name="connsiteX296" fmla="*/ 5269690 w 11888025"/>
                  <a:gd name="connsiteY296" fmla="*/ 43198 h 222981"/>
                  <a:gd name="connsiteX297" fmla="*/ 5249080 w 11888025"/>
                  <a:gd name="connsiteY297" fmla="*/ 54833 h 222981"/>
                  <a:gd name="connsiteX298" fmla="*/ 5223908 w 11888025"/>
                  <a:gd name="connsiteY298" fmla="*/ 63275 h 222981"/>
                  <a:gd name="connsiteX299" fmla="*/ 5223908 w 11888025"/>
                  <a:gd name="connsiteY299" fmla="*/ 33159 h 222981"/>
                  <a:gd name="connsiteX300" fmla="*/ 5240943 w 11888025"/>
                  <a:gd name="connsiteY300" fmla="*/ 27075 h 222981"/>
                  <a:gd name="connsiteX301" fmla="*/ 5257142 w 11888025"/>
                  <a:gd name="connsiteY301" fmla="*/ 19926 h 222981"/>
                  <a:gd name="connsiteX302" fmla="*/ 5273264 w 11888025"/>
                  <a:gd name="connsiteY302" fmla="*/ 11104 h 222981"/>
                  <a:gd name="connsiteX303" fmla="*/ 5290071 w 11888025"/>
                  <a:gd name="connsiteY303" fmla="*/ 1 h 222981"/>
                  <a:gd name="connsiteX304" fmla="*/ 5145946 w 11888025"/>
                  <a:gd name="connsiteY304" fmla="*/ 1 h 222981"/>
                  <a:gd name="connsiteX305" fmla="*/ 5160853 w 11888025"/>
                  <a:gd name="connsiteY305" fmla="*/ 1 h 222981"/>
                  <a:gd name="connsiteX306" fmla="*/ 5160853 w 11888025"/>
                  <a:gd name="connsiteY306" fmla="*/ 222981 h 222981"/>
                  <a:gd name="connsiteX307" fmla="*/ 5125565 w 11888025"/>
                  <a:gd name="connsiteY307" fmla="*/ 222981 h 222981"/>
                  <a:gd name="connsiteX308" fmla="*/ 5125565 w 11888025"/>
                  <a:gd name="connsiteY308" fmla="*/ 43198 h 222981"/>
                  <a:gd name="connsiteX309" fmla="*/ 5104955 w 11888025"/>
                  <a:gd name="connsiteY309" fmla="*/ 54833 h 222981"/>
                  <a:gd name="connsiteX310" fmla="*/ 5079783 w 11888025"/>
                  <a:gd name="connsiteY310" fmla="*/ 63275 h 222981"/>
                  <a:gd name="connsiteX311" fmla="*/ 5079783 w 11888025"/>
                  <a:gd name="connsiteY311" fmla="*/ 33159 h 222981"/>
                  <a:gd name="connsiteX312" fmla="*/ 5096818 w 11888025"/>
                  <a:gd name="connsiteY312" fmla="*/ 27075 h 222981"/>
                  <a:gd name="connsiteX313" fmla="*/ 5113017 w 11888025"/>
                  <a:gd name="connsiteY313" fmla="*/ 19926 h 222981"/>
                  <a:gd name="connsiteX314" fmla="*/ 5129139 w 11888025"/>
                  <a:gd name="connsiteY314" fmla="*/ 11104 h 222981"/>
                  <a:gd name="connsiteX315" fmla="*/ 5145946 w 11888025"/>
                  <a:gd name="connsiteY315" fmla="*/ 1 h 222981"/>
                  <a:gd name="connsiteX316" fmla="*/ 5001821 w 11888025"/>
                  <a:gd name="connsiteY316" fmla="*/ 1 h 222981"/>
                  <a:gd name="connsiteX317" fmla="*/ 5016728 w 11888025"/>
                  <a:gd name="connsiteY317" fmla="*/ 1 h 222981"/>
                  <a:gd name="connsiteX318" fmla="*/ 5016728 w 11888025"/>
                  <a:gd name="connsiteY318" fmla="*/ 222981 h 222981"/>
                  <a:gd name="connsiteX319" fmla="*/ 4981440 w 11888025"/>
                  <a:gd name="connsiteY319" fmla="*/ 222981 h 222981"/>
                  <a:gd name="connsiteX320" fmla="*/ 4981440 w 11888025"/>
                  <a:gd name="connsiteY320" fmla="*/ 43198 h 222981"/>
                  <a:gd name="connsiteX321" fmla="*/ 4960830 w 11888025"/>
                  <a:gd name="connsiteY321" fmla="*/ 54833 h 222981"/>
                  <a:gd name="connsiteX322" fmla="*/ 4935658 w 11888025"/>
                  <a:gd name="connsiteY322" fmla="*/ 63275 h 222981"/>
                  <a:gd name="connsiteX323" fmla="*/ 4935658 w 11888025"/>
                  <a:gd name="connsiteY323" fmla="*/ 33159 h 222981"/>
                  <a:gd name="connsiteX324" fmla="*/ 4952693 w 11888025"/>
                  <a:gd name="connsiteY324" fmla="*/ 27075 h 222981"/>
                  <a:gd name="connsiteX325" fmla="*/ 4968892 w 11888025"/>
                  <a:gd name="connsiteY325" fmla="*/ 19926 h 222981"/>
                  <a:gd name="connsiteX326" fmla="*/ 4985014 w 11888025"/>
                  <a:gd name="connsiteY326" fmla="*/ 11104 h 222981"/>
                  <a:gd name="connsiteX327" fmla="*/ 5001821 w 11888025"/>
                  <a:gd name="connsiteY327" fmla="*/ 1 h 222981"/>
                  <a:gd name="connsiteX328" fmla="*/ 4857696 w 11888025"/>
                  <a:gd name="connsiteY328" fmla="*/ 1 h 222981"/>
                  <a:gd name="connsiteX329" fmla="*/ 4872603 w 11888025"/>
                  <a:gd name="connsiteY329" fmla="*/ 1 h 222981"/>
                  <a:gd name="connsiteX330" fmla="*/ 4872603 w 11888025"/>
                  <a:gd name="connsiteY330" fmla="*/ 222981 h 222981"/>
                  <a:gd name="connsiteX331" fmla="*/ 4837315 w 11888025"/>
                  <a:gd name="connsiteY331" fmla="*/ 222981 h 222981"/>
                  <a:gd name="connsiteX332" fmla="*/ 4837315 w 11888025"/>
                  <a:gd name="connsiteY332" fmla="*/ 43198 h 222981"/>
                  <a:gd name="connsiteX333" fmla="*/ 4816705 w 11888025"/>
                  <a:gd name="connsiteY333" fmla="*/ 54833 h 222981"/>
                  <a:gd name="connsiteX334" fmla="*/ 4791533 w 11888025"/>
                  <a:gd name="connsiteY334" fmla="*/ 63275 h 222981"/>
                  <a:gd name="connsiteX335" fmla="*/ 4791533 w 11888025"/>
                  <a:gd name="connsiteY335" fmla="*/ 33159 h 222981"/>
                  <a:gd name="connsiteX336" fmla="*/ 4808568 w 11888025"/>
                  <a:gd name="connsiteY336" fmla="*/ 27075 h 222981"/>
                  <a:gd name="connsiteX337" fmla="*/ 4824767 w 11888025"/>
                  <a:gd name="connsiteY337" fmla="*/ 19926 h 222981"/>
                  <a:gd name="connsiteX338" fmla="*/ 4840889 w 11888025"/>
                  <a:gd name="connsiteY338" fmla="*/ 11104 h 222981"/>
                  <a:gd name="connsiteX339" fmla="*/ 4857696 w 11888025"/>
                  <a:gd name="connsiteY339" fmla="*/ 1 h 222981"/>
                  <a:gd name="connsiteX340" fmla="*/ 4469464 w 11888025"/>
                  <a:gd name="connsiteY340" fmla="*/ 1 h 222981"/>
                  <a:gd name="connsiteX341" fmla="*/ 4484370 w 11888025"/>
                  <a:gd name="connsiteY341" fmla="*/ 1 h 222981"/>
                  <a:gd name="connsiteX342" fmla="*/ 4484370 w 11888025"/>
                  <a:gd name="connsiteY342" fmla="*/ 222981 h 222981"/>
                  <a:gd name="connsiteX343" fmla="*/ 4449082 w 11888025"/>
                  <a:gd name="connsiteY343" fmla="*/ 222981 h 222981"/>
                  <a:gd name="connsiteX344" fmla="*/ 4449082 w 11888025"/>
                  <a:gd name="connsiteY344" fmla="*/ 43198 h 222981"/>
                  <a:gd name="connsiteX345" fmla="*/ 4428473 w 11888025"/>
                  <a:gd name="connsiteY345" fmla="*/ 54833 h 222981"/>
                  <a:gd name="connsiteX346" fmla="*/ 4403300 w 11888025"/>
                  <a:gd name="connsiteY346" fmla="*/ 63275 h 222981"/>
                  <a:gd name="connsiteX347" fmla="*/ 4403300 w 11888025"/>
                  <a:gd name="connsiteY347" fmla="*/ 33159 h 222981"/>
                  <a:gd name="connsiteX348" fmla="*/ 4420335 w 11888025"/>
                  <a:gd name="connsiteY348" fmla="*/ 27075 h 222981"/>
                  <a:gd name="connsiteX349" fmla="*/ 4436534 w 11888025"/>
                  <a:gd name="connsiteY349" fmla="*/ 19926 h 222981"/>
                  <a:gd name="connsiteX350" fmla="*/ 4452657 w 11888025"/>
                  <a:gd name="connsiteY350" fmla="*/ 11104 h 222981"/>
                  <a:gd name="connsiteX351" fmla="*/ 4469464 w 11888025"/>
                  <a:gd name="connsiteY351" fmla="*/ 1 h 222981"/>
                  <a:gd name="connsiteX352" fmla="*/ 4203356 w 11888025"/>
                  <a:gd name="connsiteY352" fmla="*/ 1 h 222981"/>
                  <a:gd name="connsiteX353" fmla="*/ 4218262 w 11888025"/>
                  <a:gd name="connsiteY353" fmla="*/ 1 h 222981"/>
                  <a:gd name="connsiteX354" fmla="*/ 4218262 w 11888025"/>
                  <a:gd name="connsiteY354" fmla="*/ 222981 h 222981"/>
                  <a:gd name="connsiteX355" fmla="*/ 4182974 w 11888025"/>
                  <a:gd name="connsiteY355" fmla="*/ 222981 h 222981"/>
                  <a:gd name="connsiteX356" fmla="*/ 4182974 w 11888025"/>
                  <a:gd name="connsiteY356" fmla="*/ 43198 h 222981"/>
                  <a:gd name="connsiteX357" fmla="*/ 4162365 w 11888025"/>
                  <a:gd name="connsiteY357" fmla="*/ 54833 h 222981"/>
                  <a:gd name="connsiteX358" fmla="*/ 4137192 w 11888025"/>
                  <a:gd name="connsiteY358" fmla="*/ 63275 h 222981"/>
                  <a:gd name="connsiteX359" fmla="*/ 4137192 w 11888025"/>
                  <a:gd name="connsiteY359" fmla="*/ 33159 h 222981"/>
                  <a:gd name="connsiteX360" fmla="*/ 4154227 w 11888025"/>
                  <a:gd name="connsiteY360" fmla="*/ 27075 h 222981"/>
                  <a:gd name="connsiteX361" fmla="*/ 4170426 w 11888025"/>
                  <a:gd name="connsiteY361" fmla="*/ 19926 h 222981"/>
                  <a:gd name="connsiteX362" fmla="*/ 4186549 w 11888025"/>
                  <a:gd name="connsiteY362" fmla="*/ 11104 h 222981"/>
                  <a:gd name="connsiteX363" fmla="*/ 4203356 w 11888025"/>
                  <a:gd name="connsiteY363" fmla="*/ 1 h 222981"/>
                  <a:gd name="connsiteX364" fmla="*/ 3591757 w 11888025"/>
                  <a:gd name="connsiteY364" fmla="*/ 1 h 222981"/>
                  <a:gd name="connsiteX365" fmla="*/ 3606663 w 11888025"/>
                  <a:gd name="connsiteY365" fmla="*/ 1 h 222981"/>
                  <a:gd name="connsiteX366" fmla="*/ 3606663 w 11888025"/>
                  <a:gd name="connsiteY366" fmla="*/ 222981 h 222981"/>
                  <a:gd name="connsiteX367" fmla="*/ 3571375 w 11888025"/>
                  <a:gd name="connsiteY367" fmla="*/ 222981 h 222981"/>
                  <a:gd name="connsiteX368" fmla="*/ 3571375 w 11888025"/>
                  <a:gd name="connsiteY368" fmla="*/ 43198 h 222981"/>
                  <a:gd name="connsiteX369" fmla="*/ 3550766 w 11888025"/>
                  <a:gd name="connsiteY369" fmla="*/ 54833 h 222981"/>
                  <a:gd name="connsiteX370" fmla="*/ 3525593 w 11888025"/>
                  <a:gd name="connsiteY370" fmla="*/ 63275 h 222981"/>
                  <a:gd name="connsiteX371" fmla="*/ 3525593 w 11888025"/>
                  <a:gd name="connsiteY371" fmla="*/ 33159 h 222981"/>
                  <a:gd name="connsiteX372" fmla="*/ 3542628 w 11888025"/>
                  <a:gd name="connsiteY372" fmla="*/ 27075 h 222981"/>
                  <a:gd name="connsiteX373" fmla="*/ 3558827 w 11888025"/>
                  <a:gd name="connsiteY373" fmla="*/ 19926 h 222981"/>
                  <a:gd name="connsiteX374" fmla="*/ 3574950 w 11888025"/>
                  <a:gd name="connsiteY374" fmla="*/ 11104 h 222981"/>
                  <a:gd name="connsiteX375" fmla="*/ 3591757 w 11888025"/>
                  <a:gd name="connsiteY375" fmla="*/ 1 h 222981"/>
                  <a:gd name="connsiteX376" fmla="*/ 3325649 w 11888025"/>
                  <a:gd name="connsiteY376" fmla="*/ 1 h 222981"/>
                  <a:gd name="connsiteX377" fmla="*/ 3340555 w 11888025"/>
                  <a:gd name="connsiteY377" fmla="*/ 1 h 222981"/>
                  <a:gd name="connsiteX378" fmla="*/ 3340555 w 11888025"/>
                  <a:gd name="connsiteY378" fmla="*/ 222981 h 222981"/>
                  <a:gd name="connsiteX379" fmla="*/ 3305267 w 11888025"/>
                  <a:gd name="connsiteY379" fmla="*/ 222981 h 222981"/>
                  <a:gd name="connsiteX380" fmla="*/ 3305267 w 11888025"/>
                  <a:gd name="connsiteY380" fmla="*/ 43198 h 222981"/>
                  <a:gd name="connsiteX381" fmla="*/ 3284658 w 11888025"/>
                  <a:gd name="connsiteY381" fmla="*/ 54833 h 222981"/>
                  <a:gd name="connsiteX382" fmla="*/ 3259485 w 11888025"/>
                  <a:gd name="connsiteY382" fmla="*/ 63275 h 222981"/>
                  <a:gd name="connsiteX383" fmla="*/ 3259485 w 11888025"/>
                  <a:gd name="connsiteY383" fmla="*/ 33159 h 222981"/>
                  <a:gd name="connsiteX384" fmla="*/ 3276520 w 11888025"/>
                  <a:gd name="connsiteY384" fmla="*/ 27075 h 222981"/>
                  <a:gd name="connsiteX385" fmla="*/ 3292719 w 11888025"/>
                  <a:gd name="connsiteY385" fmla="*/ 19926 h 222981"/>
                  <a:gd name="connsiteX386" fmla="*/ 3308842 w 11888025"/>
                  <a:gd name="connsiteY386" fmla="*/ 11104 h 222981"/>
                  <a:gd name="connsiteX387" fmla="*/ 3325649 w 11888025"/>
                  <a:gd name="connsiteY387" fmla="*/ 1 h 222981"/>
                  <a:gd name="connsiteX388" fmla="*/ 2719302 w 11888025"/>
                  <a:gd name="connsiteY388" fmla="*/ 1 h 222981"/>
                  <a:gd name="connsiteX389" fmla="*/ 2734208 w 11888025"/>
                  <a:gd name="connsiteY389" fmla="*/ 1 h 222981"/>
                  <a:gd name="connsiteX390" fmla="*/ 2734208 w 11888025"/>
                  <a:gd name="connsiteY390" fmla="*/ 222981 h 222981"/>
                  <a:gd name="connsiteX391" fmla="*/ 2698920 w 11888025"/>
                  <a:gd name="connsiteY391" fmla="*/ 222981 h 222981"/>
                  <a:gd name="connsiteX392" fmla="*/ 2698920 w 11888025"/>
                  <a:gd name="connsiteY392" fmla="*/ 43198 h 222981"/>
                  <a:gd name="connsiteX393" fmla="*/ 2678311 w 11888025"/>
                  <a:gd name="connsiteY393" fmla="*/ 54833 h 222981"/>
                  <a:gd name="connsiteX394" fmla="*/ 2653138 w 11888025"/>
                  <a:gd name="connsiteY394" fmla="*/ 63275 h 222981"/>
                  <a:gd name="connsiteX395" fmla="*/ 2653138 w 11888025"/>
                  <a:gd name="connsiteY395" fmla="*/ 33159 h 222981"/>
                  <a:gd name="connsiteX396" fmla="*/ 2670173 w 11888025"/>
                  <a:gd name="connsiteY396" fmla="*/ 27075 h 222981"/>
                  <a:gd name="connsiteX397" fmla="*/ 2686372 w 11888025"/>
                  <a:gd name="connsiteY397" fmla="*/ 19926 h 222981"/>
                  <a:gd name="connsiteX398" fmla="*/ 2702495 w 11888025"/>
                  <a:gd name="connsiteY398" fmla="*/ 11104 h 222981"/>
                  <a:gd name="connsiteX399" fmla="*/ 2719302 w 11888025"/>
                  <a:gd name="connsiteY399" fmla="*/ 1 h 222981"/>
                  <a:gd name="connsiteX400" fmla="*/ 2453194 w 11888025"/>
                  <a:gd name="connsiteY400" fmla="*/ 1 h 222981"/>
                  <a:gd name="connsiteX401" fmla="*/ 2468100 w 11888025"/>
                  <a:gd name="connsiteY401" fmla="*/ 1 h 222981"/>
                  <a:gd name="connsiteX402" fmla="*/ 2468100 w 11888025"/>
                  <a:gd name="connsiteY402" fmla="*/ 222981 h 222981"/>
                  <a:gd name="connsiteX403" fmla="*/ 2432812 w 11888025"/>
                  <a:gd name="connsiteY403" fmla="*/ 222981 h 222981"/>
                  <a:gd name="connsiteX404" fmla="*/ 2432812 w 11888025"/>
                  <a:gd name="connsiteY404" fmla="*/ 43198 h 222981"/>
                  <a:gd name="connsiteX405" fmla="*/ 2412203 w 11888025"/>
                  <a:gd name="connsiteY405" fmla="*/ 54833 h 222981"/>
                  <a:gd name="connsiteX406" fmla="*/ 2387030 w 11888025"/>
                  <a:gd name="connsiteY406" fmla="*/ 63275 h 222981"/>
                  <a:gd name="connsiteX407" fmla="*/ 2387030 w 11888025"/>
                  <a:gd name="connsiteY407" fmla="*/ 33159 h 222981"/>
                  <a:gd name="connsiteX408" fmla="*/ 2404065 w 11888025"/>
                  <a:gd name="connsiteY408" fmla="*/ 27075 h 222981"/>
                  <a:gd name="connsiteX409" fmla="*/ 2420264 w 11888025"/>
                  <a:gd name="connsiteY409" fmla="*/ 19926 h 222981"/>
                  <a:gd name="connsiteX410" fmla="*/ 2436387 w 11888025"/>
                  <a:gd name="connsiteY410" fmla="*/ 11104 h 222981"/>
                  <a:gd name="connsiteX411" fmla="*/ 2453194 w 11888025"/>
                  <a:gd name="connsiteY411" fmla="*/ 1 h 222981"/>
                  <a:gd name="connsiteX412" fmla="*/ 2041427 w 11888025"/>
                  <a:gd name="connsiteY412" fmla="*/ 1 h 222981"/>
                  <a:gd name="connsiteX413" fmla="*/ 2056333 w 11888025"/>
                  <a:gd name="connsiteY413" fmla="*/ 1 h 222981"/>
                  <a:gd name="connsiteX414" fmla="*/ 2056333 w 11888025"/>
                  <a:gd name="connsiteY414" fmla="*/ 222981 h 222981"/>
                  <a:gd name="connsiteX415" fmla="*/ 2021045 w 11888025"/>
                  <a:gd name="connsiteY415" fmla="*/ 222981 h 222981"/>
                  <a:gd name="connsiteX416" fmla="*/ 2021045 w 11888025"/>
                  <a:gd name="connsiteY416" fmla="*/ 43198 h 222981"/>
                  <a:gd name="connsiteX417" fmla="*/ 2000436 w 11888025"/>
                  <a:gd name="connsiteY417" fmla="*/ 54833 h 222981"/>
                  <a:gd name="connsiteX418" fmla="*/ 1975263 w 11888025"/>
                  <a:gd name="connsiteY418" fmla="*/ 63275 h 222981"/>
                  <a:gd name="connsiteX419" fmla="*/ 1975263 w 11888025"/>
                  <a:gd name="connsiteY419" fmla="*/ 33159 h 222981"/>
                  <a:gd name="connsiteX420" fmla="*/ 1992299 w 11888025"/>
                  <a:gd name="connsiteY420" fmla="*/ 27075 h 222981"/>
                  <a:gd name="connsiteX421" fmla="*/ 2008497 w 11888025"/>
                  <a:gd name="connsiteY421" fmla="*/ 19926 h 222981"/>
                  <a:gd name="connsiteX422" fmla="*/ 2024620 w 11888025"/>
                  <a:gd name="connsiteY422" fmla="*/ 11104 h 222981"/>
                  <a:gd name="connsiteX423" fmla="*/ 2041427 w 11888025"/>
                  <a:gd name="connsiteY423" fmla="*/ 1 h 222981"/>
                  <a:gd name="connsiteX424" fmla="*/ 1908373 w 11888025"/>
                  <a:gd name="connsiteY424" fmla="*/ 1 h 222981"/>
                  <a:gd name="connsiteX425" fmla="*/ 1923279 w 11888025"/>
                  <a:gd name="connsiteY425" fmla="*/ 1 h 222981"/>
                  <a:gd name="connsiteX426" fmla="*/ 1923279 w 11888025"/>
                  <a:gd name="connsiteY426" fmla="*/ 222981 h 222981"/>
                  <a:gd name="connsiteX427" fmla="*/ 1887992 w 11888025"/>
                  <a:gd name="connsiteY427" fmla="*/ 222981 h 222981"/>
                  <a:gd name="connsiteX428" fmla="*/ 1887992 w 11888025"/>
                  <a:gd name="connsiteY428" fmla="*/ 43198 h 222981"/>
                  <a:gd name="connsiteX429" fmla="*/ 1867382 w 11888025"/>
                  <a:gd name="connsiteY429" fmla="*/ 54833 h 222981"/>
                  <a:gd name="connsiteX430" fmla="*/ 1842209 w 11888025"/>
                  <a:gd name="connsiteY430" fmla="*/ 63275 h 222981"/>
                  <a:gd name="connsiteX431" fmla="*/ 1842209 w 11888025"/>
                  <a:gd name="connsiteY431" fmla="*/ 33159 h 222981"/>
                  <a:gd name="connsiteX432" fmla="*/ 1859244 w 11888025"/>
                  <a:gd name="connsiteY432" fmla="*/ 27075 h 222981"/>
                  <a:gd name="connsiteX433" fmla="*/ 1875443 w 11888025"/>
                  <a:gd name="connsiteY433" fmla="*/ 19926 h 222981"/>
                  <a:gd name="connsiteX434" fmla="*/ 1891566 w 11888025"/>
                  <a:gd name="connsiteY434" fmla="*/ 11104 h 222981"/>
                  <a:gd name="connsiteX435" fmla="*/ 1908373 w 11888025"/>
                  <a:gd name="connsiteY435" fmla="*/ 1 h 222981"/>
                  <a:gd name="connsiteX436" fmla="*/ 1775319 w 11888025"/>
                  <a:gd name="connsiteY436" fmla="*/ 1 h 222981"/>
                  <a:gd name="connsiteX437" fmla="*/ 1790225 w 11888025"/>
                  <a:gd name="connsiteY437" fmla="*/ 1 h 222981"/>
                  <a:gd name="connsiteX438" fmla="*/ 1790225 w 11888025"/>
                  <a:gd name="connsiteY438" fmla="*/ 222981 h 222981"/>
                  <a:gd name="connsiteX439" fmla="*/ 1754938 w 11888025"/>
                  <a:gd name="connsiteY439" fmla="*/ 222981 h 222981"/>
                  <a:gd name="connsiteX440" fmla="*/ 1754938 w 11888025"/>
                  <a:gd name="connsiteY440" fmla="*/ 43198 h 222981"/>
                  <a:gd name="connsiteX441" fmla="*/ 1734328 w 11888025"/>
                  <a:gd name="connsiteY441" fmla="*/ 54833 h 222981"/>
                  <a:gd name="connsiteX442" fmla="*/ 1709155 w 11888025"/>
                  <a:gd name="connsiteY442" fmla="*/ 63275 h 222981"/>
                  <a:gd name="connsiteX443" fmla="*/ 1709155 w 11888025"/>
                  <a:gd name="connsiteY443" fmla="*/ 33159 h 222981"/>
                  <a:gd name="connsiteX444" fmla="*/ 1726190 w 11888025"/>
                  <a:gd name="connsiteY444" fmla="*/ 27075 h 222981"/>
                  <a:gd name="connsiteX445" fmla="*/ 1742389 w 11888025"/>
                  <a:gd name="connsiteY445" fmla="*/ 19926 h 222981"/>
                  <a:gd name="connsiteX446" fmla="*/ 1758512 w 11888025"/>
                  <a:gd name="connsiteY446" fmla="*/ 11104 h 222981"/>
                  <a:gd name="connsiteX447" fmla="*/ 1775319 w 11888025"/>
                  <a:gd name="connsiteY447" fmla="*/ 1 h 222981"/>
                  <a:gd name="connsiteX448" fmla="*/ 1632707 w 11888025"/>
                  <a:gd name="connsiteY448" fmla="*/ 1 h 222981"/>
                  <a:gd name="connsiteX449" fmla="*/ 1647614 w 11888025"/>
                  <a:gd name="connsiteY449" fmla="*/ 1 h 222981"/>
                  <a:gd name="connsiteX450" fmla="*/ 1647614 w 11888025"/>
                  <a:gd name="connsiteY450" fmla="*/ 222981 h 222981"/>
                  <a:gd name="connsiteX451" fmla="*/ 1612325 w 11888025"/>
                  <a:gd name="connsiteY451" fmla="*/ 222981 h 222981"/>
                  <a:gd name="connsiteX452" fmla="*/ 1612325 w 11888025"/>
                  <a:gd name="connsiteY452" fmla="*/ 43198 h 222981"/>
                  <a:gd name="connsiteX453" fmla="*/ 1591716 w 11888025"/>
                  <a:gd name="connsiteY453" fmla="*/ 54833 h 222981"/>
                  <a:gd name="connsiteX454" fmla="*/ 1566544 w 11888025"/>
                  <a:gd name="connsiteY454" fmla="*/ 63275 h 222981"/>
                  <a:gd name="connsiteX455" fmla="*/ 1566544 w 11888025"/>
                  <a:gd name="connsiteY455" fmla="*/ 33159 h 222981"/>
                  <a:gd name="connsiteX456" fmla="*/ 1583579 w 11888025"/>
                  <a:gd name="connsiteY456" fmla="*/ 27075 h 222981"/>
                  <a:gd name="connsiteX457" fmla="*/ 1599778 w 11888025"/>
                  <a:gd name="connsiteY457" fmla="*/ 19926 h 222981"/>
                  <a:gd name="connsiteX458" fmla="*/ 1615900 w 11888025"/>
                  <a:gd name="connsiteY458" fmla="*/ 11104 h 222981"/>
                  <a:gd name="connsiteX459" fmla="*/ 1632707 w 11888025"/>
                  <a:gd name="connsiteY459" fmla="*/ 1 h 222981"/>
                  <a:gd name="connsiteX460" fmla="*/ 877316 w 11888025"/>
                  <a:gd name="connsiteY460" fmla="*/ 1 h 222981"/>
                  <a:gd name="connsiteX461" fmla="*/ 892222 w 11888025"/>
                  <a:gd name="connsiteY461" fmla="*/ 1 h 222981"/>
                  <a:gd name="connsiteX462" fmla="*/ 892222 w 11888025"/>
                  <a:gd name="connsiteY462" fmla="*/ 222981 h 222981"/>
                  <a:gd name="connsiteX463" fmla="*/ 856934 w 11888025"/>
                  <a:gd name="connsiteY463" fmla="*/ 222981 h 222981"/>
                  <a:gd name="connsiteX464" fmla="*/ 856934 w 11888025"/>
                  <a:gd name="connsiteY464" fmla="*/ 43198 h 222981"/>
                  <a:gd name="connsiteX465" fmla="*/ 836324 w 11888025"/>
                  <a:gd name="connsiteY465" fmla="*/ 54833 h 222981"/>
                  <a:gd name="connsiteX466" fmla="*/ 811152 w 11888025"/>
                  <a:gd name="connsiteY466" fmla="*/ 63275 h 222981"/>
                  <a:gd name="connsiteX467" fmla="*/ 811152 w 11888025"/>
                  <a:gd name="connsiteY467" fmla="*/ 33159 h 222981"/>
                  <a:gd name="connsiteX468" fmla="*/ 828187 w 11888025"/>
                  <a:gd name="connsiteY468" fmla="*/ 27075 h 222981"/>
                  <a:gd name="connsiteX469" fmla="*/ 844386 w 11888025"/>
                  <a:gd name="connsiteY469" fmla="*/ 19926 h 222981"/>
                  <a:gd name="connsiteX470" fmla="*/ 860508 w 11888025"/>
                  <a:gd name="connsiteY470" fmla="*/ 11104 h 222981"/>
                  <a:gd name="connsiteX471" fmla="*/ 877316 w 11888025"/>
                  <a:gd name="connsiteY471" fmla="*/ 1 h 222981"/>
                  <a:gd name="connsiteX472" fmla="*/ 744261 w 11888025"/>
                  <a:gd name="connsiteY472" fmla="*/ 1 h 222981"/>
                  <a:gd name="connsiteX473" fmla="*/ 759168 w 11888025"/>
                  <a:gd name="connsiteY473" fmla="*/ 1 h 222981"/>
                  <a:gd name="connsiteX474" fmla="*/ 759168 w 11888025"/>
                  <a:gd name="connsiteY474" fmla="*/ 222981 h 222981"/>
                  <a:gd name="connsiteX475" fmla="*/ 723880 w 11888025"/>
                  <a:gd name="connsiteY475" fmla="*/ 222981 h 222981"/>
                  <a:gd name="connsiteX476" fmla="*/ 723880 w 11888025"/>
                  <a:gd name="connsiteY476" fmla="*/ 43198 h 222981"/>
                  <a:gd name="connsiteX477" fmla="*/ 703270 w 11888025"/>
                  <a:gd name="connsiteY477" fmla="*/ 54833 h 222981"/>
                  <a:gd name="connsiteX478" fmla="*/ 678098 w 11888025"/>
                  <a:gd name="connsiteY478" fmla="*/ 63275 h 222981"/>
                  <a:gd name="connsiteX479" fmla="*/ 678098 w 11888025"/>
                  <a:gd name="connsiteY479" fmla="*/ 33159 h 222981"/>
                  <a:gd name="connsiteX480" fmla="*/ 695133 w 11888025"/>
                  <a:gd name="connsiteY480" fmla="*/ 27075 h 222981"/>
                  <a:gd name="connsiteX481" fmla="*/ 711332 w 11888025"/>
                  <a:gd name="connsiteY481" fmla="*/ 19926 h 222981"/>
                  <a:gd name="connsiteX482" fmla="*/ 727454 w 11888025"/>
                  <a:gd name="connsiteY482" fmla="*/ 11104 h 222981"/>
                  <a:gd name="connsiteX483" fmla="*/ 744261 w 11888025"/>
                  <a:gd name="connsiteY483" fmla="*/ 1 h 222981"/>
                  <a:gd name="connsiteX484" fmla="*/ 10046341 w 11888025"/>
                  <a:gd name="connsiteY484" fmla="*/ 0 h 222981"/>
                  <a:gd name="connsiteX485" fmla="*/ 10117508 w 11888025"/>
                  <a:gd name="connsiteY485" fmla="*/ 110588 h 222981"/>
                  <a:gd name="connsiteX486" fmla="*/ 10097422 w 11888025"/>
                  <a:gd name="connsiteY486" fmla="*/ 194167 h 222981"/>
                  <a:gd name="connsiteX487" fmla="*/ 10041225 w 11888025"/>
                  <a:gd name="connsiteY487" fmla="*/ 222980 h 222981"/>
                  <a:gd name="connsiteX488" fmla="*/ 9988640 w 11888025"/>
                  <a:gd name="connsiteY488" fmla="*/ 195446 h 222981"/>
                  <a:gd name="connsiteX489" fmla="*/ 9969757 w 11888025"/>
                  <a:gd name="connsiteY489" fmla="*/ 115854 h 222981"/>
                  <a:gd name="connsiteX490" fmla="*/ 9989467 w 11888025"/>
                  <a:gd name="connsiteY490" fmla="*/ 29340 h 222981"/>
                  <a:gd name="connsiteX491" fmla="*/ 10046341 w 11888025"/>
                  <a:gd name="connsiteY491" fmla="*/ 0 h 222981"/>
                  <a:gd name="connsiteX492" fmla="*/ 9825418 w 11888025"/>
                  <a:gd name="connsiteY492" fmla="*/ 0 h 222981"/>
                  <a:gd name="connsiteX493" fmla="*/ 9896585 w 11888025"/>
                  <a:gd name="connsiteY493" fmla="*/ 110588 h 222981"/>
                  <a:gd name="connsiteX494" fmla="*/ 9876499 w 11888025"/>
                  <a:gd name="connsiteY494" fmla="*/ 194167 h 222981"/>
                  <a:gd name="connsiteX495" fmla="*/ 9820302 w 11888025"/>
                  <a:gd name="connsiteY495" fmla="*/ 222980 h 222981"/>
                  <a:gd name="connsiteX496" fmla="*/ 9767717 w 11888025"/>
                  <a:gd name="connsiteY496" fmla="*/ 195446 h 222981"/>
                  <a:gd name="connsiteX497" fmla="*/ 9748834 w 11888025"/>
                  <a:gd name="connsiteY497" fmla="*/ 115854 h 222981"/>
                  <a:gd name="connsiteX498" fmla="*/ 9768544 w 11888025"/>
                  <a:gd name="connsiteY498" fmla="*/ 29340 h 222981"/>
                  <a:gd name="connsiteX499" fmla="*/ 9825418 w 11888025"/>
                  <a:gd name="connsiteY499" fmla="*/ 0 h 222981"/>
                  <a:gd name="connsiteX500" fmla="*/ 9163758 w 11888025"/>
                  <a:gd name="connsiteY500" fmla="*/ 0 h 222981"/>
                  <a:gd name="connsiteX501" fmla="*/ 9234925 w 11888025"/>
                  <a:gd name="connsiteY501" fmla="*/ 110588 h 222981"/>
                  <a:gd name="connsiteX502" fmla="*/ 9214839 w 11888025"/>
                  <a:gd name="connsiteY502" fmla="*/ 194167 h 222981"/>
                  <a:gd name="connsiteX503" fmla="*/ 9158642 w 11888025"/>
                  <a:gd name="connsiteY503" fmla="*/ 222980 h 222981"/>
                  <a:gd name="connsiteX504" fmla="*/ 9106057 w 11888025"/>
                  <a:gd name="connsiteY504" fmla="*/ 195446 h 222981"/>
                  <a:gd name="connsiteX505" fmla="*/ 9087174 w 11888025"/>
                  <a:gd name="connsiteY505" fmla="*/ 115854 h 222981"/>
                  <a:gd name="connsiteX506" fmla="*/ 9106884 w 11888025"/>
                  <a:gd name="connsiteY506" fmla="*/ 29340 h 222981"/>
                  <a:gd name="connsiteX507" fmla="*/ 9163758 w 11888025"/>
                  <a:gd name="connsiteY507" fmla="*/ 0 h 222981"/>
                  <a:gd name="connsiteX508" fmla="*/ 8942835 w 11888025"/>
                  <a:gd name="connsiteY508" fmla="*/ 0 h 222981"/>
                  <a:gd name="connsiteX509" fmla="*/ 9014002 w 11888025"/>
                  <a:gd name="connsiteY509" fmla="*/ 110588 h 222981"/>
                  <a:gd name="connsiteX510" fmla="*/ 8993916 w 11888025"/>
                  <a:gd name="connsiteY510" fmla="*/ 194167 h 222981"/>
                  <a:gd name="connsiteX511" fmla="*/ 8937719 w 11888025"/>
                  <a:gd name="connsiteY511" fmla="*/ 222980 h 222981"/>
                  <a:gd name="connsiteX512" fmla="*/ 8885134 w 11888025"/>
                  <a:gd name="connsiteY512" fmla="*/ 195446 h 222981"/>
                  <a:gd name="connsiteX513" fmla="*/ 8866251 w 11888025"/>
                  <a:gd name="connsiteY513" fmla="*/ 115854 h 222981"/>
                  <a:gd name="connsiteX514" fmla="*/ 8885961 w 11888025"/>
                  <a:gd name="connsiteY514" fmla="*/ 29340 h 222981"/>
                  <a:gd name="connsiteX515" fmla="*/ 8942835 w 11888025"/>
                  <a:gd name="connsiteY515" fmla="*/ 0 h 222981"/>
                  <a:gd name="connsiteX516" fmla="*/ 3990288 w 11888025"/>
                  <a:gd name="connsiteY516" fmla="*/ 0 h 222981"/>
                  <a:gd name="connsiteX517" fmla="*/ 4061455 w 11888025"/>
                  <a:gd name="connsiteY517" fmla="*/ 110588 h 222981"/>
                  <a:gd name="connsiteX518" fmla="*/ 4041369 w 11888025"/>
                  <a:gd name="connsiteY518" fmla="*/ 194167 h 222981"/>
                  <a:gd name="connsiteX519" fmla="*/ 3985172 w 11888025"/>
                  <a:gd name="connsiteY519" fmla="*/ 222980 h 222981"/>
                  <a:gd name="connsiteX520" fmla="*/ 3932587 w 11888025"/>
                  <a:gd name="connsiteY520" fmla="*/ 195446 h 222981"/>
                  <a:gd name="connsiteX521" fmla="*/ 3913704 w 11888025"/>
                  <a:gd name="connsiteY521" fmla="*/ 115854 h 222981"/>
                  <a:gd name="connsiteX522" fmla="*/ 3933414 w 11888025"/>
                  <a:gd name="connsiteY522" fmla="*/ 29340 h 222981"/>
                  <a:gd name="connsiteX523" fmla="*/ 3990288 w 11888025"/>
                  <a:gd name="connsiteY523" fmla="*/ 0 h 222981"/>
                  <a:gd name="connsiteX524" fmla="*/ 3769365 w 11888025"/>
                  <a:gd name="connsiteY524" fmla="*/ 0 h 222981"/>
                  <a:gd name="connsiteX525" fmla="*/ 3840532 w 11888025"/>
                  <a:gd name="connsiteY525" fmla="*/ 110588 h 222981"/>
                  <a:gd name="connsiteX526" fmla="*/ 3820446 w 11888025"/>
                  <a:gd name="connsiteY526" fmla="*/ 194167 h 222981"/>
                  <a:gd name="connsiteX527" fmla="*/ 3764249 w 11888025"/>
                  <a:gd name="connsiteY527" fmla="*/ 222980 h 222981"/>
                  <a:gd name="connsiteX528" fmla="*/ 3711664 w 11888025"/>
                  <a:gd name="connsiteY528" fmla="*/ 195446 h 222981"/>
                  <a:gd name="connsiteX529" fmla="*/ 3692781 w 11888025"/>
                  <a:gd name="connsiteY529" fmla="*/ 115854 h 222981"/>
                  <a:gd name="connsiteX530" fmla="*/ 3712491 w 11888025"/>
                  <a:gd name="connsiteY530" fmla="*/ 29340 h 222981"/>
                  <a:gd name="connsiteX531" fmla="*/ 3769365 w 11888025"/>
                  <a:gd name="connsiteY531" fmla="*/ 0 h 222981"/>
                  <a:gd name="connsiteX532" fmla="*/ 3107705 w 11888025"/>
                  <a:gd name="connsiteY532" fmla="*/ 0 h 222981"/>
                  <a:gd name="connsiteX533" fmla="*/ 3178872 w 11888025"/>
                  <a:gd name="connsiteY533" fmla="*/ 110588 h 222981"/>
                  <a:gd name="connsiteX534" fmla="*/ 3158786 w 11888025"/>
                  <a:gd name="connsiteY534" fmla="*/ 194167 h 222981"/>
                  <a:gd name="connsiteX535" fmla="*/ 3102589 w 11888025"/>
                  <a:gd name="connsiteY535" fmla="*/ 222980 h 222981"/>
                  <a:gd name="connsiteX536" fmla="*/ 3050004 w 11888025"/>
                  <a:gd name="connsiteY536" fmla="*/ 195446 h 222981"/>
                  <a:gd name="connsiteX537" fmla="*/ 3031121 w 11888025"/>
                  <a:gd name="connsiteY537" fmla="*/ 115854 h 222981"/>
                  <a:gd name="connsiteX538" fmla="*/ 3050831 w 11888025"/>
                  <a:gd name="connsiteY538" fmla="*/ 29340 h 222981"/>
                  <a:gd name="connsiteX539" fmla="*/ 3107705 w 11888025"/>
                  <a:gd name="connsiteY539" fmla="*/ 0 h 222981"/>
                  <a:gd name="connsiteX540" fmla="*/ 2886782 w 11888025"/>
                  <a:gd name="connsiteY540" fmla="*/ 0 h 222981"/>
                  <a:gd name="connsiteX541" fmla="*/ 2957949 w 11888025"/>
                  <a:gd name="connsiteY541" fmla="*/ 110588 h 222981"/>
                  <a:gd name="connsiteX542" fmla="*/ 2937863 w 11888025"/>
                  <a:gd name="connsiteY542" fmla="*/ 194167 h 222981"/>
                  <a:gd name="connsiteX543" fmla="*/ 2881666 w 11888025"/>
                  <a:gd name="connsiteY543" fmla="*/ 222980 h 222981"/>
                  <a:gd name="connsiteX544" fmla="*/ 2829081 w 11888025"/>
                  <a:gd name="connsiteY544" fmla="*/ 195446 h 222981"/>
                  <a:gd name="connsiteX545" fmla="*/ 2810198 w 11888025"/>
                  <a:gd name="connsiteY545" fmla="*/ 115854 h 222981"/>
                  <a:gd name="connsiteX546" fmla="*/ 2829908 w 11888025"/>
                  <a:gd name="connsiteY546" fmla="*/ 29340 h 222981"/>
                  <a:gd name="connsiteX547" fmla="*/ 2886782 w 11888025"/>
                  <a:gd name="connsiteY547" fmla="*/ 0 h 222981"/>
                  <a:gd name="connsiteX548" fmla="*/ 66163 w 11888025"/>
                  <a:gd name="connsiteY548" fmla="*/ 0 h 222981"/>
                  <a:gd name="connsiteX549" fmla="*/ 81070 w 11888025"/>
                  <a:gd name="connsiteY549" fmla="*/ 0 h 222981"/>
                  <a:gd name="connsiteX550" fmla="*/ 81070 w 11888025"/>
                  <a:gd name="connsiteY550" fmla="*/ 222980 h 222981"/>
                  <a:gd name="connsiteX551" fmla="*/ 45782 w 11888025"/>
                  <a:gd name="connsiteY551" fmla="*/ 222980 h 222981"/>
                  <a:gd name="connsiteX552" fmla="*/ 45782 w 11888025"/>
                  <a:gd name="connsiteY552" fmla="*/ 43197 h 222981"/>
                  <a:gd name="connsiteX553" fmla="*/ 25172 w 11888025"/>
                  <a:gd name="connsiteY553" fmla="*/ 54832 h 222981"/>
                  <a:gd name="connsiteX554" fmla="*/ 0 w 11888025"/>
                  <a:gd name="connsiteY554" fmla="*/ 63274 h 222981"/>
                  <a:gd name="connsiteX555" fmla="*/ 0 w 11888025"/>
                  <a:gd name="connsiteY555" fmla="*/ 33158 h 222981"/>
                  <a:gd name="connsiteX556" fmla="*/ 17035 w 11888025"/>
                  <a:gd name="connsiteY556" fmla="*/ 27074 h 222981"/>
                  <a:gd name="connsiteX557" fmla="*/ 33234 w 11888025"/>
                  <a:gd name="connsiteY557" fmla="*/ 19925 h 222981"/>
                  <a:gd name="connsiteX558" fmla="*/ 49356 w 11888025"/>
                  <a:gd name="connsiteY558" fmla="*/ 11103 h 222981"/>
                  <a:gd name="connsiteX559" fmla="*/ 66163 w 11888025"/>
                  <a:gd name="connsiteY559" fmla="*/ 0 h 22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11888025" h="222981">
                    <a:moveTo>
                      <a:pt x="10044686" y="27835"/>
                    </a:moveTo>
                    <a:cubicBezTo>
                      <a:pt x="10018506" y="27835"/>
                      <a:pt x="10005416" y="56673"/>
                      <a:pt x="10005416" y="114349"/>
                    </a:cubicBezTo>
                    <a:cubicBezTo>
                      <a:pt x="10005416" y="168313"/>
                      <a:pt x="10018255" y="195296"/>
                      <a:pt x="10043934" y="195296"/>
                    </a:cubicBezTo>
                    <a:cubicBezTo>
                      <a:pt x="10069210" y="195296"/>
                      <a:pt x="10081849" y="167862"/>
                      <a:pt x="10081849" y="112995"/>
                    </a:cubicBezTo>
                    <a:cubicBezTo>
                      <a:pt x="10081849" y="56221"/>
                      <a:pt x="10069461" y="27835"/>
                      <a:pt x="10044686" y="27835"/>
                    </a:cubicBezTo>
                    <a:close/>
                    <a:moveTo>
                      <a:pt x="9823763" y="27835"/>
                    </a:moveTo>
                    <a:cubicBezTo>
                      <a:pt x="9797583" y="27835"/>
                      <a:pt x="9784493" y="56673"/>
                      <a:pt x="9784493" y="114349"/>
                    </a:cubicBezTo>
                    <a:cubicBezTo>
                      <a:pt x="9784493" y="168313"/>
                      <a:pt x="9797332" y="195296"/>
                      <a:pt x="9823011" y="195296"/>
                    </a:cubicBezTo>
                    <a:cubicBezTo>
                      <a:pt x="9848287" y="195296"/>
                      <a:pt x="9860926" y="167862"/>
                      <a:pt x="9860926" y="112995"/>
                    </a:cubicBezTo>
                    <a:cubicBezTo>
                      <a:pt x="9860926" y="56221"/>
                      <a:pt x="9848538" y="27835"/>
                      <a:pt x="9823763" y="27835"/>
                    </a:cubicBezTo>
                    <a:close/>
                    <a:moveTo>
                      <a:pt x="9162103" y="27835"/>
                    </a:moveTo>
                    <a:cubicBezTo>
                      <a:pt x="9135923" y="27835"/>
                      <a:pt x="9122833" y="56673"/>
                      <a:pt x="9122833" y="114349"/>
                    </a:cubicBezTo>
                    <a:cubicBezTo>
                      <a:pt x="9122833" y="168313"/>
                      <a:pt x="9135672" y="195296"/>
                      <a:pt x="9161351" y="195296"/>
                    </a:cubicBezTo>
                    <a:cubicBezTo>
                      <a:pt x="9186627" y="195296"/>
                      <a:pt x="9199266" y="167862"/>
                      <a:pt x="9199266" y="112995"/>
                    </a:cubicBezTo>
                    <a:cubicBezTo>
                      <a:pt x="9199266" y="56221"/>
                      <a:pt x="9186878" y="27835"/>
                      <a:pt x="9162103" y="27835"/>
                    </a:cubicBezTo>
                    <a:close/>
                    <a:moveTo>
                      <a:pt x="8941180" y="27835"/>
                    </a:moveTo>
                    <a:cubicBezTo>
                      <a:pt x="8915000" y="27835"/>
                      <a:pt x="8901910" y="56673"/>
                      <a:pt x="8901910" y="114349"/>
                    </a:cubicBezTo>
                    <a:cubicBezTo>
                      <a:pt x="8901910" y="168313"/>
                      <a:pt x="8914749" y="195296"/>
                      <a:pt x="8940428" y="195296"/>
                    </a:cubicBezTo>
                    <a:cubicBezTo>
                      <a:pt x="8965704" y="195296"/>
                      <a:pt x="8978343" y="167862"/>
                      <a:pt x="8978343" y="112995"/>
                    </a:cubicBezTo>
                    <a:cubicBezTo>
                      <a:pt x="8978343" y="56221"/>
                      <a:pt x="8965955" y="27835"/>
                      <a:pt x="8941180" y="27835"/>
                    </a:cubicBezTo>
                    <a:close/>
                    <a:moveTo>
                      <a:pt x="3988633" y="27835"/>
                    </a:moveTo>
                    <a:cubicBezTo>
                      <a:pt x="3962453" y="27835"/>
                      <a:pt x="3949363" y="56673"/>
                      <a:pt x="3949363" y="114349"/>
                    </a:cubicBezTo>
                    <a:cubicBezTo>
                      <a:pt x="3949363" y="168313"/>
                      <a:pt x="3962202" y="195296"/>
                      <a:pt x="3987881" y="195296"/>
                    </a:cubicBezTo>
                    <a:cubicBezTo>
                      <a:pt x="4013158" y="195296"/>
                      <a:pt x="4025796" y="167862"/>
                      <a:pt x="4025796" y="112995"/>
                    </a:cubicBezTo>
                    <a:cubicBezTo>
                      <a:pt x="4025796" y="56221"/>
                      <a:pt x="4013408" y="27835"/>
                      <a:pt x="3988633" y="27835"/>
                    </a:cubicBezTo>
                    <a:close/>
                    <a:moveTo>
                      <a:pt x="3767710" y="27835"/>
                    </a:moveTo>
                    <a:cubicBezTo>
                      <a:pt x="3741530" y="27835"/>
                      <a:pt x="3728440" y="56673"/>
                      <a:pt x="3728440" y="114349"/>
                    </a:cubicBezTo>
                    <a:cubicBezTo>
                      <a:pt x="3728440" y="168313"/>
                      <a:pt x="3741279" y="195296"/>
                      <a:pt x="3766958" y="195296"/>
                    </a:cubicBezTo>
                    <a:cubicBezTo>
                      <a:pt x="3792235" y="195296"/>
                      <a:pt x="3804873" y="167862"/>
                      <a:pt x="3804873" y="112995"/>
                    </a:cubicBezTo>
                    <a:cubicBezTo>
                      <a:pt x="3804873" y="56221"/>
                      <a:pt x="3792485" y="27835"/>
                      <a:pt x="3767710" y="27835"/>
                    </a:cubicBezTo>
                    <a:close/>
                    <a:moveTo>
                      <a:pt x="3106050" y="27835"/>
                    </a:moveTo>
                    <a:cubicBezTo>
                      <a:pt x="3079870" y="27835"/>
                      <a:pt x="3066780" y="56673"/>
                      <a:pt x="3066780" y="114349"/>
                    </a:cubicBezTo>
                    <a:cubicBezTo>
                      <a:pt x="3066780" y="168313"/>
                      <a:pt x="3079619" y="195296"/>
                      <a:pt x="3105298" y="195296"/>
                    </a:cubicBezTo>
                    <a:cubicBezTo>
                      <a:pt x="3130575" y="195296"/>
                      <a:pt x="3143213" y="167862"/>
                      <a:pt x="3143213" y="112995"/>
                    </a:cubicBezTo>
                    <a:cubicBezTo>
                      <a:pt x="3143213" y="56221"/>
                      <a:pt x="3130825" y="27835"/>
                      <a:pt x="3106050" y="27835"/>
                    </a:cubicBezTo>
                    <a:close/>
                    <a:moveTo>
                      <a:pt x="2885127" y="27835"/>
                    </a:moveTo>
                    <a:cubicBezTo>
                      <a:pt x="2858947" y="27835"/>
                      <a:pt x="2845857" y="56673"/>
                      <a:pt x="2845857" y="114349"/>
                    </a:cubicBezTo>
                    <a:cubicBezTo>
                      <a:pt x="2845857" y="168313"/>
                      <a:pt x="2858696" y="195296"/>
                      <a:pt x="2884375" y="195296"/>
                    </a:cubicBezTo>
                    <a:cubicBezTo>
                      <a:pt x="2909652" y="195296"/>
                      <a:pt x="2922290" y="167862"/>
                      <a:pt x="2922290" y="112995"/>
                    </a:cubicBezTo>
                    <a:cubicBezTo>
                      <a:pt x="2922290" y="56221"/>
                      <a:pt x="2909902" y="27835"/>
                      <a:pt x="2885127" y="27835"/>
                    </a:cubicBezTo>
                    <a:close/>
                    <a:moveTo>
                      <a:pt x="11873119" y="1"/>
                    </a:moveTo>
                    <a:lnTo>
                      <a:pt x="11888025" y="1"/>
                    </a:lnTo>
                    <a:lnTo>
                      <a:pt x="11888025" y="222981"/>
                    </a:lnTo>
                    <a:lnTo>
                      <a:pt x="11852737" y="222981"/>
                    </a:lnTo>
                    <a:lnTo>
                      <a:pt x="11852737" y="43198"/>
                    </a:lnTo>
                    <a:cubicBezTo>
                      <a:pt x="11846349" y="47761"/>
                      <a:pt x="11839479" y="51639"/>
                      <a:pt x="11832128" y="54833"/>
                    </a:cubicBezTo>
                    <a:cubicBezTo>
                      <a:pt x="11824776" y="58028"/>
                      <a:pt x="11816385" y="60841"/>
                      <a:pt x="11806955" y="63275"/>
                    </a:cubicBezTo>
                    <a:lnTo>
                      <a:pt x="11806955" y="33159"/>
                    </a:lnTo>
                    <a:cubicBezTo>
                      <a:pt x="11812836" y="31233"/>
                      <a:pt x="11818515" y="29204"/>
                      <a:pt x="11823990" y="27075"/>
                    </a:cubicBezTo>
                    <a:cubicBezTo>
                      <a:pt x="11829466" y="24946"/>
                      <a:pt x="11834866" y="22563"/>
                      <a:pt x="11840189" y="19926"/>
                    </a:cubicBezTo>
                    <a:cubicBezTo>
                      <a:pt x="11845513" y="17290"/>
                      <a:pt x="11850887" y="14349"/>
                      <a:pt x="11856312" y="11104"/>
                    </a:cubicBezTo>
                    <a:cubicBezTo>
                      <a:pt x="11861737" y="7860"/>
                      <a:pt x="11867339" y="4159"/>
                      <a:pt x="11873119" y="1"/>
                    </a:cubicBezTo>
                    <a:close/>
                    <a:moveTo>
                      <a:pt x="11490251" y="1"/>
                    </a:moveTo>
                    <a:lnTo>
                      <a:pt x="11505157" y="1"/>
                    </a:lnTo>
                    <a:lnTo>
                      <a:pt x="11505157" y="222981"/>
                    </a:lnTo>
                    <a:lnTo>
                      <a:pt x="11469869" y="222981"/>
                    </a:lnTo>
                    <a:lnTo>
                      <a:pt x="11469869" y="43198"/>
                    </a:lnTo>
                    <a:cubicBezTo>
                      <a:pt x="11463481" y="47761"/>
                      <a:pt x="11456611" y="51639"/>
                      <a:pt x="11449260" y="54833"/>
                    </a:cubicBezTo>
                    <a:cubicBezTo>
                      <a:pt x="11441908" y="58028"/>
                      <a:pt x="11433517" y="60841"/>
                      <a:pt x="11424087" y="63275"/>
                    </a:cubicBezTo>
                    <a:lnTo>
                      <a:pt x="11424087" y="33159"/>
                    </a:lnTo>
                    <a:cubicBezTo>
                      <a:pt x="11429968" y="31233"/>
                      <a:pt x="11435647" y="29204"/>
                      <a:pt x="11441122" y="27075"/>
                    </a:cubicBezTo>
                    <a:cubicBezTo>
                      <a:pt x="11446598" y="24946"/>
                      <a:pt x="11451998" y="22563"/>
                      <a:pt x="11457321" y="19926"/>
                    </a:cubicBezTo>
                    <a:cubicBezTo>
                      <a:pt x="11462645" y="17290"/>
                      <a:pt x="11468019" y="14349"/>
                      <a:pt x="11473444" y="11104"/>
                    </a:cubicBezTo>
                    <a:cubicBezTo>
                      <a:pt x="11478869" y="7860"/>
                      <a:pt x="11484471" y="4159"/>
                      <a:pt x="11490251" y="1"/>
                    </a:cubicBezTo>
                    <a:close/>
                    <a:moveTo>
                      <a:pt x="11346125" y="1"/>
                    </a:moveTo>
                    <a:lnTo>
                      <a:pt x="11361031" y="1"/>
                    </a:lnTo>
                    <a:lnTo>
                      <a:pt x="11361031" y="222981"/>
                    </a:lnTo>
                    <a:lnTo>
                      <a:pt x="11325743" y="222981"/>
                    </a:lnTo>
                    <a:lnTo>
                      <a:pt x="11325743" y="43198"/>
                    </a:lnTo>
                    <a:cubicBezTo>
                      <a:pt x="11319355" y="47761"/>
                      <a:pt x="11312485" y="51639"/>
                      <a:pt x="11305134" y="54833"/>
                    </a:cubicBezTo>
                    <a:cubicBezTo>
                      <a:pt x="11297782" y="58028"/>
                      <a:pt x="11289391" y="60841"/>
                      <a:pt x="11279961" y="63275"/>
                    </a:cubicBezTo>
                    <a:lnTo>
                      <a:pt x="11279961" y="33159"/>
                    </a:lnTo>
                    <a:cubicBezTo>
                      <a:pt x="11285842" y="31233"/>
                      <a:pt x="11291521" y="29204"/>
                      <a:pt x="11296996" y="27075"/>
                    </a:cubicBezTo>
                    <a:cubicBezTo>
                      <a:pt x="11302472" y="24946"/>
                      <a:pt x="11307872" y="22563"/>
                      <a:pt x="11313195" y="19926"/>
                    </a:cubicBezTo>
                    <a:cubicBezTo>
                      <a:pt x="11318519" y="17290"/>
                      <a:pt x="11323893" y="14349"/>
                      <a:pt x="11329318" y="11104"/>
                    </a:cubicBezTo>
                    <a:cubicBezTo>
                      <a:pt x="11334743" y="7860"/>
                      <a:pt x="11340345" y="4159"/>
                      <a:pt x="11346125" y="1"/>
                    </a:cubicBezTo>
                    <a:close/>
                    <a:moveTo>
                      <a:pt x="11202000" y="1"/>
                    </a:moveTo>
                    <a:lnTo>
                      <a:pt x="11216906" y="1"/>
                    </a:lnTo>
                    <a:lnTo>
                      <a:pt x="11216906" y="222981"/>
                    </a:lnTo>
                    <a:lnTo>
                      <a:pt x="11181618" y="222981"/>
                    </a:lnTo>
                    <a:lnTo>
                      <a:pt x="11181618" y="43198"/>
                    </a:lnTo>
                    <a:cubicBezTo>
                      <a:pt x="11175230" y="47761"/>
                      <a:pt x="11168360" y="51639"/>
                      <a:pt x="11161009" y="54833"/>
                    </a:cubicBezTo>
                    <a:cubicBezTo>
                      <a:pt x="11153657" y="58028"/>
                      <a:pt x="11145266" y="60841"/>
                      <a:pt x="11135836" y="63275"/>
                    </a:cubicBezTo>
                    <a:lnTo>
                      <a:pt x="11135836" y="33159"/>
                    </a:lnTo>
                    <a:cubicBezTo>
                      <a:pt x="11141717" y="31233"/>
                      <a:pt x="11147396" y="29204"/>
                      <a:pt x="11152871" y="27075"/>
                    </a:cubicBezTo>
                    <a:cubicBezTo>
                      <a:pt x="11158347" y="24946"/>
                      <a:pt x="11163747" y="22563"/>
                      <a:pt x="11169070" y="19926"/>
                    </a:cubicBezTo>
                    <a:cubicBezTo>
                      <a:pt x="11174394" y="17290"/>
                      <a:pt x="11179768" y="14349"/>
                      <a:pt x="11185193" y="11104"/>
                    </a:cubicBezTo>
                    <a:cubicBezTo>
                      <a:pt x="11190618" y="7860"/>
                      <a:pt x="11196220" y="4159"/>
                      <a:pt x="11202000" y="1"/>
                    </a:cubicBezTo>
                    <a:close/>
                    <a:moveTo>
                      <a:pt x="11057875" y="1"/>
                    </a:moveTo>
                    <a:lnTo>
                      <a:pt x="11072781" y="1"/>
                    </a:lnTo>
                    <a:lnTo>
                      <a:pt x="11072781" y="222981"/>
                    </a:lnTo>
                    <a:lnTo>
                      <a:pt x="11037493" y="222981"/>
                    </a:lnTo>
                    <a:lnTo>
                      <a:pt x="11037493" y="43198"/>
                    </a:lnTo>
                    <a:cubicBezTo>
                      <a:pt x="11031105" y="47761"/>
                      <a:pt x="11024235" y="51639"/>
                      <a:pt x="11016884" y="54833"/>
                    </a:cubicBezTo>
                    <a:cubicBezTo>
                      <a:pt x="11009532" y="58028"/>
                      <a:pt x="11001141" y="60841"/>
                      <a:pt x="10991711" y="63275"/>
                    </a:cubicBezTo>
                    <a:lnTo>
                      <a:pt x="10991711" y="33159"/>
                    </a:lnTo>
                    <a:cubicBezTo>
                      <a:pt x="10997592" y="31233"/>
                      <a:pt x="11003271" y="29204"/>
                      <a:pt x="11008746" y="27075"/>
                    </a:cubicBezTo>
                    <a:cubicBezTo>
                      <a:pt x="11014222" y="24946"/>
                      <a:pt x="11019622" y="22563"/>
                      <a:pt x="11024945" y="19926"/>
                    </a:cubicBezTo>
                    <a:cubicBezTo>
                      <a:pt x="11030269" y="17290"/>
                      <a:pt x="11035643" y="14349"/>
                      <a:pt x="11041068" y="11104"/>
                    </a:cubicBezTo>
                    <a:cubicBezTo>
                      <a:pt x="11046493" y="7860"/>
                      <a:pt x="11052095" y="4159"/>
                      <a:pt x="11057875" y="1"/>
                    </a:cubicBezTo>
                    <a:close/>
                    <a:moveTo>
                      <a:pt x="10913750" y="1"/>
                    </a:moveTo>
                    <a:lnTo>
                      <a:pt x="10928656" y="1"/>
                    </a:lnTo>
                    <a:lnTo>
                      <a:pt x="10928656" y="222981"/>
                    </a:lnTo>
                    <a:lnTo>
                      <a:pt x="10893368" y="222981"/>
                    </a:lnTo>
                    <a:lnTo>
                      <a:pt x="10893368" y="43198"/>
                    </a:lnTo>
                    <a:cubicBezTo>
                      <a:pt x="10886980" y="47761"/>
                      <a:pt x="10880110" y="51639"/>
                      <a:pt x="10872759" y="54833"/>
                    </a:cubicBezTo>
                    <a:cubicBezTo>
                      <a:pt x="10865407" y="58028"/>
                      <a:pt x="10857016" y="60841"/>
                      <a:pt x="10847586" y="63275"/>
                    </a:cubicBezTo>
                    <a:lnTo>
                      <a:pt x="10847586" y="33159"/>
                    </a:lnTo>
                    <a:cubicBezTo>
                      <a:pt x="10853467" y="31233"/>
                      <a:pt x="10859146" y="29204"/>
                      <a:pt x="10864621" y="27075"/>
                    </a:cubicBezTo>
                    <a:cubicBezTo>
                      <a:pt x="10870097" y="24946"/>
                      <a:pt x="10875497" y="22563"/>
                      <a:pt x="10880820" y="19926"/>
                    </a:cubicBezTo>
                    <a:cubicBezTo>
                      <a:pt x="10886144" y="17290"/>
                      <a:pt x="10891518" y="14349"/>
                      <a:pt x="10896943" y="11104"/>
                    </a:cubicBezTo>
                    <a:cubicBezTo>
                      <a:pt x="10902368" y="7860"/>
                      <a:pt x="10907970" y="4159"/>
                      <a:pt x="10913750" y="1"/>
                    </a:cubicBezTo>
                    <a:close/>
                    <a:moveTo>
                      <a:pt x="10525517" y="1"/>
                    </a:moveTo>
                    <a:lnTo>
                      <a:pt x="10540423" y="1"/>
                    </a:lnTo>
                    <a:lnTo>
                      <a:pt x="10540423" y="222981"/>
                    </a:lnTo>
                    <a:lnTo>
                      <a:pt x="10505135" y="222981"/>
                    </a:lnTo>
                    <a:lnTo>
                      <a:pt x="10505135" y="43198"/>
                    </a:lnTo>
                    <a:cubicBezTo>
                      <a:pt x="10498747" y="47761"/>
                      <a:pt x="10491877" y="51639"/>
                      <a:pt x="10484526" y="54833"/>
                    </a:cubicBezTo>
                    <a:cubicBezTo>
                      <a:pt x="10477174" y="58028"/>
                      <a:pt x="10468783" y="60841"/>
                      <a:pt x="10459353" y="63275"/>
                    </a:cubicBezTo>
                    <a:lnTo>
                      <a:pt x="10459353" y="33159"/>
                    </a:lnTo>
                    <a:cubicBezTo>
                      <a:pt x="10465234" y="31233"/>
                      <a:pt x="10470913" y="29204"/>
                      <a:pt x="10476388" y="27075"/>
                    </a:cubicBezTo>
                    <a:cubicBezTo>
                      <a:pt x="10481864" y="24946"/>
                      <a:pt x="10487264" y="22563"/>
                      <a:pt x="10492587" y="19926"/>
                    </a:cubicBezTo>
                    <a:cubicBezTo>
                      <a:pt x="10497911" y="17290"/>
                      <a:pt x="10503285" y="14349"/>
                      <a:pt x="10508710" y="11104"/>
                    </a:cubicBezTo>
                    <a:cubicBezTo>
                      <a:pt x="10514135" y="7860"/>
                      <a:pt x="10519737" y="4159"/>
                      <a:pt x="10525517" y="1"/>
                    </a:cubicBezTo>
                    <a:close/>
                    <a:moveTo>
                      <a:pt x="10259409" y="1"/>
                    </a:moveTo>
                    <a:lnTo>
                      <a:pt x="10274315" y="1"/>
                    </a:lnTo>
                    <a:lnTo>
                      <a:pt x="10274315" y="222981"/>
                    </a:lnTo>
                    <a:lnTo>
                      <a:pt x="10239027" y="222981"/>
                    </a:lnTo>
                    <a:lnTo>
                      <a:pt x="10239027" y="43198"/>
                    </a:lnTo>
                    <a:cubicBezTo>
                      <a:pt x="10232639" y="47761"/>
                      <a:pt x="10225769" y="51639"/>
                      <a:pt x="10218418" y="54833"/>
                    </a:cubicBezTo>
                    <a:cubicBezTo>
                      <a:pt x="10211066" y="58028"/>
                      <a:pt x="10202675" y="60841"/>
                      <a:pt x="10193245" y="63275"/>
                    </a:cubicBezTo>
                    <a:lnTo>
                      <a:pt x="10193245" y="33159"/>
                    </a:lnTo>
                    <a:cubicBezTo>
                      <a:pt x="10199126" y="31233"/>
                      <a:pt x="10204805" y="29204"/>
                      <a:pt x="10210280" y="27075"/>
                    </a:cubicBezTo>
                    <a:cubicBezTo>
                      <a:pt x="10215756" y="24946"/>
                      <a:pt x="10221156" y="22563"/>
                      <a:pt x="10226479" y="19926"/>
                    </a:cubicBezTo>
                    <a:cubicBezTo>
                      <a:pt x="10231803" y="17290"/>
                      <a:pt x="10237177" y="14349"/>
                      <a:pt x="10242602" y="11104"/>
                    </a:cubicBezTo>
                    <a:cubicBezTo>
                      <a:pt x="10248027" y="7860"/>
                      <a:pt x="10253629" y="4159"/>
                      <a:pt x="10259409" y="1"/>
                    </a:cubicBezTo>
                    <a:close/>
                    <a:moveTo>
                      <a:pt x="9647810" y="1"/>
                    </a:moveTo>
                    <a:lnTo>
                      <a:pt x="9662716" y="1"/>
                    </a:lnTo>
                    <a:lnTo>
                      <a:pt x="9662716" y="222981"/>
                    </a:lnTo>
                    <a:lnTo>
                      <a:pt x="9627428" y="222981"/>
                    </a:lnTo>
                    <a:lnTo>
                      <a:pt x="9627428" y="43198"/>
                    </a:lnTo>
                    <a:cubicBezTo>
                      <a:pt x="9621040" y="47761"/>
                      <a:pt x="9614170" y="51639"/>
                      <a:pt x="9606819" y="54833"/>
                    </a:cubicBezTo>
                    <a:cubicBezTo>
                      <a:pt x="9599467" y="58028"/>
                      <a:pt x="9591076" y="60841"/>
                      <a:pt x="9581646" y="63275"/>
                    </a:cubicBezTo>
                    <a:lnTo>
                      <a:pt x="9581646" y="33159"/>
                    </a:lnTo>
                    <a:cubicBezTo>
                      <a:pt x="9587527" y="31233"/>
                      <a:pt x="9593206" y="29204"/>
                      <a:pt x="9598681" y="27075"/>
                    </a:cubicBezTo>
                    <a:cubicBezTo>
                      <a:pt x="9604157" y="24946"/>
                      <a:pt x="9609557" y="22563"/>
                      <a:pt x="9614880" y="19926"/>
                    </a:cubicBezTo>
                    <a:cubicBezTo>
                      <a:pt x="9620204" y="17290"/>
                      <a:pt x="9625578" y="14349"/>
                      <a:pt x="9631003" y="11104"/>
                    </a:cubicBezTo>
                    <a:cubicBezTo>
                      <a:pt x="9636428" y="7860"/>
                      <a:pt x="9642030" y="4159"/>
                      <a:pt x="9647810" y="1"/>
                    </a:cubicBezTo>
                    <a:close/>
                    <a:moveTo>
                      <a:pt x="9381702" y="1"/>
                    </a:moveTo>
                    <a:lnTo>
                      <a:pt x="9396608" y="1"/>
                    </a:lnTo>
                    <a:lnTo>
                      <a:pt x="9396608" y="222981"/>
                    </a:lnTo>
                    <a:lnTo>
                      <a:pt x="9361320" y="222981"/>
                    </a:lnTo>
                    <a:lnTo>
                      <a:pt x="9361320" y="43198"/>
                    </a:lnTo>
                    <a:cubicBezTo>
                      <a:pt x="9354932" y="47761"/>
                      <a:pt x="9348062" y="51639"/>
                      <a:pt x="9340711" y="54833"/>
                    </a:cubicBezTo>
                    <a:cubicBezTo>
                      <a:pt x="9333359" y="58028"/>
                      <a:pt x="9324968" y="60841"/>
                      <a:pt x="9315538" y="63275"/>
                    </a:cubicBezTo>
                    <a:lnTo>
                      <a:pt x="9315538" y="33159"/>
                    </a:lnTo>
                    <a:cubicBezTo>
                      <a:pt x="9321419" y="31233"/>
                      <a:pt x="9327098" y="29204"/>
                      <a:pt x="9332573" y="27075"/>
                    </a:cubicBezTo>
                    <a:cubicBezTo>
                      <a:pt x="9338049" y="24946"/>
                      <a:pt x="9343449" y="22563"/>
                      <a:pt x="9348772" y="19926"/>
                    </a:cubicBezTo>
                    <a:cubicBezTo>
                      <a:pt x="9354096" y="17290"/>
                      <a:pt x="9359470" y="14349"/>
                      <a:pt x="9364895" y="11104"/>
                    </a:cubicBezTo>
                    <a:cubicBezTo>
                      <a:pt x="9370320" y="7860"/>
                      <a:pt x="9375922" y="4159"/>
                      <a:pt x="9381702" y="1"/>
                    </a:cubicBezTo>
                    <a:close/>
                    <a:moveTo>
                      <a:pt x="8775355" y="1"/>
                    </a:moveTo>
                    <a:lnTo>
                      <a:pt x="8790261" y="1"/>
                    </a:lnTo>
                    <a:lnTo>
                      <a:pt x="8790261" y="222981"/>
                    </a:lnTo>
                    <a:lnTo>
                      <a:pt x="8754973" y="222981"/>
                    </a:lnTo>
                    <a:lnTo>
                      <a:pt x="8754973" y="43198"/>
                    </a:lnTo>
                    <a:cubicBezTo>
                      <a:pt x="8748585" y="47761"/>
                      <a:pt x="8741715" y="51639"/>
                      <a:pt x="8734364" y="54833"/>
                    </a:cubicBezTo>
                    <a:cubicBezTo>
                      <a:pt x="8727012" y="58028"/>
                      <a:pt x="8718621" y="60841"/>
                      <a:pt x="8709191" y="63275"/>
                    </a:cubicBezTo>
                    <a:lnTo>
                      <a:pt x="8709191" y="33159"/>
                    </a:lnTo>
                    <a:cubicBezTo>
                      <a:pt x="8715072" y="31233"/>
                      <a:pt x="8720751" y="29204"/>
                      <a:pt x="8726226" y="27075"/>
                    </a:cubicBezTo>
                    <a:cubicBezTo>
                      <a:pt x="8731702" y="24946"/>
                      <a:pt x="8737102" y="22563"/>
                      <a:pt x="8742425" y="19926"/>
                    </a:cubicBezTo>
                    <a:cubicBezTo>
                      <a:pt x="8747749" y="17290"/>
                      <a:pt x="8753123" y="14349"/>
                      <a:pt x="8758548" y="11104"/>
                    </a:cubicBezTo>
                    <a:cubicBezTo>
                      <a:pt x="8763973" y="7860"/>
                      <a:pt x="8769575" y="4159"/>
                      <a:pt x="8775355" y="1"/>
                    </a:cubicBezTo>
                    <a:close/>
                    <a:moveTo>
                      <a:pt x="8509247" y="1"/>
                    </a:moveTo>
                    <a:lnTo>
                      <a:pt x="8524153" y="1"/>
                    </a:lnTo>
                    <a:lnTo>
                      <a:pt x="8524153" y="222981"/>
                    </a:lnTo>
                    <a:lnTo>
                      <a:pt x="8488865" y="222981"/>
                    </a:lnTo>
                    <a:lnTo>
                      <a:pt x="8488865" y="43198"/>
                    </a:lnTo>
                    <a:cubicBezTo>
                      <a:pt x="8482477" y="47761"/>
                      <a:pt x="8475607" y="51639"/>
                      <a:pt x="8468256" y="54833"/>
                    </a:cubicBezTo>
                    <a:cubicBezTo>
                      <a:pt x="8460904" y="58028"/>
                      <a:pt x="8452513" y="60841"/>
                      <a:pt x="8443083" y="63275"/>
                    </a:cubicBezTo>
                    <a:lnTo>
                      <a:pt x="8443083" y="33159"/>
                    </a:lnTo>
                    <a:cubicBezTo>
                      <a:pt x="8448964" y="31233"/>
                      <a:pt x="8454643" y="29204"/>
                      <a:pt x="8460118" y="27075"/>
                    </a:cubicBezTo>
                    <a:cubicBezTo>
                      <a:pt x="8465594" y="24946"/>
                      <a:pt x="8470994" y="22563"/>
                      <a:pt x="8476317" y="19926"/>
                    </a:cubicBezTo>
                    <a:cubicBezTo>
                      <a:pt x="8481641" y="17290"/>
                      <a:pt x="8487015" y="14349"/>
                      <a:pt x="8492440" y="11104"/>
                    </a:cubicBezTo>
                    <a:cubicBezTo>
                      <a:pt x="8497865" y="7860"/>
                      <a:pt x="8503467" y="4159"/>
                      <a:pt x="8509247" y="1"/>
                    </a:cubicBezTo>
                    <a:close/>
                    <a:moveTo>
                      <a:pt x="8097479" y="1"/>
                    </a:moveTo>
                    <a:lnTo>
                      <a:pt x="8112386" y="1"/>
                    </a:lnTo>
                    <a:lnTo>
                      <a:pt x="8112386" y="222981"/>
                    </a:lnTo>
                    <a:lnTo>
                      <a:pt x="8077098" y="222981"/>
                    </a:lnTo>
                    <a:lnTo>
                      <a:pt x="8077098" y="43198"/>
                    </a:lnTo>
                    <a:cubicBezTo>
                      <a:pt x="8070710" y="47761"/>
                      <a:pt x="8063840" y="51639"/>
                      <a:pt x="8056488" y="54833"/>
                    </a:cubicBezTo>
                    <a:cubicBezTo>
                      <a:pt x="8049137" y="58028"/>
                      <a:pt x="8040746" y="60841"/>
                      <a:pt x="8031316" y="63275"/>
                    </a:cubicBezTo>
                    <a:lnTo>
                      <a:pt x="8031316" y="33159"/>
                    </a:lnTo>
                    <a:cubicBezTo>
                      <a:pt x="8037197" y="31233"/>
                      <a:pt x="8042875" y="29204"/>
                      <a:pt x="8048351" y="27075"/>
                    </a:cubicBezTo>
                    <a:cubicBezTo>
                      <a:pt x="8053827" y="24946"/>
                      <a:pt x="8059226" y="22563"/>
                      <a:pt x="8064550" y="19926"/>
                    </a:cubicBezTo>
                    <a:cubicBezTo>
                      <a:pt x="8069873" y="17290"/>
                      <a:pt x="8075248" y="14349"/>
                      <a:pt x="8080672" y="11104"/>
                    </a:cubicBezTo>
                    <a:cubicBezTo>
                      <a:pt x="8086098" y="7860"/>
                      <a:pt x="8091700" y="4159"/>
                      <a:pt x="8097479" y="1"/>
                    </a:cubicBezTo>
                    <a:close/>
                    <a:moveTo>
                      <a:pt x="7964425" y="1"/>
                    </a:moveTo>
                    <a:lnTo>
                      <a:pt x="7979332" y="1"/>
                    </a:lnTo>
                    <a:lnTo>
                      <a:pt x="7979332" y="222981"/>
                    </a:lnTo>
                    <a:lnTo>
                      <a:pt x="7944044" y="222981"/>
                    </a:lnTo>
                    <a:lnTo>
                      <a:pt x="7944044" y="43198"/>
                    </a:lnTo>
                    <a:cubicBezTo>
                      <a:pt x="7937656" y="47761"/>
                      <a:pt x="7930786" y="51639"/>
                      <a:pt x="7923434" y="54833"/>
                    </a:cubicBezTo>
                    <a:cubicBezTo>
                      <a:pt x="7916083" y="58028"/>
                      <a:pt x="7907692" y="60841"/>
                      <a:pt x="7898262" y="63275"/>
                    </a:cubicBezTo>
                    <a:lnTo>
                      <a:pt x="7898262" y="33159"/>
                    </a:lnTo>
                    <a:cubicBezTo>
                      <a:pt x="7904143" y="31233"/>
                      <a:pt x="7909821" y="29204"/>
                      <a:pt x="7915297" y="27075"/>
                    </a:cubicBezTo>
                    <a:cubicBezTo>
                      <a:pt x="7920773" y="24946"/>
                      <a:pt x="7926172" y="22563"/>
                      <a:pt x="7931496" y="19926"/>
                    </a:cubicBezTo>
                    <a:cubicBezTo>
                      <a:pt x="7936819" y="17290"/>
                      <a:pt x="7942194" y="14349"/>
                      <a:pt x="7947618" y="11104"/>
                    </a:cubicBezTo>
                    <a:cubicBezTo>
                      <a:pt x="7953044" y="7860"/>
                      <a:pt x="7958646" y="4159"/>
                      <a:pt x="7964425" y="1"/>
                    </a:cubicBezTo>
                    <a:close/>
                    <a:moveTo>
                      <a:pt x="7831371" y="1"/>
                    </a:moveTo>
                    <a:lnTo>
                      <a:pt x="7846278" y="1"/>
                    </a:lnTo>
                    <a:lnTo>
                      <a:pt x="7846278" y="222981"/>
                    </a:lnTo>
                    <a:lnTo>
                      <a:pt x="7810990" y="222981"/>
                    </a:lnTo>
                    <a:lnTo>
                      <a:pt x="7810990" y="43198"/>
                    </a:lnTo>
                    <a:cubicBezTo>
                      <a:pt x="7804602" y="47761"/>
                      <a:pt x="7797732" y="51639"/>
                      <a:pt x="7790380" y="54833"/>
                    </a:cubicBezTo>
                    <a:cubicBezTo>
                      <a:pt x="7783029" y="58028"/>
                      <a:pt x="7774638" y="60841"/>
                      <a:pt x="7765208" y="63275"/>
                    </a:cubicBezTo>
                    <a:lnTo>
                      <a:pt x="7765208" y="33159"/>
                    </a:lnTo>
                    <a:cubicBezTo>
                      <a:pt x="7771089" y="31233"/>
                      <a:pt x="7776767" y="29204"/>
                      <a:pt x="7782243" y="27075"/>
                    </a:cubicBezTo>
                    <a:cubicBezTo>
                      <a:pt x="7787719" y="24946"/>
                      <a:pt x="7793118" y="22563"/>
                      <a:pt x="7798442" y="19926"/>
                    </a:cubicBezTo>
                    <a:cubicBezTo>
                      <a:pt x="7803765" y="17290"/>
                      <a:pt x="7809140" y="14349"/>
                      <a:pt x="7814564" y="11104"/>
                    </a:cubicBezTo>
                    <a:cubicBezTo>
                      <a:pt x="7819990" y="7860"/>
                      <a:pt x="7825592" y="4159"/>
                      <a:pt x="7831371" y="1"/>
                    </a:cubicBezTo>
                    <a:close/>
                    <a:moveTo>
                      <a:pt x="7688759" y="1"/>
                    </a:moveTo>
                    <a:lnTo>
                      <a:pt x="7703666" y="1"/>
                    </a:lnTo>
                    <a:lnTo>
                      <a:pt x="7703666" y="222981"/>
                    </a:lnTo>
                    <a:lnTo>
                      <a:pt x="7668378" y="222981"/>
                    </a:lnTo>
                    <a:lnTo>
                      <a:pt x="7668378" y="43198"/>
                    </a:lnTo>
                    <a:cubicBezTo>
                      <a:pt x="7661990" y="47761"/>
                      <a:pt x="7655120" y="51639"/>
                      <a:pt x="7647768" y="54833"/>
                    </a:cubicBezTo>
                    <a:cubicBezTo>
                      <a:pt x="7640417" y="58028"/>
                      <a:pt x="7632026" y="60841"/>
                      <a:pt x="7622596" y="63275"/>
                    </a:cubicBezTo>
                    <a:lnTo>
                      <a:pt x="7622596" y="33159"/>
                    </a:lnTo>
                    <a:cubicBezTo>
                      <a:pt x="7628477" y="31233"/>
                      <a:pt x="7634155" y="29204"/>
                      <a:pt x="7639631" y="27075"/>
                    </a:cubicBezTo>
                    <a:cubicBezTo>
                      <a:pt x="7645107" y="24946"/>
                      <a:pt x="7650506" y="22563"/>
                      <a:pt x="7655830" y="19926"/>
                    </a:cubicBezTo>
                    <a:cubicBezTo>
                      <a:pt x="7661153" y="17290"/>
                      <a:pt x="7666528" y="14349"/>
                      <a:pt x="7671952" y="11104"/>
                    </a:cubicBezTo>
                    <a:cubicBezTo>
                      <a:pt x="7677378" y="7860"/>
                      <a:pt x="7682980" y="4159"/>
                      <a:pt x="7688759" y="1"/>
                    </a:cubicBezTo>
                    <a:close/>
                    <a:moveTo>
                      <a:pt x="6941419" y="1"/>
                    </a:moveTo>
                    <a:lnTo>
                      <a:pt x="6956326" y="1"/>
                    </a:lnTo>
                    <a:lnTo>
                      <a:pt x="6956326" y="222981"/>
                    </a:lnTo>
                    <a:lnTo>
                      <a:pt x="6921038" y="222981"/>
                    </a:lnTo>
                    <a:lnTo>
                      <a:pt x="6921038" y="43198"/>
                    </a:lnTo>
                    <a:cubicBezTo>
                      <a:pt x="6914650" y="47761"/>
                      <a:pt x="6907780" y="51639"/>
                      <a:pt x="6900428" y="54833"/>
                    </a:cubicBezTo>
                    <a:cubicBezTo>
                      <a:pt x="6893077" y="58028"/>
                      <a:pt x="6884686" y="60841"/>
                      <a:pt x="6875256" y="63275"/>
                    </a:cubicBezTo>
                    <a:lnTo>
                      <a:pt x="6875256" y="33159"/>
                    </a:lnTo>
                    <a:cubicBezTo>
                      <a:pt x="6881137" y="31233"/>
                      <a:pt x="6886815" y="29204"/>
                      <a:pt x="6892291" y="27075"/>
                    </a:cubicBezTo>
                    <a:cubicBezTo>
                      <a:pt x="6897767" y="24946"/>
                      <a:pt x="6903166" y="22563"/>
                      <a:pt x="6908490" y="19926"/>
                    </a:cubicBezTo>
                    <a:cubicBezTo>
                      <a:pt x="6913813" y="17290"/>
                      <a:pt x="6919188" y="14349"/>
                      <a:pt x="6924612" y="11104"/>
                    </a:cubicBezTo>
                    <a:cubicBezTo>
                      <a:pt x="6930038" y="7860"/>
                      <a:pt x="6935640" y="4159"/>
                      <a:pt x="6941419" y="1"/>
                    </a:cubicBezTo>
                    <a:close/>
                    <a:moveTo>
                      <a:pt x="6797293" y="1"/>
                    </a:moveTo>
                    <a:lnTo>
                      <a:pt x="6812200" y="1"/>
                    </a:lnTo>
                    <a:lnTo>
                      <a:pt x="6812200" y="222981"/>
                    </a:lnTo>
                    <a:lnTo>
                      <a:pt x="6776912" y="222981"/>
                    </a:lnTo>
                    <a:lnTo>
                      <a:pt x="6776912" y="43198"/>
                    </a:lnTo>
                    <a:cubicBezTo>
                      <a:pt x="6770524" y="47761"/>
                      <a:pt x="6763654" y="51639"/>
                      <a:pt x="6756302" y="54833"/>
                    </a:cubicBezTo>
                    <a:cubicBezTo>
                      <a:pt x="6748951" y="58028"/>
                      <a:pt x="6740560" y="60841"/>
                      <a:pt x="6731130" y="63275"/>
                    </a:cubicBezTo>
                    <a:lnTo>
                      <a:pt x="6731130" y="33159"/>
                    </a:lnTo>
                    <a:cubicBezTo>
                      <a:pt x="6737011" y="31233"/>
                      <a:pt x="6742689" y="29204"/>
                      <a:pt x="6748165" y="27075"/>
                    </a:cubicBezTo>
                    <a:cubicBezTo>
                      <a:pt x="6753641" y="24946"/>
                      <a:pt x="6759040" y="22563"/>
                      <a:pt x="6764364" y="19926"/>
                    </a:cubicBezTo>
                    <a:cubicBezTo>
                      <a:pt x="6769687" y="17290"/>
                      <a:pt x="6775062" y="14349"/>
                      <a:pt x="6780486" y="11104"/>
                    </a:cubicBezTo>
                    <a:cubicBezTo>
                      <a:pt x="6785912" y="7860"/>
                      <a:pt x="6791514" y="4159"/>
                      <a:pt x="6797293" y="1"/>
                    </a:cubicBezTo>
                    <a:close/>
                    <a:moveTo>
                      <a:pt x="6105316" y="1"/>
                    </a:moveTo>
                    <a:lnTo>
                      <a:pt x="6120223" y="1"/>
                    </a:lnTo>
                    <a:lnTo>
                      <a:pt x="6120223" y="222981"/>
                    </a:lnTo>
                    <a:lnTo>
                      <a:pt x="6084935" y="222981"/>
                    </a:lnTo>
                    <a:lnTo>
                      <a:pt x="6084935" y="43198"/>
                    </a:lnTo>
                    <a:cubicBezTo>
                      <a:pt x="6078547" y="47761"/>
                      <a:pt x="6071677" y="51639"/>
                      <a:pt x="6064325" y="54833"/>
                    </a:cubicBezTo>
                    <a:cubicBezTo>
                      <a:pt x="6056974" y="58028"/>
                      <a:pt x="6048583" y="60841"/>
                      <a:pt x="6039153" y="63275"/>
                    </a:cubicBezTo>
                    <a:lnTo>
                      <a:pt x="6039153" y="33159"/>
                    </a:lnTo>
                    <a:cubicBezTo>
                      <a:pt x="6045034" y="31233"/>
                      <a:pt x="6050712" y="29204"/>
                      <a:pt x="6056188" y="27075"/>
                    </a:cubicBezTo>
                    <a:cubicBezTo>
                      <a:pt x="6061664" y="24946"/>
                      <a:pt x="6067063" y="22563"/>
                      <a:pt x="6072387" y="19926"/>
                    </a:cubicBezTo>
                    <a:cubicBezTo>
                      <a:pt x="6077710" y="17290"/>
                      <a:pt x="6083085" y="14349"/>
                      <a:pt x="6088509" y="11104"/>
                    </a:cubicBezTo>
                    <a:cubicBezTo>
                      <a:pt x="6093935" y="7860"/>
                      <a:pt x="6099537" y="4159"/>
                      <a:pt x="6105316" y="1"/>
                    </a:cubicBezTo>
                    <a:close/>
                    <a:moveTo>
                      <a:pt x="5817065" y="1"/>
                    </a:moveTo>
                    <a:lnTo>
                      <a:pt x="5831972" y="1"/>
                    </a:lnTo>
                    <a:lnTo>
                      <a:pt x="5831972" y="222981"/>
                    </a:lnTo>
                    <a:lnTo>
                      <a:pt x="5796684" y="222981"/>
                    </a:lnTo>
                    <a:lnTo>
                      <a:pt x="5796684" y="43198"/>
                    </a:lnTo>
                    <a:cubicBezTo>
                      <a:pt x="5790296" y="47761"/>
                      <a:pt x="5783426" y="51639"/>
                      <a:pt x="5776074" y="54833"/>
                    </a:cubicBezTo>
                    <a:cubicBezTo>
                      <a:pt x="5768723" y="58028"/>
                      <a:pt x="5760332" y="60841"/>
                      <a:pt x="5750902" y="63275"/>
                    </a:cubicBezTo>
                    <a:lnTo>
                      <a:pt x="5750902" y="33159"/>
                    </a:lnTo>
                    <a:cubicBezTo>
                      <a:pt x="5756783" y="31233"/>
                      <a:pt x="5762461" y="29204"/>
                      <a:pt x="5767937" y="27075"/>
                    </a:cubicBezTo>
                    <a:cubicBezTo>
                      <a:pt x="5773413" y="24946"/>
                      <a:pt x="5778812" y="22563"/>
                      <a:pt x="5784136" y="19926"/>
                    </a:cubicBezTo>
                    <a:cubicBezTo>
                      <a:pt x="5789459" y="17290"/>
                      <a:pt x="5794834" y="14349"/>
                      <a:pt x="5800258" y="11104"/>
                    </a:cubicBezTo>
                    <a:cubicBezTo>
                      <a:pt x="5805684" y="7860"/>
                      <a:pt x="5811286" y="4159"/>
                      <a:pt x="5817065" y="1"/>
                    </a:cubicBezTo>
                    <a:close/>
                    <a:moveTo>
                      <a:pt x="5434197" y="1"/>
                    </a:moveTo>
                    <a:lnTo>
                      <a:pt x="5449104" y="1"/>
                    </a:lnTo>
                    <a:lnTo>
                      <a:pt x="5449104" y="222981"/>
                    </a:lnTo>
                    <a:lnTo>
                      <a:pt x="5413816" y="222981"/>
                    </a:lnTo>
                    <a:lnTo>
                      <a:pt x="5413816" y="43198"/>
                    </a:lnTo>
                    <a:cubicBezTo>
                      <a:pt x="5407428" y="47761"/>
                      <a:pt x="5400558" y="51639"/>
                      <a:pt x="5393206" y="54833"/>
                    </a:cubicBezTo>
                    <a:cubicBezTo>
                      <a:pt x="5385855" y="58028"/>
                      <a:pt x="5377464" y="60841"/>
                      <a:pt x="5368034" y="63275"/>
                    </a:cubicBezTo>
                    <a:lnTo>
                      <a:pt x="5368034" y="33159"/>
                    </a:lnTo>
                    <a:cubicBezTo>
                      <a:pt x="5373915" y="31233"/>
                      <a:pt x="5379593" y="29204"/>
                      <a:pt x="5385069" y="27075"/>
                    </a:cubicBezTo>
                    <a:cubicBezTo>
                      <a:pt x="5390545" y="24946"/>
                      <a:pt x="5395944" y="22563"/>
                      <a:pt x="5401268" y="19926"/>
                    </a:cubicBezTo>
                    <a:cubicBezTo>
                      <a:pt x="5406591" y="17290"/>
                      <a:pt x="5411966" y="14349"/>
                      <a:pt x="5417390" y="11104"/>
                    </a:cubicBezTo>
                    <a:cubicBezTo>
                      <a:pt x="5422816" y="7860"/>
                      <a:pt x="5428418" y="4159"/>
                      <a:pt x="5434197" y="1"/>
                    </a:cubicBezTo>
                    <a:close/>
                    <a:moveTo>
                      <a:pt x="5290071" y="1"/>
                    </a:moveTo>
                    <a:lnTo>
                      <a:pt x="5304978" y="1"/>
                    </a:lnTo>
                    <a:lnTo>
                      <a:pt x="5304978" y="222981"/>
                    </a:lnTo>
                    <a:lnTo>
                      <a:pt x="5269690" y="222981"/>
                    </a:lnTo>
                    <a:lnTo>
                      <a:pt x="5269690" y="43198"/>
                    </a:lnTo>
                    <a:cubicBezTo>
                      <a:pt x="5263302" y="47761"/>
                      <a:pt x="5256432" y="51639"/>
                      <a:pt x="5249080" y="54833"/>
                    </a:cubicBezTo>
                    <a:cubicBezTo>
                      <a:pt x="5241729" y="58028"/>
                      <a:pt x="5233338" y="60841"/>
                      <a:pt x="5223908" y="63275"/>
                    </a:cubicBezTo>
                    <a:lnTo>
                      <a:pt x="5223908" y="33159"/>
                    </a:lnTo>
                    <a:cubicBezTo>
                      <a:pt x="5229789" y="31233"/>
                      <a:pt x="5235467" y="29204"/>
                      <a:pt x="5240943" y="27075"/>
                    </a:cubicBezTo>
                    <a:cubicBezTo>
                      <a:pt x="5246419" y="24946"/>
                      <a:pt x="5251818" y="22563"/>
                      <a:pt x="5257142" y="19926"/>
                    </a:cubicBezTo>
                    <a:cubicBezTo>
                      <a:pt x="5262465" y="17290"/>
                      <a:pt x="5267840" y="14349"/>
                      <a:pt x="5273264" y="11104"/>
                    </a:cubicBezTo>
                    <a:cubicBezTo>
                      <a:pt x="5278690" y="7860"/>
                      <a:pt x="5284292" y="4159"/>
                      <a:pt x="5290071" y="1"/>
                    </a:cubicBezTo>
                    <a:close/>
                    <a:moveTo>
                      <a:pt x="5145946" y="1"/>
                    </a:moveTo>
                    <a:lnTo>
                      <a:pt x="5160853" y="1"/>
                    </a:lnTo>
                    <a:lnTo>
                      <a:pt x="5160853" y="222981"/>
                    </a:lnTo>
                    <a:lnTo>
                      <a:pt x="5125565" y="222981"/>
                    </a:lnTo>
                    <a:lnTo>
                      <a:pt x="5125565" y="43198"/>
                    </a:lnTo>
                    <a:cubicBezTo>
                      <a:pt x="5119177" y="47761"/>
                      <a:pt x="5112307" y="51639"/>
                      <a:pt x="5104955" y="54833"/>
                    </a:cubicBezTo>
                    <a:cubicBezTo>
                      <a:pt x="5097604" y="58028"/>
                      <a:pt x="5089213" y="60841"/>
                      <a:pt x="5079783" y="63275"/>
                    </a:cubicBezTo>
                    <a:lnTo>
                      <a:pt x="5079783" y="33159"/>
                    </a:lnTo>
                    <a:cubicBezTo>
                      <a:pt x="5085664" y="31233"/>
                      <a:pt x="5091342" y="29204"/>
                      <a:pt x="5096818" y="27075"/>
                    </a:cubicBezTo>
                    <a:cubicBezTo>
                      <a:pt x="5102294" y="24946"/>
                      <a:pt x="5107693" y="22563"/>
                      <a:pt x="5113017" y="19926"/>
                    </a:cubicBezTo>
                    <a:cubicBezTo>
                      <a:pt x="5118340" y="17290"/>
                      <a:pt x="5123715" y="14349"/>
                      <a:pt x="5129139" y="11104"/>
                    </a:cubicBezTo>
                    <a:cubicBezTo>
                      <a:pt x="5134565" y="7860"/>
                      <a:pt x="5140167" y="4159"/>
                      <a:pt x="5145946" y="1"/>
                    </a:cubicBezTo>
                    <a:close/>
                    <a:moveTo>
                      <a:pt x="5001821" y="1"/>
                    </a:moveTo>
                    <a:lnTo>
                      <a:pt x="5016728" y="1"/>
                    </a:lnTo>
                    <a:lnTo>
                      <a:pt x="5016728" y="222981"/>
                    </a:lnTo>
                    <a:lnTo>
                      <a:pt x="4981440" y="222981"/>
                    </a:lnTo>
                    <a:lnTo>
                      <a:pt x="4981440" y="43198"/>
                    </a:lnTo>
                    <a:cubicBezTo>
                      <a:pt x="4975052" y="47761"/>
                      <a:pt x="4968182" y="51639"/>
                      <a:pt x="4960830" y="54833"/>
                    </a:cubicBezTo>
                    <a:cubicBezTo>
                      <a:pt x="4953479" y="58028"/>
                      <a:pt x="4945088" y="60841"/>
                      <a:pt x="4935658" y="63275"/>
                    </a:cubicBezTo>
                    <a:lnTo>
                      <a:pt x="4935658" y="33159"/>
                    </a:lnTo>
                    <a:cubicBezTo>
                      <a:pt x="4941539" y="31233"/>
                      <a:pt x="4947217" y="29204"/>
                      <a:pt x="4952693" y="27075"/>
                    </a:cubicBezTo>
                    <a:cubicBezTo>
                      <a:pt x="4958169" y="24946"/>
                      <a:pt x="4963568" y="22563"/>
                      <a:pt x="4968892" y="19926"/>
                    </a:cubicBezTo>
                    <a:cubicBezTo>
                      <a:pt x="4974215" y="17290"/>
                      <a:pt x="4979590" y="14349"/>
                      <a:pt x="4985014" y="11104"/>
                    </a:cubicBezTo>
                    <a:cubicBezTo>
                      <a:pt x="4990440" y="7860"/>
                      <a:pt x="4996042" y="4159"/>
                      <a:pt x="5001821" y="1"/>
                    </a:cubicBezTo>
                    <a:close/>
                    <a:moveTo>
                      <a:pt x="4857696" y="1"/>
                    </a:moveTo>
                    <a:lnTo>
                      <a:pt x="4872603" y="1"/>
                    </a:lnTo>
                    <a:lnTo>
                      <a:pt x="4872603" y="222981"/>
                    </a:lnTo>
                    <a:lnTo>
                      <a:pt x="4837315" y="222981"/>
                    </a:lnTo>
                    <a:lnTo>
                      <a:pt x="4837315" y="43198"/>
                    </a:lnTo>
                    <a:cubicBezTo>
                      <a:pt x="4830927" y="47761"/>
                      <a:pt x="4824057" y="51639"/>
                      <a:pt x="4816705" y="54833"/>
                    </a:cubicBezTo>
                    <a:cubicBezTo>
                      <a:pt x="4809354" y="58028"/>
                      <a:pt x="4800963" y="60841"/>
                      <a:pt x="4791533" y="63275"/>
                    </a:cubicBezTo>
                    <a:lnTo>
                      <a:pt x="4791533" y="33159"/>
                    </a:lnTo>
                    <a:cubicBezTo>
                      <a:pt x="4797414" y="31233"/>
                      <a:pt x="4803092" y="29204"/>
                      <a:pt x="4808568" y="27075"/>
                    </a:cubicBezTo>
                    <a:cubicBezTo>
                      <a:pt x="4814044" y="24946"/>
                      <a:pt x="4819443" y="22563"/>
                      <a:pt x="4824767" y="19926"/>
                    </a:cubicBezTo>
                    <a:cubicBezTo>
                      <a:pt x="4830090" y="17290"/>
                      <a:pt x="4835465" y="14349"/>
                      <a:pt x="4840889" y="11104"/>
                    </a:cubicBezTo>
                    <a:cubicBezTo>
                      <a:pt x="4846315" y="7860"/>
                      <a:pt x="4851917" y="4159"/>
                      <a:pt x="4857696" y="1"/>
                    </a:cubicBezTo>
                    <a:close/>
                    <a:moveTo>
                      <a:pt x="4469464" y="1"/>
                    </a:moveTo>
                    <a:lnTo>
                      <a:pt x="4484370" y="1"/>
                    </a:lnTo>
                    <a:lnTo>
                      <a:pt x="4484370" y="222981"/>
                    </a:lnTo>
                    <a:lnTo>
                      <a:pt x="4449082" y="222981"/>
                    </a:lnTo>
                    <a:lnTo>
                      <a:pt x="4449082" y="43198"/>
                    </a:lnTo>
                    <a:cubicBezTo>
                      <a:pt x="4442694" y="47761"/>
                      <a:pt x="4435825" y="51639"/>
                      <a:pt x="4428473" y="54833"/>
                    </a:cubicBezTo>
                    <a:cubicBezTo>
                      <a:pt x="4421121" y="58028"/>
                      <a:pt x="4412731" y="60841"/>
                      <a:pt x="4403300" y="63275"/>
                    </a:cubicBezTo>
                    <a:lnTo>
                      <a:pt x="4403300" y="33159"/>
                    </a:lnTo>
                    <a:cubicBezTo>
                      <a:pt x="4409181" y="31233"/>
                      <a:pt x="4414860" y="29204"/>
                      <a:pt x="4420335" y="27075"/>
                    </a:cubicBezTo>
                    <a:cubicBezTo>
                      <a:pt x="4425811" y="24946"/>
                      <a:pt x="4431211" y="22563"/>
                      <a:pt x="4436534" y="19926"/>
                    </a:cubicBezTo>
                    <a:cubicBezTo>
                      <a:pt x="4441858" y="17290"/>
                      <a:pt x="4447232" y="14349"/>
                      <a:pt x="4452657" y="11104"/>
                    </a:cubicBezTo>
                    <a:cubicBezTo>
                      <a:pt x="4458082" y="7860"/>
                      <a:pt x="4463684" y="4159"/>
                      <a:pt x="4469464" y="1"/>
                    </a:cubicBezTo>
                    <a:close/>
                    <a:moveTo>
                      <a:pt x="4203356" y="1"/>
                    </a:moveTo>
                    <a:lnTo>
                      <a:pt x="4218262" y="1"/>
                    </a:lnTo>
                    <a:lnTo>
                      <a:pt x="4218262" y="222981"/>
                    </a:lnTo>
                    <a:lnTo>
                      <a:pt x="4182974" y="222981"/>
                    </a:lnTo>
                    <a:lnTo>
                      <a:pt x="4182974" y="43198"/>
                    </a:lnTo>
                    <a:cubicBezTo>
                      <a:pt x="4176586" y="47761"/>
                      <a:pt x="4169717" y="51639"/>
                      <a:pt x="4162365" y="54833"/>
                    </a:cubicBezTo>
                    <a:cubicBezTo>
                      <a:pt x="4155013" y="58028"/>
                      <a:pt x="4146623" y="60841"/>
                      <a:pt x="4137192" y="63275"/>
                    </a:cubicBezTo>
                    <a:lnTo>
                      <a:pt x="4137192" y="33159"/>
                    </a:lnTo>
                    <a:cubicBezTo>
                      <a:pt x="4143073" y="31233"/>
                      <a:pt x="4148752" y="29204"/>
                      <a:pt x="4154227" y="27075"/>
                    </a:cubicBezTo>
                    <a:cubicBezTo>
                      <a:pt x="4159703" y="24946"/>
                      <a:pt x="4165103" y="22563"/>
                      <a:pt x="4170426" y="19926"/>
                    </a:cubicBezTo>
                    <a:cubicBezTo>
                      <a:pt x="4175750" y="17290"/>
                      <a:pt x="4181124" y="14349"/>
                      <a:pt x="4186549" y="11104"/>
                    </a:cubicBezTo>
                    <a:cubicBezTo>
                      <a:pt x="4191974" y="7860"/>
                      <a:pt x="4197576" y="4159"/>
                      <a:pt x="4203356" y="1"/>
                    </a:cubicBezTo>
                    <a:close/>
                    <a:moveTo>
                      <a:pt x="3591757" y="1"/>
                    </a:moveTo>
                    <a:lnTo>
                      <a:pt x="3606663" y="1"/>
                    </a:lnTo>
                    <a:lnTo>
                      <a:pt x="3606663" y="222981"/>
                    </a:lnTo>
                    <a:lnTo>
                      <a:pt x="3571375" y="222981"/>
                    </a:lnTo>
                    <a:lnTo>
                      <a:pt x="3571375" y="43198"/>
                    </a:lnTo>
                    <a:cubicBezTo>
                      <a:pt x="3564987" y="47761"/>
                      <a:pt x="3558117" y="51639"/>
                      <a:pt x="3550766" y="54833"/>
                    </a:cubicBezTo>
                    <a:cubicBezTo>
                      <a:pt x="3543414" y="58028"/>
                      <a:pt x="3535024" y="60841"/>
                      <a:pt x="3525593" y="63275"/>
                    </a:cubicBezTo>
                    <a:lnTo>
                      <a:pt x="3525593" y="33159"/>
                    </a:lnTo>
                    <a:cubicBezTo>
                      <a:pt x="3531474" y="31233"/>
                      <a:pt x="3537153" y="29204"/>
                      <a:pt x="3542628" y="27075"/>
                    </a:cubicBezTo>
                    <a:cubicBezTo>
                      <a:pt x="3548104" y="24946"/>
                      <a:pt x="3553504" y="22563"/>
                      <a:pt x="3558827" y="19926"/>
                    </a:cubicBezTo>
                    <a:cubicBezTo>
                      <a:pt x="3564151" y="17290"/>
                      <a:pt x="3569525" y="14349"/>
                      <a:pt x="3574950" y="11104"/>
                    </a:cubicBezTo>
                    <a:cubicBezTo>
                      <a:pt x="3580375" y="7860"/>
                      <a:pt x="3585977" y="4159"/>
                      <a:pt x="3591757" y="1"/>
                    </a:cubicBezTo>
                    <a:close/>
                    <a:moveTo>
                      <a:pt x="3325649" y="1"/>
                    </a:moveTo>
                    <a:lnTo>
                      <a:pt x="3340555" y="1"/>
                    </a:lnTo>
                    <a:lnTo>
                      <a:pt x="3340555" y="222981"/>
                    </a:lnTo>
                    <a:lnTo>
                      <a:pt x="3305267" y="222981"/>
                    </a:lnTo>
                    <a:lnTo>
                      <a:pt x="3305267" y="43198"/>
                    </a:lnTo>
                    <a:cubicBezTo>
                      <a:pt x="3298879" y="47761"/>
                      <a:pt x="3292009" y="51639"/>
                      <a:pt x="3284658" y="54833"/>
                    </a:cubicBezTo>
                    <a:cubicBezTo>
                      <a:pt x="3277306" y="58028"/>
                      <a:pt x="3268916" y="60841"/>
                      <a:pt x="3259485" y="63275"/>
                    </a:cubicBezTo>
                    <a:lnTo>
                      <a:pt x="3259485" y="33159"/>
                    </a:lnTo>
                    <a:cubicBezTo>
                      <a:pt x="3265366" y="31233"/>
                      <a:pt x="3271045" y="29204"/>
                      <a:pt x="3276520" y="27075"/>
                    </a:cubicBezTo>
                    <a:cubicBezTo>
                      <a:pt x="3281996" y="24946"/>
                      <a:pt x="3287396" y="22563"/>
                      <a:pt x="3292719" y="19926"/>
                    </a:cubicBezTo>
                    <a:cubicBezTo>
                      <a:pt x="3298043" y="17290"/>
                      <a:pt x="3303417" y="14349"/>
                      <a:pt x="3308842" y="11104"/>
                    </a:cubicBezTo>
                    <a:cubicBezTo>
                      <a:pt x="3314267" y="7860"/>
                      <a:pt x="3319869" y="4159"/>
                      <a:pt x="3325649" y="1"/>
                    </a:cubicBezTo>
                    <a:close/>
                    <a:moveTo>
                      <a:pt x="2719302" y="1"/>
                    </a:moveTo>
                    <a:lnTo>
                      <a:pt x="2734208" y="1"/>
                    </a:lnTo>
                    <a:lnTo>
                      <a:pt x="2734208" y="222981"/>
                    </a:lnTo>
                    <a:lnTo>
                      <a:pt x="2698920" y="222981"/>
                    </a:lnTo>
                    <a:lnTo>
                      <a:pt x="2698920" y="43198"/>
                    </a:lnTo>
                    <a:cubicBezTo>
                      <a:pt x="2692532" y="47761"/>
                      <a:pt x="2685662" y="51639"/>
                      <a:pt x="2678311" y="54833"/>
                    </a:cubicBezTo>
                    <a:cubicBezTo>
                      <a:pt x="2670959" y="58028"/>
                      <a:pt x="2662569" y="60841"/>
                      <a:pt x="2653138" y="63275"/>
                    </a:cubicBezTo>
                    <a:lnTo>
                      <a:pt x="2653138" y="33159"/>
                    </a:lnTo>
                    <a:cubicBezTo>
                      <a:pt x="2659019" y="31233"/>
                      <a:pt x="2664698" y="29204"/>
                      <a:pt x="2670173" y="27075"/>
                    </a:cubicBezTo>
                    <a:cubicBezTo>
                      <a:pt x="2675649" y="24946"/>
                      <a:pt x="2681049" y="22563"/>
                      <a:pt x="2686372" y="19926"/>
                    </a:cubicBezTo>
                    <a:cubicBezTo>
                      <a:pt x="2691696" y="17290"/>
                      <a:pt x="2697070" y="14349"/>
                      <a:pt x="2702495" y="11104"/>
                    </a:cubicBezTo>
                    <a:cubicBezTo>
                      <a:pt x="2707920" y="7860"/>
                      <a:pt x="2713522" y="4159"/>
                      <a:pt x="2719302" y="1"/>
                    </a:cubicBezTo>
                    <a:close/>
                    <a:moveTo>
                      <a:pt x="2453194" y="1"/>
                    </a:moveTo>
                    <a:lnTo>
                      <a:pt x="2468100" y="1"/>
                    </a:lnTo>
                    <a:lnTo>
                      <a:pt x="2468100" y="222981"/>
                    </a:lnTo>
                    <a:lnTo>
                      <a:pt x="2432812" y="222981"/>
                    </a:lnTo>
                    <a:lnTo>
                      <a:pt x="2432812" y="43198"/>
                    </a:lnTo>
                    <a:cubicBezTo>
                      <a:pt x="2426424" y="47761"/>
                      <a:pt x="2419554" y="51639"/>
                      <a:pt x="2412203" y="54833"/>
                    </a:cubicBezTo>
                    <a:cubicBezTo>
                      <a:pt x="2404851" y="58028"/>
                      <a:pt x="2396461" y="60841"/>
                      <a:pt x="2387030" y="63275"/>
                    </a:cubicBezTo>
                    <a:lnTo>
                      <a:pt x="2387030" y="33159"/>
                    </a:lnTo>
                    <a:cubicBezTo>
                      <a:pt x="2392911" y="31233"/>
                      <a:pt x="2398590" y="29204"/>
                      <a:pt x="2404065" y="27075"/>
                    </a:cubicBezTo>
                    <a:cubicBezTo>
                      <a:pt x="2409541" y="24946"/>
                      <a:pt x="2414941" y="22563"/>
                      <a:pt x="2420264" y="19926"/>
                    </a:cubicBezTo>
                    <a:cubicBezTo>
                      <a:pt x="2425588" y="17290"/>
                      <a:pt x="2430962" y="14349"/>
                      <a:pt x="2436387" y="11104"/>
                    </a:cubicBezTo>
                    <a:cubicBezTo>
                      <a:pt x="2441812" y="7860"/>
                      <a:pt x="2447414" y="4159"/>
                      <a:pt x="2453194" y="1"/>
                    </a:cubicBezTo>
                    <a:close/>
                    <a:moveTo>
                      <a:pt x="2041427" y="1"/>
                    </a:moveTo>
                    <a:lnTo>
                      <a:pt x="2056333" y="1"/>
                    </a:lnTo>
                    <a:lnTo>
                      <a:pt x="2056333" y="222981"/>
                    </a:lnTo>
                    <a:lnTo>
                      <a:pt x="2021045" y="222981"/>
                    </a:lnTo>
                    <a:lnTo>
                      <a:pt x="2021045" y="43198"/>
                    </a:lnTo>
                    <a:cubicBezTo>
                      <a:pt x="2014658" y="47761"/>
                      <a:pt x="2007788" y="51639"/>
                      <a:pt x="2000436" y="54833"/>
                    </a:cubicBezTo>
                    <a:cubicBezTo>
                      <a:pt x="1993084" y="58028"/>
                      <a:pt x="1984694" y="60841"/>
                      <a:pt x="1975263" y="63275"/>
                    </a:cubicBezTo>
                    <a:lnTo>
                      <a:pt x="1975263" y="33159"/>
                    </a:lnTo>
                    <a:cubicBezTo>
                      <a:pt x="1981144" y="31233"/>
                      <a:pt x="1986823" y="29204"/>
                      <a:pt x="1992299" y="27075"/>
                    </a:cubicBezTo>
                    <a:cubicBezTo>
                      <a:pt x="1997774" y="24946"/>
                      <a:pt x="2003174" y="22563"/>
                      <a:pt x="2008497" y="19926"/>
                    </a:cubicBezTo>
                    <a:cubicBezTo>
                      <a:pt x="2013821" y="17290"/>
                      <a:pt x="2019195" y="14349"/>
                      <a:pt x="2024620" y="11104"/>
                    </a:cubicBezTo>
                    <a:cubicBezTo>
                      <a:pt x="2030045" y="7860"/>
                      <a:pt x="2035647" y="4159"/>
                      <a:pt x="2041427" y="1"/>
                    </a:cubicBezTo>
                    <a:close/>
                    <a:moveTo>
                      <a:pt x="1908373" y="1"/>
                    </a:moveTo>
                    <a:lnTo>
                      <a:pt x="1923279" y="1"/>
                    </a:lnTo>
                    <a:lnTo>
                      <a:pt x="1923279" y="222981"/>
                    </a:lnTo>
                    <a:lnTo>
                      <a:pt x="1887992" y="222981"/>
                    </a:lnTo>
                    <a:lnTo>
                      <a:pt x="1887992" y="43198"/>
                    </a:lnTo>
                    <a:cubicBezTo>
                      <a:pt x="1881603" y="47761"/>
                      <a:pt x="1874734" y="51639"/>
                      <a:pt x="1867382" y="54833"/>
                    </a:cubicBezTo>
                    <a:cubicBezTo>
                      <a:pt x="1860030" y="58028"/>
                      <a:pt x="1851640" y="60841"/>
                      <a:pt x="1842209" y="63275"/>
                    </a:cubicBezTo>
                    <a:lnTo>
                      <a:pt x="1842209" y="33159"/>
                    </a:lnTo>
                    <a:cubicBezTo>
                      <a:pt x="1848091" y="31233"/>
                      <a:pt x="1853769" y="29204"/>
                      <a:pt x="1859244" y="27075"/>
                    </a:cubicBezTo>
                    <a:cubicBezTo>
                      <a:pt x="1864720" y="24946"/>
                      <a:pt x="1870120" y="22563"/>
                      <a:pt x="1875443" y="19926"/>
                    </a:cubicBezTo>
                    <a:cubicBezTo>
                      <a:pt x="1880767" y="17290"/>
                      <a:pt x="1886141" y="14349"/>
                      <a:pt x="1891566" y="11104"/>
                    </a:cubicBezTo>
                    <a:cubicBezTo>
                      <a:pt x="1896991" y="7860"/>
                      <a:pt x="1902593" y="4159"/>
                      <a:pt x="1908373" y="1"/>
                    </a:cubicBezTo>
                    <a:close/>
                    <a:moveTo>
                      <a:pt x="1775319" y="1"/>
                    </a:moveTo>
                    <a:lnTo>
                      <a:pt x="1790225" y="1"/>
                    </a:lnTo>
                    <a:lnTo>
                      <a:pt x="1790225" y="222981"/>
                    </a:lnTo>
                    <a:lnTo>
                      <a:pt x="1754938" y="222981"/>
                    </a:lnTo>
                    <a:lnTo>
                      <a:pt x="1754938" y="43198"/>
                    </a:lnTo>
                    <a:cubicBezTo>
                      <a:pt x="1748549" y="47761"/>
                      <a:pt x="1741680" y="51639"/>
                      <a:pt x="1734328" y="54833"/>
                    </a:cubicBezTo>
                    <a:cubicBezTo>
                      <a:pt x="1726977" y="58028"/>
                      <a:pt x="1718585" y="60841"/>
                      <a:pt x="1709155" y="63275"/>
                    </a:cubicBezTo>
                    <a:lnTo>
                      <a:pt x="1709155" y="33159"/>
                    </a:lnTo>
                    <a:cubicBezTo>
                      <a:pt x="1715036" y="31233"/>
                      <a:pt x="1720715" y="29204"/>
                      <a:pt x="1726190" y="27075"/>
                    </a:cubicBezTo>
                    <a:cubicBezTo>
                      <a:pt x="1731666" y="24946"/>
                      <a:pt x="1737066" y="22563"/>
                      <a:pt x="1742389" y="19926"/>
                    </a:cubicBezTo>
                    <a:cubicBezTo>
                      <a:pt x="1747713" y="17290"/>
                      <a:pt x="1753087" y="14349"/>
                      <a:pt x="1758512" y="11104"/>
                    </a:cubicBezTo>
                    <a:cubicBezTo>
                      <a:pt x="1763937" y="7860"/>
                      <a:pt x="1769539" y="4159"/>
                      <a:pt x="1775319" y="1"/>
                    </a:cubicBezTo>
                    <a:close/>
                    <a:moveTo>
                      <a:pt x="1632707" y="1"/>
                    </a:moveTo>
                    <a:lnTo>
                      <a:pt x="1647614" y="1"/>
                    </a:lnTo>
                    <a:lnTo>
                      <a:pt x="1647614" y="222981"/>
                    </a:lnTo>
                    <a:lnTo>
                      <a:pt x="1612325" y="222981"/>
                    </a:lnTo>
                    <a:lnTo>
                      <a:pt x="1612325" y="43198"/>
                    </a:lnTo>
                    <a:cubicBezTo>
                      <a:pt x="1605938" y="47761"/>
                      <a:pt x="1599068" y="51639"/>
                      <a:pt x="1591716" y="54833"/>
                    </a:cubicBezTo>
                    <a:cubicBezTo>
                      <a:pt x="1584364" y="58028"/>
                      <a:pt x="1575974" y="60841"/>
                      <a:pt x="1566544" y="63275"/>
                    </a:cubicBezTo>
                    <a:lnTo>
                      <a:pt x="1566544" y="33159"/>
                    </a:lnTo>
                    <a:cubicBezTo>
                      <a:pt x="1572424" y="31233"/>
                      <a:pt x="1578103" y="29204"/>
                      <a:pt x="1583579" y="27075"/>
                    </a:cubicBezTo>
                    <a:cubicBezTo>
                      <a:pt x="1589054" y="24946"/>
                      <a:pt x="1594454" y="22563"/>
                      <a:pt x="1599778" y="19926"/>
                    </a:cubicBezTo>
                    <a:cubicBezTo>
                      <a:pt x="1605101" y="17290"/>
                      <a:pt x="1610475" y="14349"/>
                      <a:pt x="1615900" y="11104"/>
                    </a:cubicBezTo>
                    <a:cubicBezTo>
                      <a:pt x="1621325" y="7860"/>
                      <a:pt x="1626927" y="4159"/>
                      <a:pt x="1632707" y="1"/>
                    </a:cubicBezTo>
                    <a:close/>
                    <a:moveTo>
                      <a:pt x="877316" y="1"/>
                    </a:moveTo>
                    <a:lnTo>
                      <a:pt x="892222" y="1"/>
                    </a:lnTo>
                    <a:lnTo>
                      <a:pt x="892222" y="222981"/>
                    </a:lnTo>
                    <a:lnTo>
                      <a:pt x="856934" y="222981"/>
                    </a:lnTo>
                    <a:lnTo>
                      <a:pt x="856934" y="43198"/>
                    </a:lnTo>
                    <a:cubicBezTo>
                      <a:pt x="850546" y="47761"/>
                      <a:pt x="843676" y="51639"/>
                      <a:pt x="836324" y="54833"/>
                    </a:cubicBezTo>
                    <a:cubicBezTo>
                      <a:pt x="828973" y="58028"/>
                      <a:pt x="820582" y="60841"/>
                      <a:pt x="811152" y="63275"/>
                    </a:cubicBezTo>
                    <a:lnTo>
                      <a:pt x="811152" y="33159"/>
                    </a:lnTo>
                    <a:cubicBezTo>
                      <a:pt x="817033" y="31233"/>
                      <a:pt x="822711" y="29204"/>
                      <a:pt x="828187" y="27075"/>
                    </a:cubicBezTo>
                    <a:cubicBezTo>
                      <a:pt x="833663" y="24946"/>
                      <a:pt x="839062" y="22563"/>
                      <a:pt x="844386" y="19926"/>
                    </a:cubicBezTo>
                    <a:cubicBezTo>
                      <a:pt x="849709" y="17290"/>
                      <a:pt x="855084" y="14349"/>
                      <a:pt x="860508" y="11104"/>
                    </a:cubicBezTo>
                    <a:cubicBezTo>
                      <a:pt x="865934" y="7860"/>
                      <a:pt x="871536" y="4159"/>
                      <a:pt x="877316" y="1"/>
                    </a:cubicBezTo>
                    <a:close/>
                    <a:moveTo>
                      <a:pt x="744261" y="1"/>
                    </a:moveTo>
                    <a:lnTo>
                      <a:pt x="759168" y="1"/>
                    </a:lnTo>
                    <a:lnTo>
                      <a:pt x="759168" y="222981"/>
                    </a:lnTo>
                    <a:lnTo>
                      <a:pt x="723880" y="222981"/>
                    </a:lnTo>
                    <a:lnTo>
                      <a:pt x="723880" y="43198"/>
                    </a:lnTo>
                    <a:cubicBezTo>
                      <a:pt x="717492" y="47761"/>
                      <a:pt x="710622" y="51639"/>
                      <a:pt x="703270" y="54833"/>
                    </a:cubicBezTo>
                    <a:cubicBezTo>
                      <a:pt x="695919" y="58028"/>
                      <a:pt x="687528" y="60841"/>
                      <a:pt x="678098" y="63275"/>
                    </a:cubicBezTo>
                    <a:lnTo>
                      <a:pt x="678098" y="33159"/>
                    </a:lnTo>
                    <a:cubicBezTo>
                      <a:pt x="683979" y="31233"/>
                      <a:pt x="689658" y="29204"/>
                      <a:pt x="695133" y="27075"/>
                    </a:cubicBezTo>
                    <a:cubicBezTo>
                      <a:pt x="700608" y="24946"/>
                      <a:pt x="706008" y="22563"/>
                      <a:pt x="711332" y="19926"/>
                    </a:cubicBezTo>
                    <a:cubicBezTo>
                      <a:pt x="716655" y="17290"/>
                      <a:pt x="722030" y="14349"/>
                      <a:pt x="727454" y="11104"/>
                    </a:cubicBezTo>
                    <a:cubicBezTo>
                      <a:pt x="732879" y="7860"/>
                      <a:pt x="738482" y="4159"/>
                      <a:pt x="744261" y="1"/>
                    </a:cubicBezTo>
                    <a:close/>
                    <a:moveTo>
                      <a:pt x="10046341" y="0"/>
                    </a:moveTo>
                    <a:cubicBezTo>
                      <a:pt x="10093785" y="0"/>
                      <a:pt x="10117508" y="36863"/>
                      <a:pt x="10117508" y="110588"/>
                    </a:cubicBezTo>
                    <a:cubicBezTo>
                      <a:pt x="10117508" y="147099"/>
                      <a:pt x="10110812" y="174959"/>
                      <a:pt x="10097422" y="194167"/>
                    </a:cubicBezTo>
                    <a:cubicBezTo>
                      <a:pt x="10084031" y="213375"/>
                      <a:pt x="10065299" y="222980"/>
                      <a:pt x="10041225" y="222980"/>
                    </a:cubicBezTo>
                    <a:cubicBezTo>
                      <a:pt x="10018757" y="222980"/>
                      <a:pt x="10001228" y="213802"/>
                      <a:pt x="9988640" y="195446"/>
                    </a:cubicBezTo>
                    <a:cubicBezTo>
                      <a:pt x="9976051" y="177090"/>
                      <a:pt x="9969757" y="150559"/>
                      <a:pt x="9969757" y="115854"/>
                    </a:cubicBezTo>
                    <a:cubicBezTo>
                      <a:pt x="9969757" y="77737"/>
                      <a:pt x="9976327" y="48900"/>
                      <a:pt x="9989467" y="29340"/>
                    </a:cubicBezTo>
                    <a:cubicBezTo>
                      <a:pt x="10002608" y="9780"/>
                      <a:pt x="10021565" y="0"/>
                      <a:pt x="10046341" y="0"/>
                    </a:cubicBezTo>
                    <a:close/>
                    <a:moveTo>
                      <a:pt x="9825418" y="0"/>
                    </a:moveTo>
                    <a:cubicBezTo>
                      <a:pt x="9872862" y="0"/>
                      <a:pt x="9896585" y="36863"/>
                      <a:pt x="9896585" y="110588"/>
                    </a:cubicBezTo>
                    <a:cubicBezTo>
                      <a:pt x="9896585" y="147099"/>
                      <a:pt x="9889889" y="174959"/>
                      <a:pt x="9876499" y="194167"/>
                    </a:cubicBezTo>
                    <a:cubicBezTo>
                      <a:pt x="9863108" y="213375"/>
                      <a:pt x="9844376" y="222980"/>
                      <a:pt x="9820302" y="222980"/>
                    </a:cubicBezTo>
                    <a:cubicBezTo>
                      <a:pt x="9797834" y="222980"/>
                      <a:pt x="9780305" y="213802"/>
                      <a:pt x="9767717" y="195446"/>
                    </a:cubicBezTo>
                    <a:cubicBezTo>
                      <a:pt x="9755128" y="177090"/>
                      <a:pt x="9748834" y="150559"/>
                      <a:pt x="9748834" y="115854"/>
                    </a:cubicBezTo>
                    <a:cubicBezTo>
                      <a:pt x="9748834" y="77737"/>
                      <a:pt x="9755404" y="48900"/>
                      <a:pt x="9768544" y="29340"/>
                    </a:cubicBezTo>
                    <a:cubicBezTo>
                      <a:pt x="9781685" y="9780"/>
                      <a:pt x="9800642" y="0"/>
                      <a:pt x="9825418" y="0"/>
                    </a:cubicBezTo>
                    <a:close/>
                    <a:moveTo>
                      <a:pt x="9163758" y="0"/>
                    </a:moveTo>
                    <a:cubicBezTo>
                      <a:pt x="9211202" y="0"/>
                      <a:pt x="9234925" y="36863"/>
                      <a:pt x="9234925" y="110588"/>
                    </a:cubicBezTo>
                    <a:cubicBezTo>
                      <a:pt x="9234925" y="147099"/>
                      <a:pt x="9228229" y="174959"/>
                      <a:pt x="9214839" y="194167"/>
                    </a:cubicBezTo>
                    <a:cubicBezTo>
                      <a:pt x="9201448" y="213375"/>
                      <a:pt x="9182716" y="222980"/>
                      <a:pt x="9158642" y="222980"/>
                    </a:cubicBezTo>
                    <a:cubicBezTo>
                      <a:pt x="9136174" y="222980"/>
                      <a:pt x="9118645" y="213802"/>
                      <a:pt x="9106057" y="195446"/>
                    </a:cubicBezTo>
                    <a:cubicBezTo>
                      <a:pt x="9093468" y="177090"/>
                      <a:pt x="9087174" y="150559"/>
                      <a:pt x="9087174" y="115854"/>
                    </a:cubicBezTo>
                    <a:cubicBezTo>
                      <a:pt x="9087174" y="77737"/>
                      <a:pt x="9093744" y="48900"/>
                      <a:pt x="9106884" y="29340"/>
                    </a:cubicBezTo>
                    <a:cubicBezTo>
                      <a:pt x="9120025" y="9780"/>
                      <a:pt x="9138982" y="0"/>
                      <a:pt x="9163758" y="0"/>
                    </a:cubicBezTo>
                    <a:close/>
                    <a:moveTo>
                      <a:pt x="8942835" y="0"/>
                    </a:moveTo>
                    <a:cubicBezTo>
                      <a:pt x="8990279" y="0"/>
                      <a:pt x="9014002" y="36863"/>
                      <a:pt x="9014002" y="110588"/>
                    </a:cubicBezTo>
                    <a:cubicBezTo>
                      <a:pt x="9014002" y="147099"/>
                      <a:pt x="9007306" y="174959"/>
                      <a:pt x="8993916" y="194167"/>
                    </a:cubicBezTo>
                    <a:cubicBezTo>
                      <a:pt x="8980525" y="213375"/>
                      <a:pt x="8961793" y="222980"/>
                      <a:pt x="8937719" y="222980"/>
                    </a:cubicBezTo>
                    <a:cubicBezTo>
                      <a:pt x="8915251" y="222980"/>
                      <a:pt x="8897722" y="213802"/>
                      <a:pt x="8885134" y="195446"/>
                    </a:cubicBezTo>
                    <a:cubicBezTo>
                      <a:pt x="8872545" y="177090"/>
                      <a:pt x="8866251" y="150559"/>
                      <a:pt x="8866251" y="115854"/>
                    </a:cubicBezTo>
                    <a:cubicBezTo>
                      <a:pt x="8866251" y="77737"/>
                      <a:pt x="8872821" y="48900"/>
                      <a:pt x="8885961" y="29340"/>
                    </a:cubicBezTo>
                    <a:cubicBezTo>
                      <a:pt x="8899102" y="9780"/>
                      <a:pt x="8918059" y="0"/>
                      <a:pt x="8942835" y="0"/>
                    </a:cubicBezTo>
                    <a:close/>
                    <a:moveTo>
                      <a:pt x="3990288" y="0"/>
                    </a:moveTo>
                    <a:cubicBezTo>
                      <a:pt x="4037732" y="0"/>
                      <a:pt x="4061455" y="36863"/>
                      <a:pt x="4061455" y="110588"/>
                    </a:cubicBezTo>
                    <a:cubicBezTo>
                      <a:pt x="4061455" y="147099"/>
                      <a:pt x="4054760" y="174959"/>
                      <a:pt x="4041369" y="194167"/>
                    </a:cubicBezTo>
                    <a:cubicBezTo>
                      <a:pt x="4027978" y="213375"/>
                      <a:pt x="4009246" y="222980"/>
                      <a:pt x="3985172" y="222980"/>
                    </a:cubicBezTo>
                    <a:cubicBezTo>
                      <a:pt x="3962704" y="222980"/>
                      <a:pt x="3945175" y="213802"/>
                      <a:pt x="3932587" y="195446"/>
                    </a:cubicBezTo>
                    <a:cubicBezTo>
                      <a:pt x="3919998" y="177090"/>
                      <a:pt x="3913704" y="150559"/>
                      <a:pt x="3913704" y="115854"/>
                    </a:cubicBezTo>
                    <a:cubicBezTo>
                      <a:pt x="3913704" y="77737"/>
                      <a:pt x="3920274" y="48900"/>
                      <a:pt x="3933414" y="29340"/>
                    </a:cubicBezTo>
                    <a:cubicBezTo>
                      <a:pt x="3946555" y="9780"/>
                      <a:pt x="3965512" y="0"/>
                      <a:pt x="3990288" y="0"/>
                    </a:cubicBezTo>
                    <a:close/>
                    <a:moveTo>
                      <a:pt x="3769365" y="0"/>
                    </a:moveTo>
                    <a:cubicBezTo>
                      <a:pt x="3816809" y="0"/>
                      <a:pt x="3840532" y="36863"/>
                      <a:pt x="3840532" y="110588"/>
                    </a:cubicBezTo>
                    <a:cubicBezTo>
                      <a:pt x="3840532" y="147099"/>
                      <a:pt x="3833837" y="174959"/>
                      <a:pt x="3820446" y="194167"/>
                    </a:cubicBezTo>
                    <a:cubicBezTo>
                      <a:pt x="3807055" y="213375"/>
                      <a:pt x="3788323" y="222980"/>
                      <a:pt x="3764249" y="222980"/>
                    </a:cubicBezTo>
                    <a:cubicBezTo>
                      <a:pt x="3741781" y="222980"/>
                      <a:pt x="3724252" y="213802"/>
                      <a:pt x="3711664" y="195446"/>
                    </a:cubicBezTo>
                    <a:cubicBezTo>
                      <a:pt x="3699075" y="177090"/>
                      <a:pt x="3692781" y="150559"/>
                      <a:pt x="3692781" y="115854"/>
                    </a:cubicBezTo>
                    <a:cubicBezTo>
                      <a:pt x="3692781" y="77737"/>
                      <a:pt x="3699351" y="48900"/>
                      <a:pt x="3712491" y="29340"/>
                    </a:cubicBezTo>
                    <a:cubicBezTo>
                      <a:pt x="3725632" y="9780"/>
                      <a:pt x="3744589" y="0"/>
                      <a:pt x="3769365" y="0"/>
                    </a:cubicBezTo>
                    <a:close/>
                    <a:moveTo>
                      <a:pt x="3107705" y="0"/>
                    </a:moveTo>
                    <a:cubicBezTo>
                      <a:pt x="3155149" y="0"/>
                      <a:pt x="3178872" y="36863"/>
                      <a:pt x="3178872" y="110588"/>
                    </a:cubicBezTo>
                    <a:cubicBezTo>
                      <a:pt x="3178872" y="147099"/>
                      <a:pt x="3172177" y="174959"/>
                      <a:pt x="3158786" y="194167"/>
                    </a:cubicBezTo>
                    <a:cubicBezTo>
                      <a:pt x="3145395" y="213375"/>
                      <a:pt x="3126663" y="222980"/>
                      <a:pt x="3102589" y="222980"/>
                    </a:cubicBezTo>
                    <a:cubicBezTo>
                      <a:pt x="3080121" y="222980"/>
                      <a:pt x="3062592" y="213802"/>
                      <a:pt x="3050004" y="195446"/>
                    </a:cubicBezTo>
                    <a:cubicBezTo>
                      <a:pt x="3037415" y="177090"/>
                      <a:pt x="3031121" y="150559"/>
                      <a:pt x="3031121" y="115854"/>
                    </a:cubicBezTo>
                    <a:cubicBezTo>
                      <a:pt x="3031121" y="77737"/>
                      <a:pt x="3037691" y="48900"/>
                      <a:pt x="3050831" y="29340"/>
                    </a:cubicBezTo>
                    <a:cubicBezTo>
                      <a:pt x="3063972" y="9780"/>
                      <a:pt x="3082929" y="0"/>
                      <a:pt x="3107705" y="0"/>
                    </a:cubicBezTo>
                    <a:close/>
                    <a:moveTo>
                      <a:pt x="2886782" y="0"/>
                    </a:moveTo>
                    <a:cubicBezTo>
                      <a:pt x="2934226" y="0"/>
                      <a:pt x="2957949" y="36863"/>
                      <a:pt x="2957949" y="110588"/>
                    </a:cubicBezTo>
                    <a:cubicBezTo>
                      <a:pt x="2957949" y="147099"/>
                      <a:pt x="2951254" y="174959"/>
                      <a:pt x="2937863" y="194167"/>
                    </a:cubicBezTo>
                    <a:cubicBezTo>
                      <a:pt x="2924472" y="213375"/>
                      <a:pt x="2905740" y="222980"/>
                      <a:pt x="2881666" y="222980"/>
                    </a:cubicBezTo>
                    <a:cubicBezTo>
                      <a:pt x="2859198" y="222980"/>
                      <a:pt x="2841669" y="213802"/>
                      <a:pt x="2829081" y="195446"/>
                    </a:cubicBezTo>
                    <a:cubicBezTo>
                      <a:pt x="2816492" y="177090"/>
                      <a:pt x="2810198" y="150559"/>
                      <a:pt x="2810198" y="115854"/>
                    </a:cubicBezTo>
                    <a:cubicBezTo>
                      <a:pt x="2810198" y="77737"/>
                      <a:pt x="2816768" y="48900"/>
                      <a:pt x="2829908" y="29340"/>
                    </a:cubicBezTo>
                    <a:cubicBezTo>
                      <a:pt x="2843049" y="9780"/>
                      <a:pt x="2862006" y="0"/>
                      <a:pt x="2886782" y="0"/>
                    </a:cubicBezTo>
                    <a:close/>
                    <a:moveTo>
                      <a:pt x="66163" y="0"/>
                    </a:moveTo>
                    <a:lnTo>
                      <a:pt x="81070" y="0"/>
                    </a:lnTo>
                    <a:lnTo>
                      <a:pt x="81070" y="222980"/>
                    </a:lnTo>
                    <a:lnTo>
                      <a:pt x="45782" y="222980"/>
                    </a:lnTo>
                    <a:lnTo>
                      <a:pt x="45782" y="43197"/>
                    </a:lnTo>
                    <a:cubicBezTo>
                      <a:pt x="39394" y="47760"/>
                      <a:pt x="32524" y="51638"/>
                      <a:pt x="25172" y="54832"/>
                    </a:cubicBezTo>
                    <a:cubicBezTo>
                      <a:pt x="17821" y="58027"/>
                      <a:pt x="9430" y="60840"/>
                      <a:pt x="0" y="63274"/>
                    </a:cubicBezTo>
                    <a:lnTo>
                      <a:pt x="0" y="33158"/>
                    </a:lnTo>
                    <a:cubicBezTo>
                      <a:pt x="5881" y="31232"/>
                      <a:pt x="11559" y="29203"/>
                      <a:pt x="17035" y="27074"/>
                    </a:cubicBezTo>
                    <a:cubicBezTo>
                      <a:pt x="22510" y="24945"/>
                      <a:pt x="27910" y="22562"/>
                      <a:pt x="33234" y="19925"/>
                    </a:cubicBezTo>
                    <a:cubicBezTo>
                      <a:pt x="38557" y="17289"/>
                      <a:pt x="43932" y="14348"/>
                      <a:pt x="49356" y="11103"/>
                    </a:cubicBezTo>
                    <a:cubicBezTo>
                      <a:pt x="54782" y="7859"/>
                      <a:pt x="60384" y="4158"/>
                      <a:pt x="6616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31" name="Freeform 430"/>
              <p:cNvSpPr/>
              <p:nvPr/>
            </p:nvSpPr>
            <p:spPr>
              <a:xfrm>
                <a:off x="8290533" y="1595884"/>
                <a:ext cx="146838" cy="222980"/>
              </a:xfrm>
              <a:custGeom>
                <a:avLst/>
                <a:gdLst>
                  <a:gd name="connsiteX0" fmla="*/ 193478 w 344985"/>
                  <a:gd name="connsiteY0" fmla="*/ 0 h 523875"/>
                  <a:gd name="connsiteX1" fmla="*/ 298848 w 344985"/>
                  <a:gd name="connsiteY1" fmla="*/ 91678 h 523875"/>
                  <a:gd name="connsiteX2" fmla="*/ 298848 w 344985"/>
                  <a:gd name="connsiteY2" fmla="*/ 177105 h 523875"/>
                  <a:gd name="connsiteX3" fmla="*/ 344985 w 344985"/>
                  <a:gd name="connsiteY3" fmla="*/ 240209 h 523875"/>
                  <a:gd name="connsiteX4" fmla="*/ 344985 w 344985"/>
                  <a:gd name="connsiteY4" fmla="*/ 283666 h 523875"/>
                  <a:gd name="connsiteX5" fmla="*/ 298848 w 344985"/>
                  <a:gd name="connsiteY5" fmla="*/ 345579 h 523875"/>
                  <a:gd name="connsiteX6" fmla="*/ 298848 w 344985"/>
                  <a:gd name="connsiteY6" fmla="*/ 433388 h 523875"/>
                  <a:gd name="connsiteX7" fmla="*/ 193478 w 344985"/>
                  <a:gd name="connsiteY7" fmla="*/ 523875 h 523875"/>
                  <a:gd name="connsiteX8" fmla="*/ 193478 w 344985"/>
                  <a:gd name="connsiteY8" fmla="*/ 478036 h 523875"/>
                  <a:gd name="connsiteX9" fmla="*/ 230238 w 344985"/>
                  <a:gd name="connsiteY9" fmla="*/ 463748 h 523875"/>
                  <a:gd name="connsiteX10" fmla="*/ 241103 w 344985"/>
                  <a:gd name="connsiteY10" fmla="*/ 418505 h 523875"/>
                  <a:gd name="connsiteX11" fmla="*/ 241103 w 344985"/>
                  <a:gd name="connsiteY11" fmla="*/ 335459 h 523875"/>
                  <a:gd name="connsiteX12" fmla="*/ 299741 w 344985"/>
                  <a:gd name="connsiteY12" fmla="*/ 261937 h 523875"/>
                  <a:gd name="connsiteX13" fmla="*/ 299741 w 344985"/>
                  <a:gd name="connsiteY13" fmla="*/ 261045 h 523875"/>
                  <a:gd name="connsiteX14" fmla="*/ 241103 w 344985"/>
                  <a:gd name="connsiteY14" fmla="*/ 186928 h 523875"/>
                  <a:gd name="connsiteX15" fmla="*/ 241103 w 344985"/>
                  <a:gd name="connsiteY15" fmla="*/ 102989 h 523875"/>
                  <a:gd name="connsiteX16" fmla="*/ 193478 w 344985"/>
                  <a:gd name="connsiteY16" fmla="*/ 46137 h 523875"/>
                  <a:gd name="connsiteX17" fmla="*/ 152400 w 344985"/>
                  <a:gd name="connsiteY17" fmla="*/ 0 h 523875"/>
                  <a:gd name="connsiteX18" fmla="*/ 152400 w 344985"/>
                  <a:gd name="connsiteY18" fmla="*/ 46137 h 523875"/>
                  <a:gd name="connsiteX19" fmla="*/ 105073 w 344985"/>
                  <a:gd name="connsiteY19" fmla="*/ 102989 h 523875"/>
                  <a:gd name="connsiteX20" fmla="*/ 105073 w 344985"/>
                  <a:gd name="connsiteY20" fmla="*/ 186928 h 523875"/>
                  <a:gd name="connsiteX21" fmla="*/ 45839 w 344985"/>
                  <a:gd name="connsiteY21" fmla="*/ 261045 h 523875"/>
                  <a:gd name="connsiteX22" fmla="*/ 45839 w 344985"/>
                  <a:gd name="connsiteY22" fmla="*/ 261937 h 523875"/>
                  <a:gd name="connsiteX23" fmla="*/ 105073 w 344985"/>
                  <a:gd name="connsiteY23" fmla="*/ 335459 h 523875"/>
                  <a:gd name="connsiteX24" fmla="*/ 105073 w 344985"/>
                  <a:gd name="connsiteY24" fmla="*/ 418505 h 523875"/>
                  <a:gd name="connsiteX25" fmla="*/ 115640 w 344985"/>
                  <a:gd name="connsiteY25" fmla="*/ 463897 h 523875"/>
                  <a:gd name="connsiteX26" fmla="*/ 152400 w 344985"/>
                  <a:gd name="connsiteY26" fmla="*/ 478036 h 523875"/>
                  <a:gd name="connsiteX27" fmla="*/ 152400 w 344985"/>
                  <a:gd name="connsiteY27" fmla="*/ 523875 h 523875"/>
                  <a:gd name="connsiteX28" fmla="*/ 46435 w 344985"/>
                  <a:gd name="connsiteY28" fmla="*/ 433388 h 523875"/>
                  <a:gd name="connsiteX29" fmla="*/ 46435 w 344985"/>
                  <a:gd name="connsiteY29" fmla="*/ 345579 h 523875"/>
                  <a:gd name="connsiteX30" fmla="*/ 0 w 344985"/>
                  <a:gd name="connsiteY30" fmla="*/ 283666 h 523875"/>
                  <a:gd name="connsiteX31" fmla="*/ 0 w 344985"/>
                  <a:gd name="connsiteY31" fmla="*/ 240209 h 523875"/>
                  <a:gd name="connsiteX32" fmla="*/ 46435 w 344985"/>
                  <a:gd name="connsiteY32" fmla="*/ 177105 h 523875"/>
                  <a:gd name="connsiteX33" fmla="*/ 46435 w 344985"/>
                  <a:gd name="connsiteY33" fmla="*/ 91678 h 523875"/>
                  <a:gd name="connsiteX34" fmla="*/ 152400 w 344985"/>
                  <a:gd name="connsiteY34"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4985" h="523875">
                    <a:moveTo>
                      <a:pt x="193478" y="0"/>
                    </a:moveTo>
                    <a:cubicBezTo>
                      <a:pt x="263725" y="794"/>
                      <a:pt x="298848" y="31353"/>
                      <a:pt x="298848" y="91678"/>
                    </a:cubicBezTo>
                    <a:lnTo>
                      <a:pt x="298848" y="177105"/>
                    </a:lnTo>
                    <a:cubicBezTo>
                      <a:pt x="298848" y="217190"/>
                      <a:pt x="314227" y="238224"/>
                      <a:pt x="344985" y="240209"/>
                    </a:cubicBezTo>
                    <a:lnTo>
                      <a:pt x="344985" y="283666"/>
                    </a:lnTo>
                    <a:cubicBezTo>
                      <a:pt x="314227" y="285651"/>
                      <a:pt x="298848" y="306288"/>
                      <a:pt x="298848" y="345579"/>
                    </a:cubicBezTo>
                    <a:lnTo>
                      <a:pt x="298848" y="433388"/>
                    </a:lnTo>
                    <a:cubicBezTo>
                      <a:pt x="298848" y="492919"/>
                      <a:pt x="263725" y="523081"/>
                      <a:pt x="193478" y="523875"/>
                    </a:cubicBezTo>
                    <a:lnTo>
                      <a:pt x="193478" y="478036"/>
                    </a:lnTo>
                    <a:cubicBezTo>
                      <a:pt x="210742" y="477639"/>
                      <a:pt x="222995" y="472877"/>
                      <a:pt x="230238" y="463748"/>
                    </a:cubicBezTo>
                    <a:cubicBezTo>
                      <a:pt x="237481" y="454620"/>
                      <a:pt x="241103" y="439539"/>
                      <a:pt x="241103" y="418505"/>
                    </a:cubicBezTo>
                    <a:lnTo>
                      <a:pt x="241103" y="335459"/>
                    </a:lnTo>
                    <a:cubicBezTo>
                      <a:pt x="241103" y="295176"/>
                      <a:pt x="260649" y="270669"/>
                      <a:pt x="299741" y="261937"/>
                    </a:cubicBezTo>
                    <a:lnTo>
                      <a:pt x="299741" y="261045"/>
                    </a:lnTo>
                    <a:cubicBezTo>
                      <a:pt x="260649" y="251718"/>
                      <a:pt x="241103" y="227013"/>
                      <a:pt x="241103" y="186928"/>
                    </a:cubicBezTo>
                    <a:lnTo>
                      <a:pt x="241103" y="102989"/>
                    </a:lnTo>
                    <a:cubicBezTo>
                      <a:pt x="241103" y="65881"/>
                      <a:pt x="225228" y="46930"/>
                      <a:pt x="193478" y="46137"/>
                    </a:cubicBezTo>
                    <a:close/>
                    <a:moveTo>
                      <a:pt x="152400" y="0"/>
                    </a:moveTo>
                    <a:lnTo>
                      <a:pt x="152400" y="46137"/>
                    </a:lnTo>
                    <a:cubicBezTo>
                      <a:pt x="120849" y="46930"/>
                      <a:pt x="105073" y="65881"/>
                      <a:pt x="105073" y="102989"/>
                    </a:cubicBezTo>
                    <a:lnTo>
                      <a:pt x="105073" y="186928"/>
                    </a:lnTo>
                    <a:cubicBezTo>
                      <a:pt x="105073" y="227013"/>
                      <a:pt x="85328" y="251718"/>
                      <a:pt x="45839" y="261045"/>
                    </a:cubicBezTo>
                    <a:lnTo>
                      <a:pt x="45839" y="261937"/>
                    </a:lnTo>
                    <a:cubicBezTo>
                      <a:pt x="85328" y="270669"/>
                      <a:pt x="105073" y="295176"/>
                      <a:pt x="105073" y="335459"/>
                    </a:cubicBezTo>
                    <a:lnTo>
                      <a:pt x="105073" y="418505"/>
                    </a:lnTo>
                    <a:cubicBezTo>
                      <a:pt x="105073" y="439738"/>
                      <a:pt x="108595" y="454868"/>
                      <a:pt x="115640" y="463897"/>
                    </a:cubicBezTo>
                    <a:cubicBezTo>
                      <a:pt x="122684" y="472926"/>
                      <a:pt x="134938" y="477639"/>
                      <a:pt x="152400" y="478036"/>
                    </a:cubicBezTo>
                    <a:lnTo>
                      <a:pt x="152400" y="523875"/>
                    </a:lnTo>
                    <a:cubicBezTo>
                      <a:pt x="81756" y="523081"/>
                      <a:pt x="46435" y="492919"/>
                      <a:pt x="46435" y="433388"/>
                    </a:cubicBezTo>
                    <a:lnTo>
                      <a:pt x="46435" y="345579"/>
                    </a:lnTo>
                    <a:cubicBezTo>
                      <a:pt x="46435" y="306288"/>
                      <a:pt x="30956" y="285651"/>
                      <a:pt x="0" y="283666"/>
                    </a:cubicBezTo>
                    <a:lnTo>
                      <a:pt x="0" y="240209"/>
                    </a:lnTo>
                    <a:cubicBezTo>
                      <a:pt x="30956" y="238224"/>
                      <a:pt x="46435" y="217190"/>
                      <a:pt x="46435" y="177105"/>
                    </a:cubicBezTo>
                    <a:lnTo>
                      <a:pt x="46435" y="91678"/>
                    </a:lnTo>
                    <a:cubicBezTo>
                      <a:pt x="46435" y="31353"/>
                      <a:pt x="81756" y="794"/>
                      <a:pt x="1524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3" name="Group 382"/>
            <p:cNvGrpSpPr/>
            <p:nvPr/>
          </p:nvGrpSpPr>
          <p:grpSpPr>
            <a:xfrm>
              <a:off x="8434614" y="2935885"/>
              <a:ext cx="2794741" cy="53130"/>
              <a:chOff x="71712" y="703820"/>
              <a:chExt cx="12025612" cy="228614"/>
            </a:xfrm>
            <a:grpFill/>
          </p:grpSpPr>
          <p:sp>
            <p:nvSpPr>
              <p:cNvPr id="420" name="Freeform 419"/>
              <p:cNvSpPr/>
              <p:nvPr/>
            </p:nvSpPr>
            <p:spPr>
              <a:xfrm>
                <a:off x="221685" y="706637"/>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1" name="Freeform 420"/>
              <p:cNvSpPr/>
              <p:nvPr/>
            </p:nvSpPr>
            <p:spPr>
              <a:xfrm>
                <a:off x="71712" y="706637"/>
                <a:ext cx="12025612"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2" name="Freeform 421"/>
              <p:cNvSpPr/>
              <p:nvPr/>
            </p:nvSpPr>
            <p:spPr>
              <a:xfrm>
                <a:off x="1414316" y="706637"/>
                <a:ext cx="6578759"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3" name="Freeform 422"/>
              <p:cNvSpPr/>
              <p:nvPr/>
            </p:nvSpPr>
            <p:spPr>
              <a:xfrm>
                <a:off x="2446762" y="703820"/>
                <a:ext cx="6261344"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24" name="Freeform 423"/>
              <p:cNvSpPr/>
              <p:nvPr/>
            </p:nvSpPr>
            <p:spPr>
              <a:xfrm>
                <a:off x="2233753" y="706637"/>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4" name="Group 383"/>
            <p:cNvGrpSpPr/>
            <p:nvPr/>
          </p:nvGrpSpPr>
          <p:grpSpPr>
            <a:xfrm>
              <a:off x="8590643" y="2869858"/>
              <a:ext cx="2640740" cy="50259"/>
              <a:chOff x="54768" y="395781"/>
              <a:chExt cx="12049814" cy="229328"/>
            </a:xfrm>
            <a:grpFill/>
          </p:grpSpPr>
          <p:sp>
            <p:nvSpPr>
              <p:cNvPr id="415" name="Freeform 414"/>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16" name="Freeform 415"/>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7" name="Freeform 416"/>
              <p:cNvSpPr/>
              <p:nvPr/>
            </p:nvSpPr>
            <p:spPr>
              <a:xfrm>
                <a:off x="1552515"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8" name="Freeform 417"/>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9" name="Freeform 418"/>
              <p:cNvSpPr/>
              <p:nvPr/>
            </p:nvSpPr>
            <p:spPr>
              <a:xfrm>
                <a:off x="2493568" y="398324"/>
                <a:ext cx="8739617"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5" name="Group 384"/>
            <p:cNvGrpSpPr/>
            <p:nvPr/>
          </p:nvGrpSpPr>
          <p:grpSpPr>
            <a:xfrm>
              <a:off x="8766629" y="2811998"/>
              <a:ext cx="2465530" cy="46872"/>
              <a:chOff x="71712" y="703821"/>
              <a:chExt cx="12025613" cy="228614"/>
            </a:xfrm>
            <a:grpFill/>
          </p:grpSpPr>
          <p:sp>
            <p:nvSpPr>
              <p:cNvPr id="410" name="Freeform 409"/>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1" name="Freeform 410"/>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2" name="Freeform 411"/>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3" name="Freeform 412"/>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14" name="Freeform 413"/>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6" name="Group 385"/>
            <p:cNvGrpSpPr/>
            <p:nvPr/>
          </p:nvGrpSpPr>
          <p:grpSpPr>
            <a:xfrm>
              <a:off x="8986573" y="2753076"/>
              <a:ext cx="2247959" cy="42782"/>
              <a:chOff x="54768" y="395781"/>
              <a:chExt cx="12049814" cy="229328"/>
            </a:xfrm>
            <a:grpFill/>
          </p:grpSpPr>
          <p:sp>
            <p:nvSpPr>
              <p:cNvPr id="405" name="Freeform 404"/>
              <p:cNvSpPr/>
              <p:nvPr/>
            </p:nvSpPr>
            <p:spPr>
              <a:xfrm>
                <a:off x="3021764" y="395781"/>
                <a:ext cx="7403269" cy="225523"/>
              </a:xfrm>
              <a:custGeom>
                <a:avLst/>
                <a:gdLst>
                  <a:gd name="connsiteX0" fmla="*/ 6241713 w 7403269"/>
                  <a:gd name="connsiteY0" fmla="*/ 170586 h 225523"/>
                  <a:gd name="connsiteX1" fmla="*/ 6218364 w 7403269"/>
                  <a:gd name="connsiteY1" fmla="*/ 210098 h 225523"/>
                  <a:gd name="connsiteX2" fmla="*/ 6234888 w 7403269"/>
                  <a:gd name="connsiteY2" fmla="*/ 213511 h 225523"/>
                  <a:gd name="connsiteX3" fmla="*/ 6251411 w 7403269"/>
                  <a:gd name="connsiteY3" fmla="*/ 209919 h 225523"/>
                  <a:gd name="connsiteX4" fmla="*/ 6248448 w 7403269"/>
                  <a:gd name="connsiteY4" fmla="*/ 200400 h 225523"/>
                  <a:gd name="connsiteX5" fmla="*/ 6249436 w 7403269"/>
                  <a:gd name="connsiteY5" fmla="*/ 187109 h 225523"/>
                  <a:gd name="connsiteX6" fmla="*/ 6241713 w 7403269"/>
                  <a:gd name="connsiteY6" fmla="*/ 170586 h 225523"/>
                  <a:gd name="connsiteX7" fmla="*/ 180976 w 7403269"/>
                  <a:gd name="connsiteY7" fmla="*/ 170586 h 225523"/>
                  <a:gd name="connsiteX8" fmla="*/ 157627 w 7403269"/>
                  <a:gd name="connsiteY8" fmla="*/ 210098 h 225523"/>
                  <a:gd name="connsiteX9" fmla="*/ 174151 w 7403269"/>
                  <a:gd name="connsiteY9" fmla="*/ 213511 h 225523"/>
                  <a:gd name="connsiteX10" fmla="*/ 190674 w 7403269"/>
                  <a:gd name="connsiteY10" fmla="*/ 209919 h 225523"/>
                  <a:gd name="connsiteX11" fmla="*/ 187711 w 7403269"/>
                  <a:gd name="connsiteY11" fmla="*/ 200400 h 225523"/>
                  <a:gd name="connsiteX12" fmla="*/ 188699 w 7403269"/>
                  <a:gd name="connsiteY12" fmla="*/ 187109 h 225523"/>
                  <a:gd name="connsiteX13" fmla="*/ 180976 w 7403269"/>
                  <a:gd name="connsiteY13" fmla="*/ 170586 h 225523"/>
                  <a:gd name="connsiteX14" fmla="*/ 6080608 w 7403269"/>
                  <a:gd name="connsiteY14" fmla="*/ 154062 h 225523"/>
                  <a:gd name="connsiteX15" fmla="*/ 6066869 w 7403269"/>
                  <a:gd name="connsiteY15" fmla="*/ 174447 h 225523"/>
                  <a:gd name="connsiteX16" fmla="*/ 6088511 w 7403269"/>
                  <a:gd name="connsiteY16" fmla="*/ 196179 h 225523"/>
                  <a:gd name="connsiteX17" fmla="*/ 6097491 w 7403269"/>
                  <a:gd name="connsiteY17" fmla="*/ 188905 h 225523"/>
                  <a:gd name="connsiteX18" fmla="*/ 6080608 w 7403269"/>
                  <a:gd name="connsiteY18" fmla="*/ 154062 h 225523"/>
                  <a:gd name="connsiteX19" fmla="*/ 19872 w 7403269"/>
                  <a:gd name="connsiteY19" fmla="*/ 154062 h 225523"/>
                  <a:gd name="connsiteX20" fmla="*/ 6132 w 7403269"/>
                  <a:gd name="connsiteY20" fmla="*/ 174447 h 225523"/>
                  <a:gd name="connsiteX21" fmla="*/ 27774 w 7403269"/>
                  <a:gd name="connsiteY21" fmla="*/ 196179 h 225523"/>
                  <a:gd name="connsiteX22" fmla="*/ 36754 w 7403269"/>
                  <a:gd name="connsiteY22" fmla="*/ 188905 h 225523"/>
                  <a:gd name="connsiteX23" fmla="*/ 19872 w 7403269"/>
                  <a:gd name="connsiteY23" fmla="*/ 154062 h 225523"/>
                  <a:gd name="connsiteX24" fmla="*/ 6064109 w 7403269"/>
                  <a:gd name="connsiteY24" fmla="*/ 85309 h 225523"/>
                  <a:gd name="connsiteX25" fmla="*/ 6063907 w 7403269"/>
                  <a:gd name="connsiteY25" fmla="*/ 86835 h 225523"/>
                  <a:gd name="connsiteX26" fmla="*/ 6063840 w 7403269"/>
                  <a:gd name="connsiteY26" fmla="*/ 85567 h 225523"/>
                  <a:gd name="connsiteX27" fmla="*/ 3372 w 7403269"/>
                  <a:gd name="connsiteY27" fmla="*/ 85308 h 225523"/>
                  <a:gd name="connsiteX28" fmla="*/ 3170 w 7403269"/>
                  <a:gd name="connsiteY28" fmla="*/ 86836 h 225523"/>
                  <a:gd name="connsiteX29" fmla="*/ 3104 w 7403269"/>
                  <a:gd name="connsiteY29" fmla="*/ 85567 h 225523"/>
                  <a:gd name="connsiteX30" fmla="*/ 6267396 w 7403269"/>
                  <a:gd name="connsiteY30" fmla="*/ 57929 h 225523"/>
                  <a:gd name="connsiteX31" fmla="*/ 6263377 w 7403269"/>
                  <a:gd name="connsiteY31" fmla="*/ 60803 h 225523"/>
                  <a:gd name="connsiteX32" fmla="*/ 6270347 w 7403269"/>
                  <a:gd name="connsiteY32" fmla="*/ 69231 h 225523"/>
                  <a:gd name="connsiteX33" fmla="*/ 6277274 w 7403269"/>
                  <a:gd name="connsiteY33" fmla="*/ 67493 h 225523"/>
                  <a:gd name="connsiteX34" fmla="*/ 6250873 w 7403269"/>
                  <a:gd name="connsiteY34" fmla="*/ 86801 h 225523"/>
                  <a:gd name="connsiteX35" fmla="*/ 6255923 w 7403269"/>
                  <a:gd name="connsiteY35" fmla="*/ 79126 h 225523"/>
                  <a:gd name="connsiteX36" fmla="*/ 6248089 w 7403269"/>
                  <a:gd name="connsiteY36" fmla="*/ 72118 h 225523"/>
                  <a:gd name="connsiteX37" fmla="*/ 6243239 w 7403269"/>
                  <a:gd name="connsiteY37" fmla="*/ 76204 h 225523"/>
                  <a:gd name="connsiteX38" fmla="*/ 6267396 w 7403269"/>
                  <a:gd name="connsiteY38" fmla="*/ 57929 h 225523"/>
                  <a:gd name="connsiteX39" fmla="*/ 206659 w 7403269"/>
                  <a:gd name="connsiteY39" fmla="*/ 57929 h 225523"/>
                  <a:gd name="connsiteX40" fmla="*/ 202641 w 7403269"/>
                  <a:gd name="connsiteY40" fmla="*/ 60803 h 225523"/>
                  <a:gd name="connsiteX41" fmla="*/ 209610 w 7403269"/>
                  <a:gd name="connsiteY41" fmla="*/ 69231 h 225523"/>
                  <a:gd name="connsiteX42" fmla="*/ 216538 w 7403269"/>
                  <a:gd name="connsiteY42" fmla="*/ 67493 h 225523"/>
                  <a:gd name="connsiteX43" fmla="*/ 190136 w 7403269"/>
                  <a:gd name="connsiteY43" fmla="*/ 86801 h 225523"/>
                  <a:gd name="connsiteX44" fmla="*/ 195186 w 7403269"/>
                  <a:gd name="connsiteY44" fmla="*/ 79126 h 225523"/>
                  <a:gd name="connsiteX45" fmla="*/ 187352 w 7403269"/>
                  <a:gd name="connsiteY45" fmla="*/ 72118 h 225523"/>
                  <a:gd name="connsiteX46" fmla="*/ 182503 w 7403269"/>
                  <a:gd name="connsiteY46" fmla="*/ 76204 h 225523"/>
                  <a:gd name="connsiteX47" fmla="*/ 206659 w 7403269"/>
                  <a:gd name="connsiteY47" fmla="*/ 57929 h 225523"/>
                  <a:gd name="connsiteX48" fmla="*/ 6240647 w 7403269"/>
                  <a:gd name="connsiteY48" fmla="*/ 41407 h 225523"/>
                  <a:gd name="connsiteX49" fmla="*/ 6242948 w 7403269"/>
                  <a:gd name="connsiteY49" fmla="*/ 41444 h 225523"/>
                  <a:gd name="connsiteX50" fmla="*/ 6251142 w 7403269"/>
                  <a:gd name="connsiteY50" fmla="*/ 42708 h 225523"/>
                  <a:gd name="connsiteX51" fmla="*/ 6232104 w 7403269"/>
                  <a:gd name="connsiteY51" fmla="*/ 61746 h 225523"/>
                  <a:gd name="connsiteX52" fmla="*/ 6240647 w 7403269"/>
                  <a:gd name="connsiteY52" fmla="*/ 41407 h 225523"/>
                  <a:gd name="connsiteX53" fmla="*/ 179910 w 7403269"/>
                  <a:gd name="connsiteY53" fmla="*/ 41407 h 225523"/>
                  <a:gd name="connsiteX54" fmla="*/ 182211 w 7403269"/>
                  <a:gd name="connsiteY54" fmla="*/ 41444 h 225523"/>
                  <a:gd name="connsiteX55" fmla="*/ 190405 w 7403269"/>
                  <a:gd name="connsiteY55" fmla="*/ 42708 h 225523"/>
                  <a:gd name="connsiteX56" fmla="*/ 171367 w 7403269"/>
                  <a:gd name="connsiteY56" fmla="*/ 61746 h 225523"/>
                  <a:gd name="connsiteX57" fmla="*/ 179910 w 7403269"/>
                  <a:gd name="connsiteY57" fmla="*/ 41407 h 225523"/>
                  <a:gd name="connsiteX58" fmla="*/ 6343945 w 7403269"/>
                  <a:gd name="connsiteY58" fmla="*/ 19179 h 225523"/>
                  <a:gd name="connsiteX59" fmla="*/ 6335692 w 7403269"/>
                  <a:gd name="connsiteY59" fmla="*/ 33195 h 225523"/>
                  <a:gd name="connsiteX60" fmla="*/ 6323434 w 7403269"/>
                  <a:gd name="connsiteY60" fmla="*/ 35200 h 225523"/>
                  <a:gd name="connsiteX61" fmla="*/ 6334651 w 7403269"/>
                  <a:gd name="connsiteY61" fmla="*/ 28526 h 225523"/>
                  <a:gd name="connsiteX62" fmla="*/ 6343945 w 7403269"/>
                  <a:gd name="connsiteY62" fmla="*/ 19179 h 225523"/>
                  <a:gd name="connsiteX63" fmla="*/ 283209 w 7403269"/>
                  <a:gd name="connsiteY63" fmla="*/ 19179 h 225523"/>
                  <a:gd name="connsiteX64" fmla="*/ 274955 w 7403269"/>
                  <a:gd name="connsiteY64" fmla="*/ 33195 h 225523"/>
                  <a:gd name="connsiteX65" fmla="*/ 262697 w 7403269"/>
                  <a:gd name="connsiteY65" fmla="*/ 35200 h 225523"/>
                  <a:gd name="connsiteX66" fmla="*/ 273914 w 7403269"/>
                  <a:gd name="connsiteY66" fmla="*/ 28526 h 225523"/>
                  <a:gd name="connsiteX67" fmla="*/ 283209 w 7403269"/>
                  <a:gd name="connsiteY67" fmla="*/ 19179 h 225523"/>
                  <a:gd name="connsiteX68" fmla="*/ 7324639 w 7403269"/>
                  <a:gd name="connsiteY68" fmla="*/ 2543 h 225523"/>
                  <a:gd name="connsiteX69" fmla="*/ 7379325 w 7403269"/>
                  <a:gd name="connsiteY69" fmla="*/ 41564 h 225523"/>
                  <a:gd name="connsiteX70" fmla="*/ 7379325 w 7403269"/>
                  <a:gd name="connsiteY70" fmla="*/ 77925 h 225523"/>
                  <a:gd name="connsiteX71" fmla="*/ 7403269 w 7403269"/>
                  <a:gd name="connsiteY71" fmla="*/ 104785 h 225523"/>
                  <a:gd name="connsiteX72" fmla="*/ 7403269 w 7403269"/>
                  <a:gd name="connsiteY72" fmla="*/ 123281 h 225523"/>
                  <a:gd name="connsiteX73" fmla="*/ 7379325 w 7403269"/>
                  <a:gd name="connsiteY73" fmla="*/ 149634 h 225523"/>
                  <a:gd name="connsiteX74" fmla="*/ 7379325 w 7403269"/>
                  <a:gd name="connsiteY74" fmla="*/ 187009 h 225523"/>
                  <a:gd name="connsiteX75" fmla="*/ 7324639 w 7403269"/>
                  <a:gd name="connsiteY75" fmla="*/ 225523 h 225523"/>
                  <a:gd name="connsiteX76" fmla="*/ 7324639 w 7403269"/>
                  <a:gd name="connsiteY76" fmla="*/ 206012 h 225523"/>
                  <a:gd name="connsiteX77" fmla="*/ 7343717 w 7403269"/>
                  <a:gd name="connsiteY77" fmla="*/ 199931 h 225523"/>
                  <a:gd name="connsiteX78" fmla="*/ 7349356 w 7403269"/>
                  <a:gd name="connsiteY78" fmla="*/ 180674 h 225523"/>
                  <a:gd name="connsiteX79" fmla="*/ 7349356 w 7403269"/>
                  <a:gd name="connsiteY79" fmla="*/ 145326 h 225523"/>
                  <a:gd name="connsiteX80" fmla="*/ 7379788 w 7403269"/>
                  <a:gd name="connsiteY80" fmla="*/ 114033 h 225523"/>
                  <a:gd name="connsiteX81" fmla="*/ 7379788 w 7403269"/>
                  <a:gd name="connsiteY81" fmla="*/ 113653 h 225523"/>
                  <a:gd name="connsiteX82" fmla="*/ 7349356 w 7403269"/>
                  <a:gd name="connsiteY82" fmla="*/ 82106 h 225523"/>
                  <a:gd name="connsiteX83" fmla="*/ 7349356 w 7403269"/>
                  <a:gd name="connsiteY83" fmla="*/ 46379 h 225523"/>
                  <a:gd name="connsiteX84" fmla="*/ 7324639 w 7403269"/>
                  <a:gd name="connsiteY84" fmla="*/ 22181 h 225523"/>
                  <a:gd name="connsiteX85" fmla="*/ 7303320 w 7403269"/>
                  <a:gd name="connsiteY85" fmla="*/ 2543 h 225523"/>
                  <a:gd name="connsiteX86" fmla="*/ 7303320 w 7403269"/>
                  <a:gd name="connsiteY86" fmla="*/ 22181 h 225523"/>
                  <a:gd name="connsiteX87" fmla="*/ 7278758 w 7403269"/>
                  <a:gd name="connsiteY87" fmla="*/ 46379 h 225523"/>
                  <a:gd name="connsiteX88" fmla="*/ 7278758 w 7403269"/>
                  <a:gd name="connsiteY88" fmla="*/ 82106 h 225523"/>
                  <a:gd name="connsiteX89" fmla="*/ 7248017 w 7403269"/>
                  <a:gd name="connsiteY89" fmla="*/ 113653 h 225523"/>
                  <a:gd name="connsiteX90" fmla="*/ 7248017 w 7403269"/>
                  <a:gd name="connsiteY90" fmla="*/ 114033 h 225523"/>
                  <a:gd name="connsiteX91" fmla="*/ 7278758 w 7403269"/>
                  <a:gd name="connsiteY91" fmla="*/ 145326 h 225523"/>
                  <a:gd name="connsiteX92" fmla="*/ 7278758 w 7403269"/>
                  <a:gd name="connsiteY92" fmla="*/ 180674 h 225523"/>
                  <a:gd name="connsiteX93" fmla="*/ 7284242 w 7403269"/>
                  <a:gd name="connsiteY93" fmla="*/ 199994 h 225523"/>
                  <a:gd name="connsiteX94" fmla="*/ 7303320 w 7403269"/>
                  <a:gd name="connsiteY94" fmla="*/ 206012 h 225523"/>
                  <a:gd name="connsiteX95" fmla="*/ 7303320 w 7403269"/>
                  <a:gd name="connsiteY95" fmla="*/ 225523 h 225523"/>
                  <a:gd name="connsiteX96" fmla="*/ 7248326 w 7403269"/>
                  <a:gd name="connsiteY96" fmla="*/ 187009 h 225523"/>
                  <a:gd name="connsiteX97" fmla="*/ 7248326 w 7403269"/>
                  <a:gd name="connsiteY97" fmla="*/ 149634 h 225523"/>
                  <a:gd name="connsiteX98" fmla="*/ 7224227 w 7403269"/>
                  <a:gd name="connsiteY98" fmla="*/ 123281 h 225523"/>
                  <a:gd name="connsiteX99" fmla="*/ 7224227 w 7403269"/>
                  <a:gd name="connsiteY99" fmla="*/ 104785 h 225523"/>
                  <a:gd name="connsiteX100" fmla="*/ 7248326 w 7403269"/>
                  <a:gd name="connsiteY100" fmla="*/ 77925 h 225523"/>
                  <a:gd name="connsiteX101" fmla="*/ 7248326 w 7403269"/>
                  <a:gd name="connsiteY101" fmla="*/ 41564 h 225523"/>
                  <a:gd name="connsiteX102" fmla="*/ 7303320 w 7403269"/>
                  <a:gd name="connsiteY102" fmla="*/ 2543 h 225523"/>
                  <a:gd name="connsiteX103" fmla="*/ 1261413 w 7403269"/>
                  <a:gd name="connsiteY103" fmla="*/ 2543 h 225523"/>
                  <a:gd name="connsiteX104" fmla="*/ 1316099 w 7403269"/>
                  <a:gd name="connsiteY104" fmla="*/ 41564 h 225523"/>
                  <a:gd name="connsiteX105" fmla="*/ 1316099 w 7403269"/>
                  <a:gd name="connsiteY105" fmla="*/ 77925 h 225523"/>
                  <a:gd name="connsiteX106" fmla="*/ 1340043 w 7403269"/>
                  <a:gd name="connsiteY106" fmla="*/ 104785 h 225523"/>
                  <a:gd name="connsiteX107" fmla="*/ 1340043 w 7403269"/>
                  <a:gd name="connsiteY107" fmla="*/ 123281 h 225523"/>
                  <a:gd name="connsiteX108" fmla="*/ 1316099 w 7403269"/>
                  <a:gd name="connsiteY108" fmla="*/ 149634 h 225523"/>
                  <a:gd name="connsiteX109" fmla="*/ 1316099 w 7403269"/>
                  <a:gd name="connsiteY109" fmla="*/ 187009 h 225523"/>
                  <a:gd name="connsiteX110" fmla="*/ 1261413 w 7403269"/>
                  <a:gd name="connsiteY110" fmla="*/ 225523 h 225523"/>
                  <a:gd name="connsiteX111" fmla="*/ 1261413 w 7403269"/>
                  <a:gd name="connsiteY111" fmla="*/ 206012 h 225523"/>
                  <a:gd name="connsiteX112" fmla="*/ 1280491 w 7403269"/>
                  <a:gd name="connsiteY112" fmla="*/ 199931 h 225523"/>
                  <a:gd name="connsiteX113" fmla="*/ 1286130 w 7403269"/>
                  <a:gd name="connsiteY113" fmla="*/ 180674 h 225523"/>
                  <a:gd name="connsiteX114" fmla="*/ 1286130 w 7403269"/>
                  <a:gd name="connsiteY114" fmla="*/ 145326 h 225523"/>
                  <a:gd name="connsiteX115" fmla="*/ 1316562 w 7403269"/>
                  <a:gd name="connsiteY115" fmla="*/ 114033 h 225523"/>
                  <a:gd name="connsiteX116" fmla="*/ 1316562 w 7403269"/>
                  <a:gd name="connsiteY116" fmla="*/ 113653 h 225523"/>
                  <a:gd name="connsiteX117" fmla="*/ 1286130 w 7403269"/>
                  <a:gd name="connsiteY117" fmla="*/ 82106 h 225523"/>
                  <a:gd name="connsiteX118" fmla="*/ 1286130 w 7403269"/>
                  <a:gd name="connsiteY118" fmla="*/ 46379 h 225523"/>
                  <a:gd name="connsiteX119" fmla="*/ 1261413 w 7403269"/>
                  <a:gd name="connsiteY119" fmla="*/ 22181 h 225523"/>
                  <a:gd name="connsiteX120" fmla="*/ 1240095 w 7403269"/>
                  <a:gd name="connsiteY120" fmla="*/ 2543 h 225523"/>
                  <a:gd name="connsiteX121" fmla="*/ 1240095 w 7403269"/>
                  <a:gd name="connsiteY121" fmla="*/ 22181 h 225523"/>
                  <a:gd name="connsiteX122" fmla="*/ 1215533 w 7403269"/>
                  <a:gd name="connsiteY122" fmla="*/ 46379 h 225523"/>
                  <a:gd name="connsiteX123" fmla="*/ 1215533 w 7403269"/>
                  <a:gd name="connsiteY123" fmla="*/ 82106 h 225523"/>
                  <a:gd name="connsiteX124" fmla="*/ 1184791 w 7403269"/>
                  <a:gd name="connsiteY124" fmla="*/ 113653 h 225523"/>
                  <a:gd name="connsiteX125" fmla="*/ 1184791 w 7403269"/>
                  <a:gd name="connsiteY125" fmla="*/ 114033 h 225523"/>
                  <a:gd name="connsiteX126" fmla="*/ 1215533 w 7403269"/>
                  <a:gd name="connsiteY126" fmla="*/ 145326 h 225523"/>
                  <a:gd name="connsiteX127" fmla="*/ 1215533 w 7403269"/>
                  <a:gd name="connsiteY127" fmla="*/ 180674 h 225523"/>
                  <a:gd name="connsiteX128" fmla="*/ 1221017 w 7403269"/>
                  <a:gd name="connsiteY128" fmla="*/ 199994 h 225523"/>
                  <a:gd name="connsiteX129" fmla="*/ 1240095 w 7403269"/>
                  <a:gd name="connsiteY129" fmla="*/ 206012 h 225523"/>
                  <a:gd name="connsiteX130" fmla="*/ 1240095 w 7403269"/>
                  <a:gd name="connsiteY130" fmla="*/ 225523 h 225523"/>
                  <a:gd name="connsiteX131" fmla="*/ 1185100 w 7403269"/>
                  <a:gd name="connsiteY131" fmla="*/ 187009 h 225523"/>
                  <a:gd name="connsiteX132" fmla="*/ 1185100 w 7403269"/>
                  <a:gd name="connsiteY132" fmla="*/ 149634 h 225523"/>
                  <a:gd name="connsiteX133" fmla="*/ 1161001 w 7403269"/>
                  <a:gd name="connsiteY133" fmla="*/ 123281 h 225523"/>
                  <a:gd name="connsiteX134" fmla="*/ 1161001 w 7403269"/>
                  <a:gd name="connsiteY134" fmla="*/ 104785 h 225523"/>
                  <a:gd name="connsiteX135" fmla="*/ 1185100 w 7403269"/>
                  <a:gd name="connsiteY135" fmla="*/ 77925 h 225523"/>
                  <a:gd name="connsiteX136" fmla="*/ 1185100 w 7403269"/>
                  <a:gd name="connsiteY136" fmla="*/ 41564 h 225523"/>
                  <a:gd name="connsiteX137" fmla="*/ 1240095 w 7403269"/>
                  <a:gd name="connsiteY137" fmla="*/ 2543 h 225523"/>
                  <a:gd name="connsiteX138" fmla="*/ 6239304 w 7403269"/>
                  <a:gd name="connsiteY138" fmla="*/ 46 h 225523"/>
                  <a:gd name="connsiteX139" fmla="*/ 6245208 w 7403269"/>
                  <a:gd name="connsiteY139" fmla="*/ 563 h 225523"/>
                  <a:gd name="connsiteX140" fmla="*/ 6288484 w 7403269"/>
                  <a:gd name="connsiteY140" fmla="*/ 29981 h 225523"/>
                  <a:gd name="connsiteX141" fmla="*/ 6306475 w 7403269"/>
                  <a:gd name="connsiteY141" fmla="*/ 51133 h 225523"/>
                  <a:gd name="connsiteX142" fmla="*/ 6303314 w 7403269"/>
                  <a:gd name="connsiteY142" fmla="*/ 58913 h 225523"/>
                  <a:gd name="connsiteX143" fmla="*/ 6316428 w 7403269"/>
                  <a:gd name="connsiteY143" fmla="*/ 69018 h 225523"/>
                  <a:gd name="connsiteX144" fmla="*/ 6314741 w 7403269"/>
                  <a:gd name="connsiteY144" fmla="*/ 31684 h 225523"/>
                  <a:gd name="connsiteX145" fmla="*/ 6330058 w 7403269"/>
                  <a:gd name="connsiteY145" fmla="*/ 21959 h 225523"/>
                  <a:gd name="connsiteX146" fmla="*/ 6341971 w 7403269"/>
                  <a:gd name="connsiteY146" fmla="*/ 10775 h 225523"/>
                  <a:gd name="connsiteX147" fmla="*/ 6364825 w 7403269"/>
                  <a:gd name="connsiteY147" fmla="*/ 73258 h 225523"/>
                  <a:gd name="connsiteX148" fmla="*/ 6327141 w 7403269"/>
                  <a:gd name="connsiteY148" fmla="*/ 141576 h 225523"/>
                  <a:gd name="connsiteX149" fmla="*/ 6295114 w 7403269"/>
                  <a:gd name="connsiteY149" fmla="*/ 142294 h 225523"/>
                  <a:gd name="connsiteX150" fmla="*/ 6291107 w 7403269"/>
                  <a:gd name="connsiteY150" fmla="*/ 140899 h 225523"/>
                  <a:gd name="connsiteX151" fmla="*/ 6290627 w 7403269"/>
                  <a:gd name="connsiteY151" fmla="*/ 143175 h 225523"/>
                  <a:gd name="connsiteX152" fmla="*/ 6265873 w 7403269"/>
                  <a:gd name="connsiteY152" fmla="*/ 163214 h 225523"/>
                  <a:gd name="connsiteX153" fmla="*/ 6244235 w 7403269"/>
                  <a:gd name="connsiteY153" fmla="*/ 153489 h 225523"/>
                  <a:gd name="connsiteX154" fmla="*/ 6243262 w 7403269"/>
                  <a:gd name="connsiteY154" fmla="*/ 166131 h 225523"/>
                  <a:gd name="connsiteX155" fmla="*/ 6252987 w 7403269"/>
                  <a:gd name="connsiteY155" fmla="*/ 186797 h 225523"/>
                  <a:gd name="connsiteX156" fmla="*/ 6252501 w 7403269"/>
                  <a:gd name="connsiteY156" fmla="*/ 197981 h 225523"/>
                  <a:gd name="connsiteX157" fmla="*/ 6254689 w 7403269"/>
                  <a:gd name="connsiteY157" fmla="*/ 211839 h 225523"/>
                  <a:gd name="connsiteX158" fmla="*/ 6238643 w 7403269"/>
                  <a:gd name="connsiteY158" fmla="*/ 217674 h 225523"/>
                  <a:gd name="connsiteX159" fmla="*/ 6213601 w 7403269"/>
                  <a:gd name="connsiteY159" fmla="*/ 212325 h 225523"/>
                  <a:gd name="connsiteX160" fmla="*/ 6212837 w 7403269"/>
                  <a:gd name="connsiteY160" fmla="*/ 207841 h 225523"/>
                  <a:gd name="connsiteX161" fmla="*/ 6212797 w 7403269"/>
                  <a:gd name="connsiteY161" fmla="*/ 206487 h 225523"/>
                  <a:gd name="connsiteX162" fmla="*/ 6209032 w 7403269"/>
                  <a:gd name="connsiteY162" fmla="*/ 210055 h 225523"/>
                  <a:gd name="connsiteX163" fmla="*/ 6185399 w 7403269"/>
                  <a:gd name="connsiteY163" fmla="*/ 224481 h 225523"/>
                  <a:gd name="connsiteX164" fmla="*/ 6161816 w 7403269"/>
                  <a:gd name="connsiteY164" fmla="*/ 196036 h 225523"/>
                  <a:gd name="connsiteX165" fmla="*/ 6172756 w 7403269"/>
                  <a:gd name="connsiteY165" fmla="*/ 184122 h 225523"/>
                  <a:gd name="connsiteX166" fmla="*/ 6147714 w 7403269"/>
                  <a:gd name="connsiteY166" fmla="*/ 181691 h 225523"/>
                  <a:gd name="connsiteX167" fmla="*/ 6146742 w 7403269"/>
                  <a:gd name="connsiteY167" fmla="*/ 192632 h 225523"/>
                  <a:gd name="connsiteX168" fmla="*/ 6140420 w 7403269"/>
                  <a:gd name="connsiteY168" fmla="*/ 203329 h 225523"/>
                  <a:gd name="connsiteX169" fmla="*/ 6135315 w 7403269"/>
                  <a:gd name="connsiteY169" fmla="*/ 222536 h 225523"/>
                  <a:gd name="connsiteX170" fmla="*/ 6094956 w 7403269"/>
                  <a:gd name="connsiteY170" fmla="*/ 214027 h 225523"/>
                  <a:gd name="connsiteX171" fmla="*/ 6095929 w 7403269"/>
                  <a:gd name="connsiteY171" fmla="*/ 199926 h 225523"/>
                  <a:gd name="connsiteX172" fmla="*/ 6086204 w 7403269"/>
                  <a:gd name="connsiteY172" fmla="*/ 201871 h 225523"/>
                  <a:gd name="connsiteX173" fmla="*/ 6060919 w 7403269"/>
                  <a:gd name="connsiteY173" fmla="*/ 175856 h 225523"/>
                  <a:gd name="connsiteX174" fmla="*/ 6076236 w 7403269"/>
                  <a:gd name="connsiteY174" fmla="*/ 149112 h 225523"/>
                  <a:gd name="connsiteX175" fmla="*/ 6077694 w 7403269"/>
                  <a:gd name="connsiteY175" fmla="*/ 122369 h 225523"/>
                  <a:gd name="connsiteX176" fmla="*/ 6062134 w 7403269"/>
                  <a:gd name="connsiteY176" fmla="*/ 100245 h 225523"/>
                  <a:gd name="connsiteX177" fmla="*/ 6063907 w 7403269"/>
                  <a:gd name="connsiteY177" fmla="*/ 86835 h 225523"/>
                  <a:gd name="connsiteX178" fmla="*/ 6064369 w 7403269"/>
                  <a:gd name="connsiteY178" fmla="*/ 95615 h 225523"/>
                  <a:gd name="connsiteX179" fmla="*/ 6065198 w 7403269"/>
                  <a:gd name="connsiteY179" fmla="*/ 96013 h 225523"/>
                  <a:gd name="connsiteX180" fmla="*/ 6065321 w 7403269"/>
                  <a:gd name="connsiteY180" fmla="*/ 97195 h 225523"/>
                  <a:gd name="connsiteX181" fmla="*/ 6085009 w 7403269"/>
                  <a:gd name="connsiteY181" fmla="*/ 111137 h 225523"/>
                  <a:gd name="connsiteX182" fmla="*/ 6103355 w 7403269"/>
                  <a:gd name="connsiteY182" fmla="*/ 182245 h 225523"/>
                  <a:gd name="connsiteX183" fmla="*/ 6104323 w 7403269"/>
                  <a:gd name="connsiteY183" fmla="*/ 184107 h 225523"/>
                  <a:gd name="connsiteX184" fmla="*/ 6104289 w 7403269"/>
                  <a:gd name="connsiteY184" fmla="*/ 184981 h 225523"/>
                  <a:gd name="connsiteX185" fmla="*/ 6102879 w 7403269"/>
                  <a:gd name="connsiteY185" fmla="*/ 198514 h 225523"/>
                  <a:gd name="connsiteX186" fmla="*/ 6099557 w 7403269"/>
                  <a:gd name="connsiteY186" fmla="*/ 209919 h 225523"/>
                  <a:gd name="connsiteX187" fmla="*/ 6133951 w 7403269"/>
                  <a:gd name="connsiteY187" fmla="*/ 216564 h 225523"/>
                  <a:gd name="connsiteX188" fmla="*/ 6135118 w 7403269"/>
                  <a:gd name="connsiteY188" fmla="*/ 205608 h 225523"/>
                  <a:gd name="connsiteX189" fmla="*/ 6141763 w 7403269"/>
                  <a:gd name="connsiteY189" fmla="*/ 191330 h 225523"/>
                  <a:gd name="connsiteX190" fmla="*/ 6142044 w 7403269"/>
                  <a:gd name="connsiteY190" fmla="*/ 176120 h 225523"/>
                  <a:gd name="connsiteX191" fmla="*/ 6141834 w 7403269"/>
                  <a:gd name="connsiteY191" fmla="*/ 170402 h 225523"/>
                  <a:gd name="connsiteX192" fmla="*/ 6143434 w 7403269"/>
                  <a:gd name="connsiteY192" fmla="*/ 172264 h 225523"/>
                  <a:gd name="connsiteX193" fmla="*/ 6183072 w 7403269"/>
                  <a:gd name="connsiteY193" fmla="*/ 170047 h 225523"/>
                  <a:gd name="connsiteX194" fmla="*/ 6183970 w 7403269"/>
                  <a:gd name="connsiteY194" fmla="*/ 183876 h 225523"/>
                  <a:gd name="connsiteX195" fmla="*/ 6166818 w 7403269"/>
                  <a:gd name="connsiteY195" fmla="*/ 196628 h 225523"/>
                  <a:gd name="connsiteX196" fmla="*/ 6185856 w 7403269"/>
                  <a:gd name="connsiteY196" fmla="*/ 219707 h 225523"/>
                  <a:gd name="connsiteX197" fmla="*/ 6221148 w 7403269"/>
                  <a:gd name="connsiteY197" fmla="*/ 191779 h 225523"/>
                  <a:gd name="connsiteX198" fmla="*/ 6240366 w 7403269"/>
                  <a:gd name="connsiteY198" fmla="*/ 149662 h 225523"/>
                  <a:gd name="connsiteX199" fmla="*/ 6223388 w 7403269"/>
                  <a:gd name="connsiteY199" fmla="*/ 131275 h 225523"/>
                  <a:gd name="connsiteX200" fmla="*/ 6223193 w 7403269"/>
                  <a:gd name="connsiteY200" fmla="*/ 130763 h 225523"/>
                  <a:gd name="connsiteX201" fmla="*/ 6225829 w 7403269"/>
                  <a:gd name="connsiteY201" fmla="*/ 132423 h 225523"/>
                  <a:gd name="connsiteX202" fmla="*/ 6245125 w 7403269"/>
                  <a:gd name="connsiteY202" fmla="*/ 143106 h 225523"/>
                  <a:gd name="connsiteX203" fmla="*/ 6266588 w 7403269"/>
                  <a:gd name="connsiteY203" fmla="*/ 157654 h 225523"/>
                  <a:gd name="connsiteX204" fmla="*/ 6287691 w 7403269"/>
                  <a:gd name="connsiteY204" fmla="*/ 139155 h 225523"/>
                  <a:gd name="connsiteX205" fmla="*/ 6284369 w 7403269"/>
                  <a:gd name="connsiteY205" fmla="*/ 138886 h 225523"/>
                  <a:gd name="connsiteX206" fmla="*/ 6256388 w 7403269"/>
                  <a:gd name="connsiteY206" fmla="*/ 116588 h 225523"/>
                  <a:gd name="connsiteX207" fmla="*/ 6257318 w 7403269"/>
                  <a:gd name="connsiteY207" fmla="*/ 111780 h 225523"/>
                  <a:gd name="connsiteX208" fmla="*/ 6259082 w 7403269"/>
                  <a:gd name="connsiteY208" fmla="*/ 113702 h 225523"/>
                  <a:gd name="connsiteX209" fmla="*/ 6331335 w 7403269"/>
                  <a:gd name="connsiteY209" fmla="*/ 131971 h 225523"/>
                  <a:gd name="connsiteX210" fmla="*/ 6343279 w 7403269"/>
                  <a:gd name="connsiteY210" fmla="*/ 14061 h 225523"/>
                  <a:gd name="connsiteX211" fmla="*/ 6333939 w 7403269"/>
                  <a:gd name="connsiteY211" fmla="*/ 24838 h 225523"/>
                  <a:gd name="connsiteX212" fmla="*/ 6320289 w 7403269"/>
                  <a:gd name="connsiteY212" fmla="*/ 31752 h 225523"/>
                  <a:gd name="connsiteX213" fmla="*/ 6311755 w 7403269"/>
                  <a:gd name="connsiteY213" fmla="*/ 92959 h 225523"/>
                  <a:gd name="connsiteX214" fmla="*/ 6310264 w 7403269"/>
                  <a:gd name="connsiteY214" fmla="*/ 94135 h 225523"/>
                  <a:gd name="connsiteX215" fmla="*/ 6310578 w 7403269"/>
                  <a:gd name="connsiteY215" fmla="*/ 93530 h 225523"/>
                  <a:gd name="connsiteX216" fmla="*/ 6313824 w 7403269"/>
                  <a:gd name="connsiteY216" fmla="*/ 74318 h 225523"/>
                  <a:gd name="connsiteX217" fmla="*/ 6301162 w 7403269"/>
                  <a:gd name="connsiteY217" fmla="*/ 76743 h 225523"/>
                  <a:gd name="connsiteX218" fmla="*/ 6302509 w 7403269"/>
                  <a:gd name="connsiteY218" fmla="*/ 66236 h 225523"/>
                  <a:gd name="connsiteX219" fmla="*/ 6290655 w 7403269"/>
                  <a:gd name="connsiteY219" fmla="*/ 66146 h 225523"/>
                  <a:gd name="connsiteX220" fmla="*/ 6294067 w 7403269"/>
                  <a:gd name="connsiteY220" fmla="*/ 58334 h 225523"/>
                  <a:gd name="connsiteX221" fmla="*/ 6287214 w 7403269"/>
                  <a:gd name="connsiteY221" fmla="*/ 55168 h 225523"/>
                  <a:gd name="connsiteX222" fmla="*/ 6285315 w 7403269"/>
                  <a:gd name="connsiteY222" fmla="*/ 55181 h 225523"/>
                  <a:gd name="connsiteX223" fmla="*/ 6286877 w 7403269"/>
                  <a:gd name="connsiteY223" fmla="*/ 54620 h 225523"/>
                  <a:gd name="connsiteX224" fmla="*/ 6289218 w 7403269"/>
                  <a:gd name="connsiteY224" fmla="*/ 53933 h 225523"/>
                  <a:gd name="connsiteX225" fmla="*/ 6300533 w 7403269"/>
                  <a:gd name="connsiteY225" fmla="*/ 51329 h 225523"/>
                  <a:gd name="connsiteX226" fmla="*/ 6289038 w 7403269"/>
                  <a:gd name="connsiteY226" fmla="*/ 36691 h 225523"/>
                  <a:gd name="connsiteX227" fmla="*/ 6277058 w 7403269"/>
                  <a:gd name="connsiteY227" fmla="*/ 35222 h 225523"/>
                  <a:gd name="connsiteX228" fmla="*/ 6275952 w 7403269"/>
                  <a:gd name="connsiteY228" fmla="*/ 35163 h 225523"/>
                  <a:gd name="connsiteX229" fmla="*/ 6275961 w 7403269"/>
                  <a:gd name="connsiteY229" fmla="*/ 35140 h 225523"/>
                  <a:gd name="connsiteX230" fmla="*/ 6283740 w 7403269"/>
                  <a:gd name="connsiteY230" fmla="*/ 32740 h 225523"/>
                  <a:gd name="connsiteX231" fmla="*/ 6241084 w 7403269"/>
                  <a:gd name="connsiteY231" fmla="*/ 6608 h 225523"/>
                  <a:gd name="connsiteX232" fmla="*/ 6190616 w 7403269"/>
                  <a:gd name="connsiteY232" fmla="*/ 30226 h 225523"/>
                  <a:gd name="connsiteX233" fmla="*/ 6204848 w 7403269"/>
                  <a:gd name="connsiteY233" fmla="*/ 30553 h 225523"/>
                  <a:gd name="connsiteX234" fmla="*/ 6205425 w 7403269"/>
                  <a:gd name="connsiteY234" fmla="*/ 30636 h 225523"/>
                  <a:gd name="connsiteX235" fmla="*/ 6203015 w 7403269"/>
                  <a:gd name="connsiteY235" fmla="*/ 31291 h 225523"/>
                  <a:gd name="connsiteX236" fmla="*/ 6178416 w 7403269"/>
                  <a:gd name="connsiteY236" fmla="*/ 36408 h 225523"/>
                  <a:gd name="connsiteX237" fmla="*/ 6131940 w 7403269"/>
                  <a:gd name="connsiteY237" fmla="*/ 96693 h 225523"/>
                  <a:gd name="connsiteX238" fmla="*/ 6145922 w 7403269"/>
                  <a:gd name="connsiteY238" fmla="*/ 118805 h 225523"/>
                  <a:gd name="connsiteX239" fmla="*/ 6160428 w 7403269"/>
                  <a:gd name="connsiteY239" fmla="*/ 102267 h 225523"/>
                  <a:gd name="connsiteX240" fmla="*/ 6143456 w 7403269"/>
                  <a:gd name="connsiteY240" fmla="*/ 137373 h 225523"/>
                  <a:gd name="connsiteX241" fmla="*/ 6159385 w 7403269"/>
                  <a:gd name="connsiteY241" fmla="*/ 146754 h 225523"/>
                  <a:gd name="connsiteX242" fmla="*/ 6186540 w 7403269"/>
                  <a:gd name="connsiteY242" fmla="*/ 133311 h 225523"/>
                  <a:gd name="connsiteX243" fmla="*/ 6203948 w 7403269"/>
                  <a:gd name="connsiteY243" fmla="*/ 131570 h 225523"/>
                  <a:gd name="connsiteX244" fmla="*/ 6210185 w 7403269"/>
                  <a:gd name="connsiteY244" fmla="*/ 62520 h 225523"/>
                  <a:gd name="connsiteX245" fmla="*/ 6210911 w 7403269"/>
                  <a:gd name="connsiteY245" fmla="*/ 140419 h 225523"/>
                  <a:gd name="connsiteX246" fmla="*/ 6208803 w 7403269"/>
                  <a:gd name="connsiteY246" fmla="*/ 140074 h 225523"/>
                  <a:gd name="connsiteX247" fmla="*/ 6206134 w 7403269"/>
                  <a:gd name="connsiteY247" fmla="*/ 139391 h 225523"/>
                  <a:gd name="connsiteX248" fmla="*/ 6203400 w 7403269"/>
                  <a:gd name="connsiteY248" fmla="*/ 138965 h 225523"/>
                  <a:gd name="connsiteX249" fmla="*/ 6202634 w 7403269"/>
                  <a:gd name="connsiteY249" fmla="*/ 138787 h 225523"/>
                  <a:gd name="connsiteX250" fmla="*/ 6195863 w 7403269"/>
                  <a:gd name="connsiteY250" fmla="*/ 138558 h 225523"/>
                  <a:gd name="connsiteX251" fmla="*/ 6194877 w 7403269"/>
                  <a:gd name="connsiteY251" fmla="*/ 138788 h 225523"/>
                  <a:gd name="connsiteX252" fmla="*/ 6194282 w 7403269"/>
                  <a:gd name="connsiteY252" fmla="*/ 138839 h 225523"/>
                  <a:gd name="connsiteX253" fmla="*/ 6155054 w 7403269"/>
                  <a:gd name="connsiteY253" fmla="*/ 154781 h 225523"/>
                  <a:gd name="connsiteX254" fmla="*/ 6132714 w 7403269"/>
                  <a:gd name="connsiteY254" fmla="*/ 137062 h 225523"/>
                  <a:gd name="connsiteX255" fmla="*/ 6132256 w 7403269"/>
                  <a:gd name="connsiteY255" fmla="*/ 136468 h 225523"/>
                  <a:gd name="connsiteX256" fmla="*/ 6133978 w 7403269"/>
                  <a:gd name="connsiteY256" fmla="*/ 133591 h 225523"/>
                  <a:gd name="connsiteX257" fmla="*/ 6140057 w 7403269"/>
                  <a:gd name="connsiteY257" fmla="*/ 124787 h 225523"/>
                  <a:gd name="connsiteX258" fmla="*/ 6122995 w 7403269"/>
                  <a:gd name="connsiteY258" fmla="*/ 97756 h 225523"/>
                  <a:gd name="connsiteX259" fmla="*/ 6153258 w 7403269"/>
                  <a:gd name="connsiteY259" fmla="*/ 51598 h 225523"/>
                  <a:gd name="connsiteX260" fmla="*/ 6073203 w 7403269"/>
                  <a:gd name="connsiteY260" fmla="*/ 98980 h 225523"/>
                  <a:gd name="connsiteX261" fmla="*/ 6069578 w 7403269"/>
                  <a:gd name="connsiteY261" fmla="*/ 95717 h 225523"/>
                  <a:gd name="connsiteX262" fmla="*/ 6070638 w 7403269"/>
                  <a:gd name="connsiteY262" fmla="*/ 95122 h 225523"/>
                  <a:gd name="connsiteX263" fmla="*/ 6074592 w 7403269"/>
                  <a:gd name="connsiteY263" fmla="*/ 75216 h 225523"/>
                  <a:gd name="connsiteX264" fmla="*/ 6064109 w 7403269"/>
                  <a:gd name="connsiteY264" fmla="*/ 85309 h 225523"/>
                  <a:gd name="connsiteX265" fmla="*/ 6065021 w 7403269"/>
                  <a:gd name="connsiteY265" fmla="*/ 78409 h 225523"/>
                  <a:gd name="connsiteX266" fmla="*/ 6078667 w 7403269"/>
                  <a:gd name="connsiteY266" fmla="*/ 69854 h 225523"/>
                  <a:gd name="connsiteX267" fmla="*/ 6078667 w 7403269"/>
                  <a:gd name="connsiteY267" fmla="*/ 93680 h 225523"/>
                  <a:gd name="connsiteX268" fmla="*/ 6155008 w 7403269"/>
                  <a:gd name="connsiteY268" fmla="*/ 45298 h 225523"/>
                  <a:gd name="connsiteX269" fmla="*/ 6177619 w 7403269"/>
                  <a:gd name="connsiteY269" fmla="*/ 28766 h 225523"/>
                  <a:gd name="connsiteX270" fmla="*/ 6183655 w 7403269"/>
                  <a:gd name="connsiteY270" fmla="*/ 28133 h 225523"/>
                  <a:gd name="connsiteX271" fmla="*/ 6184354 w 7403269"/>
                  <a:gd name="connsiteY271" fmla="*/ 26636 h 225523"/>
                  <a:gd name="connsiteX272" fmla="*/ 6203633 w 7403269"/>
                  <a:gd name="connsiteY272" fmla="*/ 8100 h 225523"/>
                  <a:gd name="connsiteX273" fmla="*/ 6239304 w 7403269"/>
                  <a:gd name="connsiteY273" fmla="*/ 46 h 225523"/>
                  <a:gd name="connsiteX274" fmla="*/ 178568 w 7403269"/>
                  <a:gd name="connsiteY274" fmla="*/ 46 h 225523"/>
                  <a:gd name="connsiteX275" fmla="*/ 184471 w 7403269"/>
                  <a:gd name="connsiteY275" fmla="*/ 563 h 225523"/>
                  <a:gd name="connsiteX276" fmla="*/ 227747 w 7403269"/>
                  <a:gd name="connsiteY276" fmla="*/ 29981 h 225523"/>
                  <a:gd name="connsiteX277" fmla="*/ 245738 w 7403269"/>
                  <a:gd name="connsiteY277" fmla="*/ 51133 h 225523"/>
                  <a:gd name="connsiteX278" fmla="*/ 242578 w 7403269"/>
                  <a:gd name="connsiteY278" fmla="*/ 58913 h 225523"/>
                  <a:gd name="connsiteX279" fmla="*/ 255691 w 7403269"/>
                  <a:gd name="connsiteY279" fmla="*/ 69018 h 225523"/>
                  <a:gd name="connsiteX280" fmla="*/ 254005 w 7403269"/>
                  <a:gd name="connsiteY280" fmla="*/ 31684 h 225523"/>
                  <a:gd name="connsiteX281" fmla="*/ 269321 w 7403269"/>
                  <a:gd name="connsiteY281" fmla="*/ 21959 h 225523"/>
                  <a:gd name="connsiteX282" fmla="*/ 281235 w 7403269"/>
                  <a:gd name="connsiteY282" fmla="*/ 10775 h 225523"/>
                  <a:gd name="connsiteX283" fmla="*/ 304088 w 7403269"/>
                  <a:gd name="connsiteY283" fmla="*/ 73258 h 225523"/>
                  <a:gd name="connsiteX284" fmla="*/ 266404 w 7403269"/>
                  <a:gd name="connsiteY284" fmla="*/ 141576 h 225523"/>
                  <a:gd name="connsiteX285" fmla="*/ 234377 w 7403269"/>
                  <a:gd name="connsiteY285" fmla="*/ 142294 h 225523"/>
                  <a:gd name="connsiteX286" fmla="*/ 230371 w 7403269"/>
                  <a:gd name="connsiteY286" fmla="*/ 140899 h 225523"/>
                  <a:gd name="connsiteX287" fmla="*/ 229890 w 7403269"/>
                  <a:gd name="connsiteY287" fmla="*/ 143175 h 225523"/>
                  <a:gd name="connsiteX288" fmla="*/ 205136 w 7403269"/>
                  <a:gd name="connsiteY288" fmla="*/ 163214 h 225523"/>
                  <a:gd name="connsiteX289" fmla="*/ 183498 w 7403269"/>
                  <a:gd name="connsiteY289" fmla="*/ 153489 h 225523"/>
                  <a:gd name="connsiteX290" fmla="*/ 182525 w 7403269"/>
                  <a:gd name="connsiteY290" fmla="*/ 166131 h 225523"/>
                  <a:gd name="connsiteX291" fmla="*/ 192251 w 7403269"/>
                  <a:gd name="connsiteY291" fmla="*/ 186797 h 225523"/>
                  <a:gd name="connsiteX292" fmla="*/ 191764 w 7403269"/>
                  <a:gd name="connsiteY292" fmla="*/ 197981 h 225523"/>
                  <a:gd name="connsiteX293" fmla="*/ 193952 w 7403269"/>
                  <a:gd name="connsiteY293" fmla="*/ 211839 h 225523"/>
                  <a:gd name="connsiteX294" fmla="*/ 177906 w 7403269"/>
                  <a:gd name="connsiteY294" fmla="*/ 217674 h 225523"/>
                  <a:gd name="connsiteX295" fmla="*/ 152864 w 7403269"/>
                  <a:gd name="connsiteY295" fmla="*/ 212325 h 225523"/>
                  <a:gd name="connsiteX296" fmla="*/ 152100 w 7403269"/>
                  <a:gd name="connsiteY296" fmla="*/ 207841 h 225523"/>
                  <a:gd name="connsiteX297" fmla="*/ 152060 w 7403269"/>
                  <a:gd name="connsiteY297" fmla="*/ 206487 h 225523"/>
                  <a:gd name="connsiteX298" fmla="*/ 148295 w 7403269"/>
                  <a:gd name="connsiteY298" fmla="*/ 210055 h 225523"/>
                  <a:gd name="connsiteX299" fmla="*/ 124662 w 7403269"/>
                  <a:gd name="connsiteY299" fmla="*/ 224481 h 225523"/>
                  <a:gd name="connsiteX300" fmla="*/ 101079 w 7403269"/>
                  <a:gd name="connsiteY300" fmla="*/ 196036 h 225523"/>
                  <a:gd name="connsiteX301" fmla="*/ 112019 w 7403269"/>
                  <a:gd name="connsiteY301" fmla="*/ 184122 h 225523"/>
                  <a:gd name="connsiteX302" fmla="*/ 86977 w 7403269"/>
                  <a:gd name="connsiteY302" fmla="*/ 181691 h 225523"/>
                  <a:gd name="connsiteX303" fmla="*/ 86005 w 7403269"/>
                  <a:gd name="connsiteY303" fmla="*/ 192632 h 225523"/>
                  <a:gd name="connsiteX304" fmla="*/ 79684 w 7403269"/>
                  <a:gd name="connsiteY304" fmla="*/ 203329 h 225523"/>
                  <a:gd name="connsiteX305" fmla="*/ 74578 w 7403269"/>
                  <a:gd name="connsiteY305" fmla="*/ 222536 h 225523"/>
                  <a:gd name="connsiteX306" fmla="*/ 34220 w 7403269"/>
                  <a:gd name="connsiteY306" fmla="*/ 214027 h 225523"/>
                  <a:gd name="connsiteX307" fmla="*/ 35192 w 7403269"/>
                  <a:gd name="connsiteY307" fmla="*/ 199926 h 225523"/>
                  <a:gd name="connsiteX308" fmla="*/ 25467 w 7403269"/>
                  <a:gd name="connsiteY308" fmla="*/ 201871 h 225523"/>
                  <a:gd name="connsiteX309" fmla="*/ 182 w 7403269"/>
                  <a:gd name="connsiteY309" fmla="*/ 175856 h 225523"/>
                  <a:gd name="connsiteX310" fmla="*/ 15499 w 7403269"/>
                  <a:gd name="connsiteY310" fmla="*/ 149112 h 225523"/>
                  <a:gd name="connsiteX311" fmla="*/ 16957 w 7403269"/>
                  <a:gd name="connsiteY311" fmla="*/ 122369 h 225523"/>
                  <a:gd name="connsiteX312" fmla="*/ 1397 w 7403269"/>
                  <a:gd name="connsiteY312" fmla="*/ 100245 h 225523"/>
                  <a:gd name="connsiteX313" fmla="*/ 3170 w 7403269"/>
                  <a:gd name="connsiteY313" fmla="*/ 86836 h 225523"/>
                  <a:gd name="connsiteX314" fmla="*/ 3632 w 7403269"/>
                  <a:gd name="connsiteY314" fmla="*/ 95615 h 225523"/>
                  <a:gd name="connsiteX315" fmla="*/ 4461 w 7403269"/>
                  <a:gd name="connsiteY315" fmla="*/ 96013 h 225523"/>
                  <a:gd name="connsiteX316" fmla="*/ 4584 w 7403269"/>
                  <a:gd name="connsiteY316" fmla="*/ 97195 h 225523"/>
                  <a:gd name="connsiteX317" fmla="*/ 24272 w 7403269"/>
                  <a:gd name="connsiteY317" fmla="*/ 111137 h 225523"/>
                  <a:gd name="connsiteX318" fmla="*/ 42618 w 7403269"/>
                  <a:gd name="connsiteY318" fmla="*/ 182245 h 225523"/>
                  <a:gd name="connsiteX319" fmla="*/ 43587 w 7403269"/>
                  <a:gd name="connsiteY319" fmla="*/ 184107 h 225523"/>
                  <a:gd name="connsiteX320" fmla="*/ 43553 w 7403269"/>
                  <a:gd name="connsiteY320" fmla="*/ 184981 h 225523"/>
                  <a:gd name="connsiteX321" fmla="*/ 42142 w 7403269"/>
                  <a:gd name="connsiteY321" fmla="*/ 198514 h 225523"/>
                  <a:gd name="connsiteX322" fmla="*/ 38820 w 7403269"/>
                  <a:gd name="connsiteY322" fmla="*/ 209919 h 225523"/>
                  <a:gd name="connsiteX323" fmla="*/ 73214 w 7403269"/>
                  <a:gd name="connsiteY323" fmla="*/ 216564 h 225523"/>
                  <a:gd name="connsiteX324" fmla="*/ 74381 w 7403269"/>
                  <a:gd name="connsiteY324" fmla="*/ 205608 h 225523"/>
                  <a:gd name="connsiteX325" fmla="*/ 81027 w 7403269"/>
                  <a:gd name="connsiteY325" fmla="*/ 191330 h 225523"/>
                  <a:gd name="connsiteX326" fmla="*/ 81307 w 7403269"/>
                  <a:gd name="connsiteY326" fmla="*/ 176120 h 225523"/>
                  <a:gd name="connsiteX327" fmla="*/ 81098 w 7403269"/>
                  <a:gd name="connsiteY327" fmla="*/ 170402 h 225523"/>
                  <a:gd name="connsiteX328" fmla="*/ 82697 w 7403269"/>
                  <a:gd name="connsiteY328" fmla="*/ 172264 h 225523"/>
                  <a:gd name="connsiteX329" fmla="*/ 122335 w 7403269"/>
                  <a:gd name="connsiteY329" fmla="*/ 170047 h 225523"/>
                  <a:gd name="connsiteX330" fmla="*/ 123233 w 7403269"/>
                  <a:gd name="connsiteY330" fmla="*/ 183876 h 225523"/>
                  <a:gd name="connsiteX331" fmla="*/ 106081 w 7403269"/>
                  <a:gd name="connsiteY331" fmla="*/ 196628 h 225523"/>
                  <a:gd name="connsiteX332" fmla="*/ 125120 w 7403269"/>
                  <a:gd name="connsiteY332" fmla="*/ 219707 h 225523"/>
                  <a:gd name="connsiteX333" fmla="*/ 160411 w 7403269"/>
                  <a:gd name="connsiteY333" fmla="*/ 191779 h 225523"/>
                  <a:gd name="connsiteX334" fmla="*/ 179629 w 7403269"/>
                  <a:gd name="connsiteY334" fmla="*/ 149662 h 225523"/>
                  <a:gd name="connsiteX335" fmla="*/ 162651 w 7403269"/>
                  <a:gd name="connsiteY335" fmla="*/ 131275 h 225523"/>
                  <a:gd name="connsiteX336" fmla="*/ 162456 w 7403269"/>
                  <a:gd name="connsiteY336" fmla="*/ 130763 h 225523"/>
                  <a:gd name="connsiteX337" fmla="*/ 165093 w 7403269"/>
                  <a:gd name="connsiteY337" fmla="*/ 132423 h 225523"/>
                  <a:gd name="connsiteX338" fmla="*/ 184388 w 7403269"/>
                  <a:gd name="connsiteY338" fmla="*/ 143106 h 225523"/>
                  <a:gd name="connsiteX339" fmla="*/ 205851 w 7403269"/>
                  <a:gd name="connsiteY339" fmla="*/ 157654 h 225523"/>
                  <a:gd name="connsiteX340" fmla="*/ 226955 w 7403269"/>
                  <a:gd name="connsiteY340" fmla="*/ 139155 h 225523"/>
                  <a:gd name="connsiteX341" fmla="*/ 223632 w 7403269"/>
                  <a:gd name="connsiteY341" fmla="*/ 138886 h 225523"/>
                  <a:gd name="connsiteX342" fmla="*/ 195651 w 7403269"/>
                  <a:gd name="connsiteY342" fmla="*/ 116588 h 225523"/>
                  <a:gd name="connsiteX343" fmla="*/ 196582 w 7403269"/>
                  <a:gd name="connsiteY343" fmla="*/ 111780 h 225523"/>
                  <a:gd name="connsiteX344" fmla="*/ 198346 w 7403269"/>
                  <a:gd name="connsiteY344" fmla="*/ 113702 h 225523"/>
                  <a:gd name="connsiteX345" fmla="*/ 270598 w 7403269"/>
                  <a:gd name="connsiteY345" fmla="*/ 131971 h 225523"/>
                  <a:gd name="connsiteX346" fmla="*/ 282542 w 7403269"/>
                  <a:gd name="connsiteY346" fmla="*/ 14061 h 225523"/>
                  <a:gd name="connsiteX347" fmla="*/ 273203 w 7403269"/>
                  <a:gd name="connsiteY347" fmla="*/ 24838 h 225523"/>
                  <a:gd name="connsiteX348" fmla="*/ 259553 w 7403269"/>
                  <a:gd name="connsiteY348" fmla="*/ 31752 h 225523"/>
                  <a:gd name="connsiteX349" fmla="*/ 251018 w 7403269"/>
                  <a:gd name="connsiteY349" fmla="*/ 92959 h 225523"/>
                  <a:gd name="connsiteX350" fmla="*/ 249528 w 7403269"/>
                  <a:gd name="connsiteY350" fmla="*/ 94135 h 225523"/>
                  <a:gd name="connsiteX351" fmla="*/ 249841 w 7403269"/>
                  <a:gd name="connsiteY351" fmla="*/ 93530 h 225523"/>
                  <a:gd name="connsiteX352" fmla="*/ 253087 w 7403269"/>
                  <a:gd name="connsiteY352" fmla="*/ 74318 h 225523"/>
                  <a:gd name="connsiteX353" fmla="*/ 240425 w 7403269"/>
                  <a:gd name="connsiteY353" fmla="*/ 76743 h 225523"/>
                  <a:gd name="connsiteX354" fmla="*/ 241772 w 7403269"/>
                  <a:gd name="connsiteY354" fmla="*/ 66236 h 225523"/>
                  <a:gd name="connsiteX355" fmla="*/ 229918 w 7403269"/>
                  <a:gd name="connsiteY355" fmla="*/ 66146 h 225523"/>
                  <a:gd name="connsiteX356" fmla="*/ 233331 w 7403269"/>
                  <a:gd name="connsiteY356" fmla="*/ 58334 h 225523"/>
                  <a:gd name="connsiteX357" fmla="*/ 226478 w 7403269"/>
                  <a:gd name="connsiteY357" fmla="*/ 55168 h 225523"/>
                  <a:gd name="connsiteX358" fmla="*/ 224578 w 7403269"/>
                  <a:gd name="connsiteY358" fmla="*/ 55181 h 225523"/>
                  <a:gd name="connsiteX359" fmla="*/ 226140 w 7403269"/>
                  <a:gd name="connsiteY359" fmla="*/ 54620 h 225523"/>
                  <a:gd name="connsiteX360" fmla="*/ 228481 w 7403269"/>
                  <a:gd name="connsiteY360" fmla="*/ 53933 h 225523"/>
                  <a:gd name="connsiteX361" fmla="*/ 239796 w 7403269"/>
                  <a:gd name="connsiteY361" fmla="*/ 51329 h 225523"/>
                  <a:gd name="connsiteX362" fmla="*/ 228301 w 7403269"/>
                  <a:gd name="connsiteY362" fmla="*/ 36691 h 225523"/>
                  <a:gd name="connsiteX363" fmla="*/ 216321 w 7403269"/>
                  <a:gd name="connsiteY363" fmla="*/ 35222 h 225523"/>
                  <a:gd name="connsiteX364" fmla="*/ 215215 w 7403269"/>
                  <a:gd name="connsiteY364" fmla="*/ 35163 h 225523"/>
                  <a:gd name="connsiteX365" fmla="*/ 215224 w 7403269"/>
                  <a:gd name="connsiteY365" fmla="*/ 35140 h 225523"/>
                  <a:gd name="connsiteX366" fmla="*/ 223004 w 7403269"/>
                  <a:gd name="connsiteY366" fmla="*/ 32740 h 225523"/>
                  <a:gd name="connsiteX367" fmla="*/ 180347 w 7403269"/>
                  <a:gd name="connsiteY367" fmla="*/ 6608 h 225523"/>
                  <a:gd name="connsiteX368" fmla="*/ 129879 w 7403269"/>
                  <a:gd name="connsiteY368" fmla="*/ 30226 h 225523"/>
                  <a:gd name="connsiteX369" fmla="*/ 144111 w 7403269"/>
                  <a:gd name="connsiteY369" fmla="*/ 30553 h 225523"/>
                  <a:gd name="connsiteX370" fmla="*/ 144688 w 7403269"/>
                  <a:gd name="connsiteY370" fmla="*/ 30636 h 225523"/>
                  <a:gd name="connsiteX371" fmla="*/ 142278 w 7403269"/>
                  <a:gd name="connsiteY371" fmla="*/ 31291 h 225523"/>
                  <a:gd name="connsiteX372" fmla="*/ 117680 w 7403269"/>
                  <a:gd name="connsiteY372" fmla="*/ 36408 h 225523"/>
                  <a:gd name="connsiteX373" fmla="*/ 71204 w 7403269"/>
                  <a:gd name="connsiteY373" fmla="*/ 96693 h 225523"/>
                  <a:gd name="connsiteX374" fmla="*/ 85185 w 7403269"/>
                  <a:gd name="connsiteY374" fmla="*/ 118805 h 225523"/>
                  <a:gd name="connsiteX375" fmla="*/ 99691 w 7403269"/>
                  <a:gd name="connsiteY375" fmla="*/ 102267 h 225523"/>
                  <a:gd name="connsiteX376" fmla="*/ 82719 w 7403269"/>
                  <a:gd name="connsiteY376" fmla="*/ 137373 h 225523"/>
                  <a:gd name="connsiteX377" fmla="*/ 98648 w 7403269"/>
                  <a:gd name="connsiteY377" fmla="*/ 146754 h 225523"/>
                  <a:gd name="connsiteX378" fmla="*/ 125803 w 7403269"/>
                  <a:gd name="connsiteY378" fmla="*/ 133311 h 225523"/>
                  <a:gd name="connsiteX379" fmla="*/ 143211 w 7403269"/>
                  <a:gd name="connsiteY379" fmla="*/ 131570 h 225523"/>
                  <a:gd name="connsiteX380" fmla="*/ 149449 w 7403269"/>
                  <a:gd name="connsiteY380" fmla="*/ 62520 h 225523"/>
                  <a:gd name="connsiteX381" fmla="*/ 150174 w 7403269"/>
                  <a:gd name="connsiteY381" fmla="*/ 140419 h 225523"/>
                  <a:gd name="connsiteX382" fmla="*/ 148066 w 7403269"/>
                  <a:gd name="connsiteY382" fmla="*/ 140074 h 225523"/>
                  <a:gd name="connsiteX383" fmla="*/ 145397 w 7403269"/>
                  <a:gd name="connsiteY383" fmla="*/ 139391 h 225523"/>
                  <a:gd name="connsiteX384" fmla="*/ 142664 w 7403269"/>
                  <a:gd name="connsiteY384" fmla="*/ 138965 h 225523"/>
                  <a:gd name="connsiteX385" fmla="*/ 141897 w 7403269"/>
                  <a:gd name="connsiteY385" fmla="*/ 138787 h 225523"/>
                  <a:gd name="connsiteX386" fmla="*/ 135127 w 7403269"/>
                  <a:gd name="connsiteY386" fmla="*/ 138558 h 225523"/>
                  <a:gd name="connsiteX387" fmla="*/ 134141 w 7403269"/>
                  <a:gd name="connsiteY387" fmla="*/ 138788 h 225523"/>
                  <a:gd name="connsiteX388" fmla="*/ 133545 w 7403269"/>
                  <a:gd name="connsiteY388" fmla="*/ 138839 h 225523"/>
                  <a:gd name="connsiteX389" fmla="*/ 94317 w 7403269"/>
                  <a:gd name="connsiteY389" fmla="*/ 154781 h 225523"/>
                  <a:gd name="connsiteX390" fmla="*/ 71977 w 7403269"/>
                  <a:gd name="connsiteY390" fmla="*/ 137062 h 225523"/>
                  <a:gd name="connsiteX391" fmla="*/ 71519 w 7403269"/>
                  <a:gd name="connsiteY391" fmla="*/ 136468 h 225523"/>
                  <a:gd name="connsiteX392" fmla="*/ 73241 w 7403269"/>
                  <a:gd name="connsiteY392" fmla="*/ 133591 h 225523"/>
                  <a:gd name="connsiteX393" fmla="*/ 79320 w 7403269"/>
                  <a:gd name="connsiteY393" fmla="*/ 124787 h 225523"/>
                  <a:gd name="connsiteX394" fmla="*/ 62258 w 7403269"/>
                  <a:gd name="connsiteY394" fmla="*/ 97756 h 225523"/>
                  <a:gd name="connsiteX395" fmla="*/ 92521 w 7403269"/>
                  <a:gd name="connsiteY395" fmla="*/ 51598 h 225523"/>
                  <a:gd name="connsiteX396" fmla="*/ 12466 w 7403269"/>
                  <a:gd name="connsiteY396" fmla="*/ 98980 h 225523"/>
                  <a:gd name="connsiteX397" fmla="*/ 8842 w 7403269"/>
                  <a:gd name="connsiteY397" fmla="*/ 95717 h 225523"/>
                  <a:gd name="connsiteX398" fmla="*/ 9902 w 7403269"/>
                  <a:gd name="connsiteY398" fmla="*/ 95122 h 225523"/>
                  <a:gd name="connsiteX399" fmla="*/ 13855 w 7403269"/>
                  <a:gd name="connsiteY399" fmla="*/ 75216 h 225523"/>
                  <a:gd name="connsiteX400" fmla="*/ 3372 w 7403269"/>
                  <a:gd name="connsiteY400" fmla="*/ 85308 h 225523"/>
                  <a:gd name="connsiteX401" fmla="*/ 4285 w 7403269"/>
                  <a:gd name="connsiteY401" fmla="*/ 78409 h 225523"/>
                  <a:gd name="connsiteX402" fmla="*/ 17930 w 7403269"/>
                  <a:gd name="connsiteY402" fmla="*/ 69854 h 225523"/>
                  <a:gd name="connsiteX403" fmla="*/ 17930 w 7403269"/>
                  <a:gd name="connsiteY403" fmla="*/ 93680 h 225523"/>
                  <a:gd name="connsiteX404" fmla="*/ 94271 w 7403269"/>
                  <a:gd name="connsiteY404" fmla="*/ 45298 h 225523"/>
                  <a:gd name="connsiteX405" fmla="*/ 116882 w 7403269"/>
                  <a:gd name="connsiteY405" fmla="*/ 28766 h 225523"/>
                  <a:gd name="connsiteX406" fmla="*/ 122918 w 7403269"/>
                  <a:gd name="connsiteY406" fmla="*/ 28133 h 225523"/>
                  <a:gd name="connsiteX407" fmla="*/ 123617 w 7403269"/>
                  <a:gd name="connsiteY407" fmla="*/ 26636 h 225523"/>
                  <a:gd name="connsiteX408" fmla="*/ 142897 w 7403269"/>
                  <a:gd name="connsiteY408" fmla="*/ 8100 h 225523"/>
                  <a:gd name="connsiteX409" fmla="*/ 178568 w 7403269"/>
                  <a:gd name="connsiteY409" fmla="*/ 46 h 2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7403269" h="225523">
                    <a:moveTo>
                      <a:pt x="6241713" y="170586"/>
                    </a:moveTo>
                    <a:cubicBezTo>
                      <a:pt x="6237163" y="188606"/>
                      <a:pt x="6231984" y="199981"/>
                      <a:pt x="6218364" y="210098"/>
                    </a:cubicBezTo>
                    <a:cubicBezTo>
                      <a:pt x="6216987" y="217492"/>
                      <a:pt x="6229380" y="213541"/>
                      <a:pt x="6234888" y="213511"/>
                    </a:cubicBezTo>
                    <a:cubicBezTo>
                      <a:pt x="6240396" y="213481"/>
                      <a:pt x="6249945" y="214963"/>
                      <a:pt x="6251411" y="209919"/>
                    </a:cubicBezTo>
                    <a:cubicBezTo>
                      <a:pt x="6252399" y="206446"/>
                      <a:pt x="6249974" y="203782"/>
                      <a:pt x="6248448" y="200400"/>
                    </a:cubicBezTo>
                    <a:cubicBezTo>
                      <a:pt x="6247670" y="196688"/>
                      <a:pt x="6250558" y="192078"/>
                      <a:pt x="6249436" y="187109"/>
                    </a:cubicBezTo>
                    <a:cubicBezTo>
                      <a:pt x="6248313" y="182140"/>
                      <a:pt x="6245005" y="174297"/>
                      <a:pt x="6241713" y="170586"/>
                    </a:cubicBezTo>
                    <a:close/>
                    <a:moveTo>
                      <a:pt x="180976" y="170586"/>
                    </a:moveTo>
                    <a:cubicBezTo>
                      <a:pt x="176426" y="188606"/>
                      <a:pt x="171247" y="199981"/>
                      <a:pt x="157627" y="210098"/>
                    </a:cubicBezTo>
                    <a:cubicBezTo>
                      <a:pt x="156251" y="217492"/>
                      <a:pt x="168643" y="213541"/>
                      <a:pt x="174151" y="213511"/>
                    </a:cubicBezTo>
                    <a:cubicBezTo>
                      <a:pt x="179659" y="213481"/>
                      <a:pt x="189208" y="214963"/>
                      <a:pt x="190674" y="209919"/>
                    </a:cubicBezTo>
                    <a:cubicBezTo>
                      <a:pt x="191662" y="206446"/>
                      <a:pt x="189238" y="203782"/>
                      <a:pt x="187711" y="200400"/>
                    </a:cubicBezTo>
                    <a:cubicBezTo>
                      <a:pt x="186933" y="196688"/>
                      <a:pt x="189822" y="192078"/>
                      <a:pt x="188699" y="187109"/>
                    </a:cubicBezTo>
                    <a:cubicBezTo>
                      <a:pt x="187576" y="182140"/>
                      <a:pt x="184269" y="174297"/>
                      <a:pt x="180976" y="170586"/>
                    </a:cubicBezTo>
                    <a:close/>
                    <a:moveTo>
                      <a:pt x="6080608" y="154062"/>
                    </a:moveTo>
                    <a:cubicBezTo>
                      <a:pt x="6075759" y="159600"/>
                      <a:pt x="6066869" y="170167"/>
                      <a:pt x="6066869" y="174447"/>
                    </a:cubicBezTo>
                    <a:cubicBezTo>
                      <a:pt x="6067138" y="179775"/>
                      <a:pt x="6081416" y="195521"/>
                      <a:pt x="6088511" y="196179"/>
                    </a:cubicBezTo>
                    <a:cubicBezTo>
                      <a:pt x="6094378" y="196329"/>
                      <a:pt x="6094947" y="193246"/>
                      <a:pt x="6097491" y="188905"/>
                    </a:cubicBezTo>
                    <a:cubicBezTo>
                      <a:pt x="6089349" y="177381"/>
                      <a:pt x="6085966" y="171514"/>
                      <a:pt x="6080608" y="154062"/>
                    </a:cubicBezTo>
                    <a:close/>
                    <a:moveTo>
                      <a:pt x="19872" y="154062"/>
                    </a:moveTo>
                    <a:cubicBezTo>
                      <a:pt x="15022" y="159600"/>
                      <a:pt x="6132" y="170167"/>
                      <a:pt x="6132" y="174447"/>
                    </a:cubicBezTo>
                    <a:cubicBezTo>
                      <a:pt x="6401" y="179775"/>
                      <a:pt x="20680" y="195521"/>
                      <a:pt x="27774" y="196179"/>
                    </a:cubicBezTo>
                    <a:cubicBezTo>
                      <a:pt x="33641" y="196329"/>
                      <a:pt x="34210" y="193246"/>
                      <a:pt x="36754" y="188905"/>
                    </a:cubicBezTo>
                    <a:cubicBezTo>
                      <a:pt x="28612" y="177381"/>
                      <a:pt x="25230" y="171514"/>
                      <a:pt x="19872" y="154062"/>
                    </a:cubicBezTo>
                    <a:close/>
                    <a:moveTo>
                      <a:pt x="6064109" y="85309"/>
                    </a:moveTo>
                    <a:lnTo>
                      <a:pt x="6063907" y="86835"/>
                    </a:lnTo>
                    <a:lnTo>
                      <a:pt x="6063840" y="85567"/>
                    </a:lnTo>
                    <a:close/>
                    <a:moveTo>
                      <a:pt x="3372" y="85308"/>
                    </a:moveTo>
                    <a:lnTo>
                      <a:pt x="3170" y="86836"/>
                    </a:lnTo>
                    <a:lnTo>
                      <a:pt x="3104" y="85567"/>
                    </a:lnTo>
                    <a:close/>
                    <a:moveTo>
                      <a:pt x="6267396" y="57929"/>
                    </a:moveTo>
                    <a:cubicBezTo>
                      <a:pt x="6267359" y="58102"/>
                      <a:pt x="6264481" y="59172"/>
                      <a:pt x="6263377" y="60803"/>
                    </a:cubicBezTo>
                    <a:cubicBezTo>
                      <a:pt x="6267946" y="62325"/>
                      <a:pt x="6269550" y="63758"/>
                      <a:pt x="6270347" y="69231"/>
                    </a:cubicBezTo>
                    <a:cubicBezTo>
                      <a:pt x="6270562" y="69190"/>
                      <a:pt x="6272066" y="67976"/>
                      <a:pt x="6277274" y="67493"/>
                    </a:cubicBezTo>
                    <a:cubicBezTo>
                      <a:pt x="6265450" y="72223"/>
                      <a:pt x="6259464" y="77312"/>
                      <a:pt x="6250873" y="86801"/>
                    </a:cubicBezTo>
                    <a:cubicBezTo>
                      <a:pt x="6253589" y="81457"/>
                      <a:pt x="6255904" y="79193"/>
                      <a:pt x="6255923" y="79126"/>
                    </a:cubicBezTo>
                    <a:cubicBezTo>
                      <a:pt x="6251426" y="77598"/>
                      <a:pt x="6250161" y="77238"/>
                      <a:pt x="6248089" y="72118"/>
                    </a:cubicBezTo>
                    <a:cubicBezTo>
                      <a:pt x="6247816" y="72268"/>
                      <a:pt x="6247363" y="72036"/>
                      <a:pt x="6243239" y="76204"/>
                    </a:cubicBezTo>
                    <a:cubicBezTo>
                      <a:pt x="6250483" y="61956"/>
                      <a:pt x="6257278" y="61043"/>
                      <a:pt x="6267396" y="57929"/>
                    </a:cubicBezTo>
                    <a:close/>
                    <a:moveTo>
                      <a:pt x="206659" y="57929"/>
                    </a:moveTo>
                    <a:cubicBezTo>
                      <a:pt x="206622" y="58102"/>
                      <a:pt x="203745" y="59172"/>
                      <a:pt x="202641" y="60803"/>
                    </a:cubicBezTo>
                    <a:cubicBezTo>
                      <a:pt x="207209" y="62325"/>
                      <a:pt x="208813" y="63758"/>
                      <a:pt x="209610" y="69231"/>
                    </a:cubicBezTo>
                    <a:cubicBezTo>
                      <a:pt x="209825" y="69190"/>
                      <a:pt x="211329" y="67976"/>
                      <a:pt x="216538" y="67493"/>
                    </a:cubicBezTo>
                    <a:cubicBezTo>
                      <a:pt x="204714" y="72223"/>
                      <a:pt x="198727" y="77312"/>
                      <a:pt x="190136" y="86801"/>
                    </a:cubicBezTo>
                    <a:cubicBezTo>
                      <a:pt x="192852" y="81457"/>
                      <a:pt x="195168" y="79193"/>
                      <a:pt x="195186" y="79126"/>
                    </a:cubicBezTo>
                    <a:cubicBezTo>
                      <a:pt x="190689" y="77598"/>
                      <a:pt x="189424" y="77238"/>
                      <a:pt x="187352" y="72118"/>
                    </a:cubicBezTo>
                    <a:cubicBezTo>
                      <a:pt x="187079" y="72268"/>
                      <a:pt x="186626" y="72036"/>
                      <a:pt x="182503" y="76204"/>
                    </a:cubicBezTo>
                    <a:cubicBezTo>
                      <a:pt x="189746" y="61956"/>
                      <a:pt x="196542" y="61043"/>
                      <a:pt x="206659" y="57929"/>
                    </a:cubicBezTo>
                    <a:close/>
                    <a:moveTo>
                      <a:pt x="6240647" y="41407"/>
                    </a:moveTo>
                    <a:cubicBezTo>
                      <a:pt x="6241352" y="41351"/>
                      <a:pt x="6242117" y="41371"/>
                      <a:pt x="6242948" y="41444"/>
                    </a:cubicBezTo>
                    <a:cubicBezTo>
                      <a:pt x="6245163" y="41638"/>
                      <a:pt x="6247849" y="42207"/>
                      <a:pt x="6251142" y="42708"/>
                    </a:cubicBezTo>
                    <a:cubicBezTo>
                      <a:pt x="6239947" y="44474"/>
                      <a:pt x="6236834" y="50730"/>
                      <a:pt x="6232104" y="61746"/>
                    </a:cubicBezTo>
                    <a:cubicBezTo>
                      <a:pt x="6233676" y="45913"/>
                      <a:pt x="6235711" y="41798"/>
                      <a:pt x="6240647" y="41407"/>
                    </a:cubicBezTo>
                    <a:close/>
                    <a:moveTo>
                      <a:pt x="179910" y="41407"/>
                    </a:moveTo>
                    <a:cubicBezTo>
                      <a:pt x="180616" y="41351"/>
                      <a:pt x="181380" y="41371"/>
                      <a:pt x="182211" y="41444"/>
                    </a:cubicBezTo>
                    <a:cubicBezTo>
                      <a:pt x="184426" y="41638"/>
                      <a:pt x="187112" y="42207"/>
                      <a:pt x="190405" y="42708"/>
                    </a:cubicBezTo>
                    <a:cubicBezTo>
                      <a:pt x="179210" y="44474"/>
                      <a:pt x="176097" y="50730"/>
                      <a:pt x="171367" y="61746"/>
                    </a:cubicBezTo>
                    <a:cubicBezTo>
                      <a:pt x="172939" y="45913"/>
                      <a:pt x="174974" y="41798"/>
                      <a:pt x="179910" y="41407"/>
                    </a:cubicBezTo>
                    <a:close/>
                    <a:moveTo>
                      <a:pt x="6343945" y="19179"/>
                    </a:moveTo>
                    <a:cubicBezTo>
                      <a:pt x="6345554" y="21250"/>
                      <a:pt x="6340660" y="29043"/>
                      <a:pt x="6335692" y="33195"/>
                    </a:cubicBezTo>
                    <a:cubicBezTo>
                      <a:pt x="6330725" y="37347"/>
                      <a:pt x="6323406" y="36921"/>
                      <a:pt x="6323434" y="35200"/>
                    </a:cubicBezTo>
                    <a:cubicBezTo>
                      <a:pt x="6323462" y="33479"/>
                      <a:pt x="6331232" y="31196"/>
                      <a:pt x="6334651" y="28526"/>
                    </a:cubicBezTo>
                    <a:cubicBezTo>
                      <a:pt x="6338069" y="25856"/>
                      <a:pt x="6342809" y="18187"/>
                      <a:pt x="6343945" y="19179"/>
                    </a:cubicBezTo>
                    <a:close/>
                    <a:moveTo>
                      <a:pt x="283209" y="19179"/>
                    </a:moveTo>
                    <a:cubicBezTo>
                      <a:pt x="284817" y="21250"/>
                      <a:pt x="279923" y="29043"/>
                      <a:pt x="274955" y="33195"/>
                    </a:cubicBezTo>
                    <a:cubicBezTo>
                      <a:pt x="269988" y="37347"/>
                      <a:pt x="262669" y="36921"/>
                      <a:pt x="262697" y="35200"/>
                    </a:cubicBezTo>
                    <a:cubicBezTo>
                      <a:pt x="262725" y="33479"/>
                      <a:pt x="270495" y="31196"/>
                      <a:pt x="273914" y="28526"/>
                    </a:cubicBezTo>
                    <a:cubicBezTo>
                      <a:pt x="277332" y="25856"/>
                      <a:pt x="282072" y="18187"/>
                      <a:pt x="283209" y="19179"/>
                    </a:cubicBezTo>
                    <a:close/>
                    <a:moveTo>
                      <a:pt x="7324639" y="2543"/>
                    </a:moveTo>
                    <a:cubicBezTo>
                      <a:pt x="7361096" y="2881"/>
                      <a:pt x="7379325" y="15888"/>
                      <a:pt x="7379325" y="41564"/>
                    </a:cubicBezTo>
                    <a:lnTo>
                      <a:pt x="7379325" y="77925"/>
                    </a:lnTo>
                    <a:cubicBezTo>
                      <a:pt x="7379325" y="94987"/>
                      <a:pt x="7387306" y="103940"/>
                      <a:pt x="7403269" y="104785"/>
                    </a:cubicBezTo>
                    <a:lnTo>
                      <a:pt x="7403269" y="123281"/>
                    </a:lnTo>
                    <a:cubicBezTo>
                      <a:pt x="7387306" y="124126"/>
                      <a:pt x="7379325" y="132910"/>
                      <a:pt x="7379325" y="149634"/>
                    </a:cubicBezTo>
                    <a:lnTo>
                      <a:pt x="7379325" y="187009"/>
                    </a:lnTo>
                    <a:cubicBezTo>
                      <a:pt x="7379325" y="212347"/>
                      <a:pt x="7361096" y="225185"/>
                      <a:pt x="7324639" y="225523"/>
                    </a:cubicBezTo>
                    <a:lnTo>
                      <a:pt x="7324639" y="206012"/>
                    </a:lnTo>
                    <a:cubicBezTo>
                      <a:pt x="7333599" y="205843"/>
                      <a:pt x="7339958" y="203816"/>
                      <a:pt x="7343717" y="199931"/>
                    </a:cubicBezTo>
                    <a:cubicBezTo>
                      <a:pt x="7347476" y="196046"/>
                      <a:pt x="7349356" y="189627"/>
                      <a:pt x="7349356" y="180674"/>
                    </a:cubicBezTo>
                    <a:lnTo>
                      <a:pt x="7349356" y="145326"/>
                    </a:lnTo>
                    <a:cubicBezTo>
                      <a:pt x="7349356" y="128181"/>
                      <a:pt x="7359500" y="117749"/>
                      <a:pt x="7379788" y="114033"/>
                    </a:cubicBezTo>
                    <a:lnTo>
                      <a:pt x="7379788" y="113653"/>
                    </a:lnTo>
                    <a:cubicBezTo>
                      <a:pt x="7359500" y="109683"/>
                      <a:pt x="7349356" y="99168"/>
                      <a:pt x="7349356" y="82106"/>
                    </a:cubicBezTo>
                    <a:lnTo>
                      <a:pt x="7349356" y="46379"/>
                    </a:lnTo>
                    <a:cubicBezTo>
                      <a:pt x="7349356" y="30584"/>
                      <a:pt x="7341117" y="22518"/>
                      <a:pt x="7324639" y="22181"/>
                    </a:cubicBezTo>
                    <a:close/>
                    <a:moveTo>
                      <a:pt x="7303320" y="2543"/>
                    </a:moveTo>
                    <a:lnTo>
                      <a:pt x="7303320" y="22181"/>
                    </a:lnTo>
                    <a:cubicBezTo>
                      <a:pt x="7286946" y="22518"/>
                      <a:pt x="7278758" y="30584"/>
                      <a:pt x="7278758" y="46379"/>
                    </a:cubicBezTo>
                    <a:lnTo>
                      <a:pt x="7278758" y="82106"/>
                    </a:lnTo>
                    <a:cubicBezTo>
                      <a:pt x="7278758" y="99168"/>
                      <a:pt x="7268511" y="109683"/>
                      <a:pt x="7248017" y="113653"/>
                    </a:cubicBezTo>
                    <a:lnTo>
                      <a:pt x="7248017" y="114033"/>
                    </a:lnTo>
                    <a:cubicBezTo>
                      <a:pt x="7268511" y="117749"/>
                      <a:pt x="7278758" y="128181"/>
                      <a:pt x="7278758" y="145326"/>
                    </a:cubicBezTo>
                    <a:lnTo>
                      <a:pt x="7278758" y="180674"/>
                    </a:lnTo>
                    <a:cubicBezTo>
                      <a:pt x="7278758" y="189711"/>
                      <a:pt x="7280586" y="196151"/>
                      <a:pt x="7284242" y="199994"/>
                    </a:cubicBezTo>
                    <a:cubicBezTo>
                      <a:pt x="7287898" y="203837"/>
                      <a:pt x="7294258" y="205843"/>
                      <a:pt x="7303320" y="206012"/>
                    </a:cubicBezTo>
                    <a:lnTo>
                      <a:pt x="7303320" y="225523"/>
                    </a:lnTo>
                    <a:cubicBezTo>
                      <a:pt x="7266657" y="225185"/>
                      <a:pt x="7248326" y="212347"/>
                      <a:pt x="7248326" y="187009"/>
                    </a:cubicBezTo>
                    <a:lnTo>
                      <a:pt x="7248326" y="149634"/>
                    </a:lnTo>
                    <a:cubicBezTo>
                      <a:pt x="7248326" y="132910"/>
                      <a:pt x="7240293" y="124126"/>
                      <a:pt x="7224227" y="123281"/>
                    </a:cubicBezTo>
                    <a:lnTo>
                      <a:pt x="7224227" y="104785"/>
                    </a:lnTo>
                    <a:cubicBezTo>
                      <a:pt x="7240293" y="103940"/>
                      <a:pt x="7248326" y="94987"/>
                      <a:pt x="7248326" y="77925"/>
                    </a:cubicBezTo>
                    <a:lnTo>
                      <a:pt x="7248326" y="41564"/>
                    </a:lnTo>
                    <a:cubicBezTo>
                      <a:pt x="7248326" y="15888"/>
                      <a:pt x="7266657" y="2881"/>
                      <a:pt x="7303320" y="2543"/>
                    </a:cubicBezTo>
                    <a:close/>
                    <a:moveTo>
                      <a:pt x="1261413" y="2543"/>
                    </a:moveTo>
                    <a:cubicBezTo>
                      <a:pt x="1297871" y="2881"/>
                      <a:pt x="1316099" y="15888"/>
                      <a:pt x="1316099" y="41564"/>
                    </a:cubicBezTo>
                    <a:lnTo>
                      <a:pt x="1316099" y="77925"/>
                    </a:lnTo>
                    <a:cubicBezTo>
                      <a:pt x="1316099" y="94987"/>
                      <a:pt x="1324080" y="103940"/>
                      <a:pt x="1340043" y="104785"/>
                    </a:cubicBezTo>
                    <a:lnTo>
                      <a:pt x="1340043" y="123281"/>
                    </a:lnTo>
                    <a:cubicBezTo>
                      <a:pt x="1324080" y="124126"/>
                      <a:pt x="1316099" y="132910"/>
                      <a:pt x="1316099" y="149634"/>
                    </a:cubicBezTo>
                    <a:lnTo>
                      <a:pt x="1316099" y="187009"/>
                    </a:lnTo>
                    <a:cubicBezTo>
                      <a:pt x="1316099" y="212347"/>
                      <a:pt x="1297871" y="225185"/>
                      <a:pt x="1261413" y="225523"/>
                    </a:cubicBezTo>
                    <a:lnTo>
                      <a:pt x="1261413" y="206012"/>
                    </a:lnTo>
                    <a:cubicBezTo>
                      <a:pt x="1270373" y="205843"/>
                      <a:pt x="1276732" y="203816"/>
                      <a:pt x="1280491" y="199931"/>
                    </a:cubicBezTo>
                    <a:cubicBezTo>
                      <a:pt x="1284250" y="196046"/>
                      <a:pt x="1286130" y="189627"/>
                      <a:pt x="1286130" y="180674"/>
                    </a:cubicBezTo>
                    <a:lnTo>
                      <a:pt x="1286130" y="145326"/>
                    </a:lnTo>
                    <a:cubicBezTo>
                      <a:pt x="1286130" y="128181"/>
                      <a:pt x="1296274" y="117749"/>
                      <a:pt x="1316562" y="114033"/>
                    </a:cubicBezTo>
                    <a:lnTo>
                      <a:pt x="1316562" y="113653"/>
                    </a:lnTo>
                    <a:cubicBezTo>
                      <a:pt x="1296274" y="109683"/>
                      <a:pt x="1286130" y="99168"/>
                      <a:pt x="1286130" y="82106"/>
                    </a:cubicBezTo>
                    <a:lnTo>
                      <a:pt x="1286130" y="46379"/>
                    </a:lnTo>
                    <a:cubicBezTo>
                      <a:pt x="1286130" y="30584"/>
                      <a:pt x="1277891" y="22518"/>
                      <a:pt x="1261413" y="22181"/>
                    </a:cubicBezTo>
                    <a:close/>
                    <a:moveTo>
                      <a:pt x="1240095" y="2543"/>
                    </a:moveTo>
                    <a:lnTo>
                      <a:pt x="1240095" y="22181"/>
                    </a:lnTo>
                    <a:cubicBezTo>
                      <a:pt x="1223720" y="22518"/>
                      <a:pt x="1215533" y="30584"/>
                      <a:pt x="1215533" y="46379"/>
                    </a:cubicBezTo>
                    <a:lnTo>
                      <a:pt x="1215533" y="82106"/>
                    </a:lnTo>
                    <a:cubicBezTo>
                      <a:pt x="1215533" y="99168"/>
                      <a:pt x="1205285" y="109683"/>
                      <a:pt x="1184791" y="113653"/>
                    </a:cubicBezTo>
                    <a:lnTo>
                      <a:pt x="1184791" y="114033"/>
                    </a:lnTo>
                    <a:cubicBezTo>
                      <a:pt x="1205285" y="117749"/>
                      <a:pt x="1215533" y="128181"/>
                      <a:pt x="1215533" y="145326"/>
                    </a:cubicBezTo>
                    <a:lnTo>
                      <a:pt x="1215533" y="180674"/>
                    </a:lnTo>
                    <a:cubicBezTo>
                      <a:pt x="1215533" y="189711"/>
                      <a:pt x="1217360" y="196151"/>
                      <a:pt x="1221017" y="199994"/>
                    </a:cubicBezTo>
                    <a:cubicBezTo>
                      <a:pt x="1224672" y="203837"/>
                      <a:pt x="1231032" y="205843"/>
                      <a:pt x="1240095" y="206012"/>
                    </a:cubicBezTo>
                    <a:lnTo>
                      <a:pt x="1240095" y="225523"/>
                    </a:lnTo>
                    <a:cubicBezTo>
                      <a:pt x="1203431" y="225185"/>
                      <a:pt x="1185100" y="212347"/>
                      <a:pt x="1185100" y="187009"/>
                    </a:cubicBezTo>
                    <a:lnTo>
                      <a:pt x="1185100" y="149634"/>
                    </a:lnTo>
                    <a:cubicBezTo>
                      <a:pt x="1185100" y="132910"/>
                      <a:pt x="1177067" y="124126"/>
                      <a:pt x="1161001" y="123281"/>
                    </a:cubicBezTo>
                    <a:lnTo>
                      <a:pt x="1161001" y="104785"/>
                    </a:lnTo>
                    <a:cubicBezTo>
                      <a:pt x="1177067" y="103940"/>
                      <a:pt x="1185100" y="94987"/>
                      <a:pt x="1185100" y="77925"/>
                    </a:cubicBezTo>
                    <a:lnTo>
                      <a:pt x="1185100" y="41564"/>
                    </a:lnTo>
                    <a:cubicBezTo>
                      <a:pt x="1185100" y="15888"/>
                      <a:pt x="1203431" y="2881"/>
                      <a:pt x="1240095" y="2543"/>
                    </a:cubicBezTo>
                    <a:close/>
                    <a:moveTo>
                      <a:pt x="6239304" y="46"/>
                    </a:moveTo>
                    <a:cubicBezTo>
                      <a:pt x="6241257" y="121"/>
                      <a:pt x="6243227" y="290"/>
                      <a:pt x="6245208" y="563"/>
                    </a:cubicBezTo>
                    <a:cubicBezTo>
                      <a:pt x="6261051" y="2751"/>
                      <a:pt x="6281433" y="19365"/>
                      <a:pt x="6288484" y="29981"/>
                    </a:cubicBezTo>
                    <a:cubicBezTo>
                      <a:pt x="6297966" y="32575"/>
                      <a:pt x="6304003" y="46311"/>
                      <a:pt x="6306475" y="51133"/>
                    </a:cubicBezTo>
                    <a:cubicBezTo>
                      <a:pt x="6308947" y="55955"/>
                      <a:pt x="6306070" y="58711"/>
                      <a:pt x="6303314" y="58913"/>
                    </a:cubicBezTo>
                    <a:cubicBezTo>
                      <a:pt x="6303274" y="59501"/>
                      <a:pt x="6311814" y="66329"/>
                      <a:pt x="6316428" y="69018"/>
                    </a:cubicBezTo>
                    <a:cubicBezTo>
                      <a:pt x="6319999" y="53494"/>
                      <a:pt x="6314817" y="43075"/>
                      <a:pt x="6314741" y="31684"/>
                    </a:cubicBezTo>
                    <a:cubicBezTo>
                      <a:pt x="6320171" y="22202"/>
                      <a:pt x="6324628" y="25605"/>
                      <a:pt x="6330058" y="21959"/>
                    </a:cubicBezTo>
                    <a:cubicBezTo>
                      <a:pt x="6333300" y="18231"/>
                      <a:pt x="6336298" y="10370"/>
                      <a:pt x="6341971" y="10775"/>
                    </a:cubicBezTo>
                    <a:cubicBezTo>
                      <a:pt x="6351858" y="11180"/>
                      <a:pt x="6364420" y="29577"/>
                      <a:pt x="6364825" y="73258"/>
                    </a:cubicBezTo>
                    <a:cubicBezTo>
                      <a:pt x="6365068" y="107943"/>
                      <a:pt x="6351210" y="131202"/>
                      <a:pt x="6327141" y="141576"/>
                    </a:cubicBezTo>
                    <a:cubicBezTo>
                      <a:pt x="6314832" y="144858"/>
                      <a:pt x="6304268" y="144653"/>
                      <a:pt x="6295114" y="142294"/>
                    </a:cubicBezTo>
                    <a:lnTo>
                      <a:pt x="6291107" y="140899"/>
                    </a:lnTo>
                    <a:lnTo>
                      <a:pt x="6290627" y="143175"/>
                    </a:lnTo>
                    <a:cubicBezTo>
                      <a:pt x="6285742" y="161915"/>
                      <a:pt x="6272007" y="163356"/>
                      <a:pt x="6265873" y="163214"/>
                    </a:cubicBezTo>
                    <a:cubicBezTo>
                      <a:pt x="6258863" y="163052"/>
                      <a:pt x="6248490" y="156568"/>
                      <a:pt x="6244235" y="153489"/>
                    </a:cubicBezTo>
                    <a:cubicBezTo>
                      <a:pt x="6244113" y="158189"/>
                      <a:pt x="6245207" y="159851"/>
                      <a:pt x="6243262" y="166131"/>
                    </a:cubicBezTo>
                    <a:cubicBezTo>
                      <a:pt x="6248368" y="169495"/>
                      <a:pt x="6251447" y="181489"/>
                      <a:pt x="6252987" y="186797"/>
                    </a:cubicBezTo>
                    <a:cubicBezTo>
                      <a:pt x="6254527" y="192105"/>
                      <a:pt x="6252623" y="193321"/>
                      <a:pt x="6252501" y="197981"/>
                    </a:cubicBezTo>
                    <a:cubicBezTo>
                      <a:pt x="6252380" y="202640"/>
                      <a:pt x="6257242" y="206368"/>
                      <a:pt x="6254689" y="211839"/>
                    </a:cubicBezTo>
                    <a:cubicBezTo>
                      <a:pt x="6252136" y="217309"/>
                      <a:pt x="6245491" y="217593"/>
                      <a:pt x="6238643" y="217674"/>
                    </a:cubicBezTo>
                    <a:cubicBezTo>
                      <a:pt x="6231795" y="217755"/>
                      <a:pt x="6216478" y="222455"/>
                      <a:pt x="6213601" y="212325"/>
                    </a:cubicBezTo>
                    <a:cubicBezTo>
                      <a:pt x="6213241" y="211059"/>
                      <a:pt x="6212989" y="209550"/>
                      <a:pt x="6212837" y="207841"/>
                    </a:cubicBezTo>
                    <a:cubicBezTo>
                      <a:pt x="6212823" y="207389"/>
                      <a:pt x="6212810" y="206938"/>
                      <a:pt x="6212797" y="206487"/>
                    </a:cubicBezTo>
                    <a:lnTo>
                      <a:pt x="6209032" y="210055"/>
                    </a:lnTo>
                    <a:cubicBezTo>
                      <a:pt x="6200426" y="218156"/>
                      <a:pt x="6192667" y="224785"/>
                      <a:pt x="6185399" y="224481"/>
                    </a:cubicBezTo>
                    <a:cubicBezTo>
                      <a:pt x="6173283" y="222050"/>
                      <a:pt x="6163923" y="202762"/>
                      <a:pt x="6161816" y="196036"/>
                    </a:cubicBezTo>
                    <a:cubicBezTo>
                      <a:pt x="6159708" y="189309"/>
                      <a:pt x="6166556" y="188053"/>
                      <a:pt x="6172756" y="184122"/>
                    </a:cubicBezTo>
                    <a:cubicBezTo>
                      <a:pt x="6166556" y="187729"/>
                      <a:pt x="6149781" y="184771"/>
                      <a:pt x="6147714" y="181691"/>
                    </a:cubicBezTo>
                    <a:cubicBezTo>
                      <a:pt x="6148322" y="188093"/>
                      <a:pt x="6147957" y="189025"/>
                      <a:pt x="6146742" y="192632"/>
                    </a:cubicBezTo>
                    <a:cubicBezTo>
                      <a:pt x="6145526" y="196238"/>
                      <a:pt x="6142325" y="198345"/>
                      <a:pt x="6140420" y="203329"/>
                    </a:cubicBezTo>
                    <a:cubicBezTo>
                      <a:pt x="6138516" y="208313"/>
                      <a:pt x="6142892" y="220753"/>
                      <a:pt x="6135315" y="222536"/>
                    </a:cubicBezTo>
                    <a:cubicBezTo>
                      <a:pt x="6127737" y="224319"/>
                      <a:pt x="6104195" y="223630"/>
                      <a:pt x="6094956" y="214027"/>
                    </a:cubicBezTo>
                    <a:cubicBezTo>
                      <a:pt x="6091066" y="209286"/>
                      <a:pt x="6097387" y="201952"/>
                      <a:pt x="6095929" y="199926"/>
                    </a:cubicBezTo>
                    <a:cubicBezTo>
                      <a:pt x="6094470" y="197899"/>
                      <a:pt x="6092039" y="205882"/>
                      <a:pt x="6086204" y="201871"/>
                    </a:cubicBezTo>
                    <a:cubicBezTo>
                      <a:pt x="6080369" y="197859"/>
                      <a:pt x="6062580" y="184649"/>
                      <a:pt x="6060919" y="175856"/>
                    </a:cubicBezTo>
                    <a:cubicBezTo>
                      <a:pt x="6059257" y="167063"/>
                      <a:pt x="6069388" y="157824"/>
                      <a:pt x="6076236" y="149112"/>
                    </a:cubicBezTo>
                    <a:cubicBezTo>
                      <a:pt x="6074574" y="139671"/>
                      <a:pt x="6073885" y="133350"/>
                      <a:pt x="6077694" y="122369"/>
                    </a:cubicBezTo>
                    <a:cubicBezTo>
                      <a:pt x="6072589" y="119249"/>
                      <a:pt x="6061486" y="114832"/>
                      <a:pt x="6062134" y="100245"/>
                    </a:cubicBezTo>
                    <a:lnTo>
                      <a:pt x="6063907" y="86835"/>
                    </a:lnTo>
                    <a:lnTo>
                      <a:pt x="6064369" y="95615"/>
                    </a:lnTo>
                    <a:lnTo>
                      <a:pt x="6065198" y="96013"/>
                    </a:lnTo>
                    <a:lnTo>
                      <a:pt x="6065321" y="97195"/>
                    </a:lnTo>
                    <a:cubicBezTo>
                      <a:pt x="6066352" y="105631"/>
                      <a:pt x="6069114" y="114976"/>
                      <a:pt x="6085009" y="111137"/>
                    </a:cubicBezTo>
                    <a:cubicBezTo>
                      <a:pt x="6078172" y="147413"/>
                      <a:pt x="6093613" y="165400"/>
                      <a:pt x="6103355" y="182245"/>
                    </a:cubicBezTo>
                    <a:lnTo>
                      <a:pt x="6104323" y="184107"/>
                    </a:lnTo>
                    <a:lnTo>
                      <a:pt x="6104289" y="184981"/>
                    </a:lnTo>
                    <a:cubicBezTo>
                      <a:pt x="6103996" y="190123"/>
                      <a:pt x="6103261" y="193687"/>
                      <a:pt x="6102879" y="198514"/>
                    </a:cubicBezTo>
                    <a:cubicBezTo>
                      <a:pt x="6101772" y="202316"/>
                      <a:pt x="6099048" y="201896"/>
                      <a:pt x="6099557" y="209919"/>
                    </a:cubicBezTo>
                    <a:cubicBezTo>
                      <a:pt x="6099886" y="214918"/>
                      <a:pt x="6129221" y="222970"/>
                      <a:pt x="6133951" y="216564"/>
                    </a:cubicBezTo>
                    <a:cubicBezTo>
                      <a:pt x="6135328" y="214349"/>
                      <a:pt x="6134729" y="209260"/>
                      <a:pt x="6135118" y="205608"/>
                    </a:cubicBezTo>
                    <a:cubicBezTo>
                      <a:pt x="6135717" y="201537"/>
                      <a:pt x="6140985" y="197107"/>
                      <a:pt x="6141763" y="191330"/>
                    </a:cubicBezTo>
                    <a:cubicBezTo>
                      <a:pt x="6142272" y="186735"/>
                      <a:pt x="6142220" y="181534"/>
                      <a:pt x="6142044" y="176120"/>
                    </a:cubicBezTo>
                    <a:lnTo>
                      <a:pt x="6141834" y="170402"/>
                    </a:lnTo>
                    <a:lnTo>
                      <a:pt x="6143434" y="172264"/>
                    </a:lnTo>
                    <a:cubicBezTo>
                      <a:pt x="6153776" y="182812"/>
                      <a:pt x="6175712" y="186365"/>
                      <a:pt x="6183072" y="170047"/>
                    </a:cubicBezTo>
                    <a:cubicBezTo>
                      <a:pt x="6183162" y="175285"/>
                      <a:pt x="6184868" y="177291"/>
                      <a:pt x="6183970" y="183876"/>
                    </a:cubicBezTo>
                    <a:cubicBezTo>
                      <a:pt x="6181396" y="188037"/>
                      <a:pt x="6169931" y="188965"/>
                      <a:pt x="6166818" y="196628"/>
                    </a:cubicBezTo>
                    <a:cubicBezTo>
                      <a:pt x="6165890" y="199831"/>
                      <a:pt x="6178073" y="219019"/>
                      <a:pt x="6185856" y="219707"/>
                    </a:cubicBezTo>
                    <a:cubicBezTo>
                      <a:pt x="6191514" y="220366"/>
                      <a:pt x="6202020" y="209260"/>
                      <a:pt x="6221148" y="191779"/>
                    </a:cubicBezTo>
                    <a:cubicBezTo>
                      <a:pt x="6224109" y="189073"/>
                      <a:pt x="6235307" y="167832"/>
                      <a:pt x="6240366" y="149662"/>
                    </a:cubicBezTo>
                    <a:cubicBezTo>
                      <a:pt x="6235209" y="147072"/>
                      <a:pt x="6227736" y="140903"/>
                      <a:pt x="6223388" y="131275"/>
                    </a:cubicBezTo>
                    <a:lnTo>
                      <a:pt x="6223193" y="130763"/>
                    </a:lnTo>
                    <a:lnTo>
                      <a:pt x="6225829" y="132423"/>
                    </a:lnTo>
                    <a:cubicBezTo>
                      <a:pt x="6232463" y="136843"/>
                      <a:pt x="6239198" y="141692"/>
                      <a:pt x="6245125" y="143106"/>
                    </a:cubicBezTo>
                    <a:cubicBezTo>
                      <a:pt x="6249496" y="148135"/>
                      <a:pt x="6254584" y="156128"/>
                      <a:pt x="6266588" y="157654"/>
                    </a:cubicBezTo>
                    <a:cubicBezTo>
                      <a:pt x="6276825" y="159390"/>
                      <a:pt x="6284099" y="149722"/>
                      <a:pt x="6287691" y="139155"/>
                    </a:cubicBezTo>
                    <a:lnTo>
                      <a:pt x="6284369" y="138886"/>
                    </a:lnTo>
                    <a:cubicBezTo>
                      <a:pt x="6269102" y="164479"/>
                      <a:pt x="6252968" y="141138"/>
                      <a:pt x="6256388" y="116588"/>
                    </a:cubicBezTo>
                    <a:lnTo>
                      <a:pt x="6257318" y="111780"/>
                    </a:lnTo>
                    <a:lnTo>
                      <a:pt x="6259082" y="113702"/>
                    </a:lnTo>
                    <a:cubicBezTo>
                      <a:pt x="6289560" y="144762"/>
                      <a:pt x="6316209" y="140221"/>
                      <a:pt x="6331335" y="131971"/>
                    </a:cubicBezTo>
                    <a:cubicBezTo>
                      <a:pt x="6372764" y="106437"/>
                      <a:pt x="6360625" y="18316"/>
                      <a:pt x="6343279" y="14061"/>
                    </a:cubicBezTo>
                    <a:cubicBezTo>
                      <a:pt x="6339312" y="13088"/>
                      <a:pt x="6336544" y="23311"/>
                      <a:pt x="6333939" y="24838"/>
                    </a:cubicBezTo>
                    <a:cubicBezTo>
                      <a:pt x="6325947" y="29058"/>
                      <a:pt x="6322445" y="28430"/>
                      <a:pt x="6320289" y="31752"/>
                    </a:cubicBezTo>
                    <a:cubicBezTo>
                      <a:pt x="6316024" y="37982"/>
                      <a:pt x="6331727" y="74047"/>
                      <a:pt x="6311755" y="92959"/>
                    </a:cubicBezTo>
                    <a:lnTo>
                      <a:pt x="6310264" y="94135"/>
                    </a:lnTo>
                    <a:lnTo>
                      <a:pt x="6310578" y="93530"/>
                    </a:lnTo>
                    <a:cubicBezTo>
                      <a:pt x="6314362" y="86217"/>
                      <a:pt x="6318336" y="77843"/>
                      <a:pt x="6313824" y="74318"/>
                    </a:cubicBezTo>
                    <a:cubicBezTo>
                      <a:pt x="6308525" y="70098"/>
                      <a:pt x="6305203" y="73330"/>
                      <a:pt x="6301162" y="76743"/>
                    </a:cubicBezTo>
                    <a:cubicBezTo>
                      <a:pt x="6303766" y="73779"/>
                      <a:pt x="6306909" y="73241"/>
                      <a:pt x="6302509" y="66236"/>
                    </a:cubicBezTo>
                    <a:cubicBezTo>
                      <a:pt x="6299006" y="63871"/>
                      <a:pt x="6297120" y="64470"/>
                      <a:pt x="6290655" y="66146"/>
                    </a:cubicBezTo>
                    <a:cubicBezTo>
                      <a:pt x="6294756" y="63093"/>
                      <a:pt x="6296073" y="64260"/>
                      <a:pt x="6294067" y="58334"/>
                    </a:cubicBezTo>
                    <a:cubicBezTo>
                      <a:pt x="6291328" y="54652"/>
                      <a:pt x="6289953" y="54960"/>
                      <a:pt x="6287214" y="55168"/>
                    </a:cubicBezTo>
                    <a:lnTo>
                      <a:pt x="6285315" y="55181"/>
                    </a:lnTo>
                    <a:lnTo>
                      <a:pt x="6286877" y="54620"/>
                    </a:lnTo>
                    <a:cubicBezTo>
                      <a:pt x="6287752" y="54326"/>
                      <a:pt x="6288544" y="54087"/>
                      <a:pt x="6289218" y="53933"/>
                    </a:cubicBezTo>
                    <a:cubicBezTo>
                      <a:pt x="6294606" y="52706"/>
                      <a:pt x="6300503" y="54397"/>
                      <a:pt x="6300533" y="51329"/>
                    </a:cubicBezTo>
                    <a:cubicBezTo>
                      <a:pt x="6301192" y="47976"/>
                      <a:pt x="6292780" y="37529"/>
                      <a:pt x="6289038" y="36691"/>
                    </a:cubicBezTo>
                    <a:cubicBezTo>
                      <a:pt x="6287040" y="36063"/>
                      <a:pt x="6281809" y="35535"/>
                      <a:pt x="6277058" y="35222"/>
                    </a:cubicBezTo>
                    <a:lnTo>
                      <a:pt x="6275952" y="35163"/>
                    </a:lnTo>
                    <a:lnTo>
                      <a:pt x="6275961" y="35140"/>
                    </a:lnTo>
                    <a:cubicBezTo>
                      <a:pt x="6277089" y="33582"/>
                      <a:pt x="6280844" y="33010"/>
                      <a:pt x="6283740" y="32740"/>
                    </a:cubicBezTo>
                    <a:cubicBezTo>
                      <a:pt x="6271587" y="16696"/>
                      <a:pt x="6255213" y="6398"/>
                      <a:pt x="6241084" y="6608"/>
                    </a:cubicBezTo>
                    <a:cubicBezTo>
                      <a:pt x="6224052" y="7117"/>
                      <a:pt x="6202709" y="11487"/>
                      <a:pt x="6190616" y="30226"/>
                    </a:cubicBezTo>
                    <a:cubicBezTo>
                      <a:pt x="6196797" y="30158"/>
                      <a:pt x="6201395" y="30186"/>
                      <a:pt x="6204848" y="30553"/>
                    </a:cubicBezTo>
                    <a:lnTo>
                      <a:pt x="6205425" y="30636"/>
                    </a:lnTo>
                    <a:lnTo>
                      <a:pt x="6203015" y="31291"/>
                    </a:lnTo>
                    <a:cubicBezTo>
                      <a:pt x="6190209" y="34372"/>
                      <a:pt x="6181287" y="33912"/>
                      <a:pt x="6178416" y="36408"/>
                    </a:cubicBezTo>
                    <a:cubicBezTo>
                      <a:pt x="6172413" y="40608"/>
                      <a:pt x="6133543" y="76418"/>
                      <a:pt x="6131940" y="96693"/>
                    </a:cubicBezTo>
                    <a:cubicBezTo>
                      <a:pt x="6136057" y="107455"/>
                      <a:pt x="6136831" y="99850"/>
                      <a:pt x="6145922" y="118805"/>
                    </a:cubicBezTo>
                    <a:lnTo>
                      <a:pt x="6160428" y="102267"/>
                    </a:lnTo>
                    <a:lnTo>
                      <a:pt x="6143456" y="137373"/>
                    </a:lnTo>
                    <a:cubicBezTo>
                      <a:pt x="6147688" y="143553"/>
                      <a:pt x="6150573" y="146860"/>
                      <a:pt x="6159385" y="146754"/>
                    </a:cubicBezTo>
                    <a:cubicBezTo>
                      <a:pt x="6168796" y="145506"/>
                      <a:pt x="6177488" y="137792"/>
                      <a:pt x="6186540" y="133311"/>
                    </a:cubicBezTo>
                    <a:cubicBezTo>
                      <a:pt x="6195486" y="129588"/>
                      <a:pt x="6198145" y="132150"/>
                      <a:pt x="6203948" y="131570"/>
                    </a:cubicBezTo>
                    <a:cubicBezTo>
                      <a:pt x="6216175" y="98406"/>
                      <a:pt x="6196971" y="98558"/>
                      <a:pt x="6210185" y="62520"/>
                    </a:cubicBezTo>
                    <a:cubicBezTo>
                      <a:pt x="6205488" y="91629"/>
                      <a:pt x="6224139" y="91643"/>
                      <a:pt x="6210911" y="140419"/>
                    </a:cubicBezTo>
                    <a:lnTo>
                      <a:pt x="6208803" y="140074"/>
                    </a:lnTo>
                    <a:lnTo>
                      <a:pt x="6206134" y="139391"/>
                    </a:lnTo>
                    <a:lnTo>
                      <a:pt x="6203400" y="138965"/>
                    </a:lnTo>
                    <a:lnTo>
                      <a:pt x="6202634" y="138787"/>
                    </a:lnTo>
                    <a:cubicBezTo>
                      <a:pt x="6200565" y="138379"/>
                      <a:pt x="6198389" y="138161"/>
                      <a:pt x="6195863" y="138558"/>
                    </a:cubicBezTo>
                    <a:lnTo>
                      <a:pt x="6194877" y="138788"/>
                    </a:lnTo>
                    <a:lnTo>
                      <a:pt x="6194282" y="138839"/>
                    </a:lnTo>
                    <a:cubicBezTo>
                      <a:pt x="6181080" y="140895"/>
                      <a:pt x="6176225" y="152535"/>
                      <a:pt x="6155054" y="154781"/>
                    </a:cubicBezTo>
                    <a:cubicBezTo>
                      <a:pt x="6148742" y="153550"/>
                      <a:pt x="6138648" y="144274"/>
                      <a:pt x="6132714" y="137062"/>
                    </a:cubicBezTo>
                    <a:lnTo>
                      <a:pt x="6132256" y="136468"/>
                    </a:lnTo>
                    <a:lnTo>
                      <a:pt x="6133978" y="133591"/>
                    </a:lnTo>
                    <a:cubicBezTo>
                      <a:pt x="6135818" y="130725"/>
                      <a:pt x="6137831" y="127795"/>
                      <a:pt x="6140057" y="124787"/>
                    </a:cubicBezTo>
                    <a:cubicBezTo>
                      <a:pt x="6136166" y="114340"/>
                      <a:pt x="6125898" y="110718"/>
                      <a:pt x="6122995" y="97756"/>
                    </a:cubicBezTo>
                    <a:cubicBezTo>
                      <a:pt x="6127694" y="84346"/>
                      <a:pt x="6129610" y="75605"/>
                      <a:pt x="6153258" y="51598"/>
                    </a:cubicBezTo>
                    <a:cubicBezTo>
                      <a:pt x="6090397" y="60608"/>
                      <a:pt x="6090583" y="111215"/>
                      <a:pt x="6073203" y="98980"/>
                    </a:cubicBezTo>
                    <a:lnTo>
                      <a:pt x="6069578" y="95717"/>
                    </a:lnTo>
                    <a:lnTo>
                      <a:pt x="6070638" y="95122"/>
                    </a:lnTo>
                    <a:cubicBezTo>
                      <a:pt x="6077044" y="90807"/>
                      <a:pt x="6069458" y="84593"/>
                      <a:pt x="6074592" y="75216"/>
                    </a:cubicBezTo>
                    <a:lnTo>
                      <a:pt x="6064109" y="85309"/>
                    </a:lnTo>
                    <a:lnTo>
                      <a:pt x="6065021" y="78409"/>
                    </a:lnTo>
                    <a:cubicBezTo>
                      <a:pt x="6070117" y="73339"/>
                      <a:pt x="6077005" y="70482"/>
                      <a:pt x="6078667" y="69854"/>
                    </a:cubicBezTo>
                    <a:cubicBezTo>
                      <a:pt x="6075546" y="79376"/>
                      <a:pt x="6082354" y="86022"/>
                      <a:pt x="6078667" y="93680"/>
                    </a:cubicBezTo>
                    <a:cubicBezTo>
                      <a:pt x="6114123" y="48581"/>
                      <a:pt x="6138597" y="45704"/>
                      <a:pt x="6155008" y="45298"/>
                    </a:cubicBezTo>
                    <a:cubicBezTo>
                      <a:pt x="6167772" y="33953"/>
                      <a:pt x="6168866" y="30994"/>
                      <a:pt x="6177619" y="28766"/>
                    </a:cubicBezTo>
                    <a:lnTo>
                      <a:pt x="6183655" y="28133"/>
                    </a:lnTo>
                    <a:lnTo>
                      <a:pt x="6184354" y="26636"/>
                    </a:lnTo>
                    <a:cubicBezTo>
                      <a:pt x="6189726" y="15967"/>
                      <a:pt x="6194415" y="12639"/>
                      <a:pt x="6203633" y="8100"/>
                    </a:cubicBezTo>
                    <a:cubicBezTo>
                      <a:pt x="6212852" y="3562"/>
                      <a:pt x="6225638" y="-480"/>
                      <a:pt x="6239304" y="46"/>
                    </a:cubicBezTo>
                    <a:close/>
                    <a:moveTo>
                      <a:pt x="178568" y="46"/>
                    </a:moveTo>
                    <a:cubicBezTo>
                      <a:pt x="180520" y="121"/>
                      <a:pt x="182490" y="290"/>
                      <a:pt x="184471" y="563"/>
                    </a:cubicBezTo>
                    <a:cubicBezTo>
                      <a:pt x="200314" y="2751"/>
                      <a:pt x="220696" y="19365"/>
                      <a:pt x="227747" y="29981"/>
                    </a:cubicBezTo>
                    <a:cubicBezTo>
                      <a:pt x="237229" y="32575"/>
                      <a:pt x="243266" y="46311"/>
                      <a:pt x="245738" y="51133"/>
                    </a:cubicBezTo>
                    <a:cubicBezTo>
                      <a:pt x="248210" y="55955"/>
                      <a:pt x="245333" y="58711"/>
                      <a:pt x="242578" y="58913"/>
                    </a:cubicBezTo>
                    <a:cubicBezTo>
                      <a:pt x="242537" y="59501"/>
                      <a:pt x="251077" y="66329"/>
                      <a:pt x="255691" y="69018"/>
                    </a:cubicBezTo>
                    <a:cubicBezTo>
                      <a:pt x="259262" y="53494"/>
                      <a:pt x="254080" y="43075"/>
                      <a:pt x="254005" y="31684"/>
                    </a:cubicBezTo>
                    <a:cubicBezTo>
                      <a:pt x="259434" y="22202"/>
                      <a:pt x="263892" y="25605"/>
                      <a:pt x="269321" y="21959"/>
                    </a:cubicBezTo>
                    <a:cubicBezTo>
                      <a:pt x="272563" y="18231"/>
                      <a:pt x="275562" y="10370"/>
                      <a:pt x="281235" y="10775"/>
                    </a:cubicBezTo>
                    <a:cubicBezTo>
                      <a:pt x="291121" y="11180"/>
                      <a:pt x="303683" y="29577"/>
                      <a:pt x="304088" y="73258"/>
                    </a:cubicBezTo>
                    <a:cubicBezTo>
                      <a:pt x="304331" y="107943"/>
                      <a:pt x="290473" y="131202"/>
                      <a:pt x="266404" y="141576"/>
                    </a:cubicBezTo>
                    <a:cubicBezTo>
                      <a:pt x="254096" y="144858"/>
                      <a:pt x="243531" y="144653"/>
                      <a:pt x="234377" y="142294"/>
                    </a:cubicBezTo>
                    <a:lnTo>
                      <a:pt x="230371" y="140899"/>
                    </a:lnTo>
                    <a:lnTo>
                      <a:pt x="229890" y="143175"/>
                    </a:lnTo>
                    <a:cubicBezTo>
                      <a:pt x="225005" y="161915"/>
                      <a:pt x="211270" y="163356"/>
                      <a:pt x="205136" y="163214"/>
                    </a:cubicBezTo>
                    <a:cubicBezTo>
                      <a:pt x="198126" y="163052"/>
                      <a:pt x="187753" y="156568"/>
                      <a:pt x="183498" y="153489"/>
                    </a:cubicBezTo>
                    <a:cubicBezTo>
                      <a:pt x="183376" y="158189"/>
                      <a:pt x="184471" y="159851"/>
                      <a:pt x="182525" y="166131"/>
                    </a:cubicBezTo>
                    <a:cubicBezTo>
                      <a:pt x="187631" y="169495"/>
                      <a:pt x="190711" y="181489"/>
                      <a:pt x="192251" y="186797"/>
                    </a:cubicBezTo>
                    <a:cubicBezTo>
                      <a:pt x="193790" y="192105"/>
                      <a:pt x="191886" y="193321"/>
                      <a:pt x="191764" y="197981"/>
                    </a:cubicBezTo>
                    <a:cubicBezTo>
                      <a:pt x="191643" y="202640"/>
                      <a:pt x="196505" y="206368"/>
                      <a:pt x="193952" y="211839"/>
                    </a:cubicBezTo>
                    <a:cubicBezTo>
                      <a:pt x="191399" y="217309"/>
                      <a:pt x="184754" y="217593"/>
                      <a:pt x="177906" y="217674"/>
                    </a:cubicBezTo>
                    <a:cubicBezTo>
                      <a:pt x="171058" y="217755"/>
                      <a:pt x="155741" y="222455"/>
                      <a:pt x="152864" y="212325"/>
                    </a:cubicBezTo>
                    <a:cubicBezTo>
                      <a:pt x="152505" y="211059"/>
                      <a:pt x="152253" y="209550"/>
                      <a:pt x="152100" y="207841"/>
                    </a:cubicBezTo>
                    <a:cubicBezTo>
                      <a:pt x="152086" y="207389"/>
                      <a:pt x="152073" y="206938"/>
                      <a:pt x="152060" y="206487"/>
                    </a:cubicBezTo>
                    <a:lnTo>
                      <a:pt x="148295" y="210055"/>
                    </a:lnTo>
                    <a:cubicBezTo>
                      <a:pt x="139689" y="218156"/>
                      <a:pt x="131930" y="224785"/>
                      <a:pt x="124662" y="224481"/>
                    </a:cubicBezTo>
                    <a:cubicBezTo>
                      <a:pt x="112546" y="222050"/>
                      <a:pt x="103186" y="202762"/>
                      <a:pt x="101079" y="196036"/>
                    </a:cubicBezTo>
                    <a:cubicBezTo>
                      <a:pt x="98972" y="189309"/>
                      <a:pt x="105820" y="188053"/>
                      <a:pt x="112019" y="184122"/>
                    </a:cubicBezTo>
                    <a:cubicBezTo>
                      <a:pt x="105820" y="187729"/>
                      <a:pt x="89044" y="184771"/>
                      <a:pt x="86977" y="181691"/>
                    </a:cubicBezTo>
                    <a:cubicBezTo>
                      <a:pt x="87585" y="188093"/>
                      <a:pt x="87221" y="189025"/>
                      <a:pt x="86005" y="192632"/>
                    </a:cubicBezTo>
                    <a:cubicBezTo>
                      <a:pt x="84789" y="196238"/>
                      <a:pt x="81588" y="198345"/>
                      <a:pt x="79684" y="203329"/>
                    </a:cubicBezTo>
                    <a:cubicBezTo>
                      <a:pt x="77780" y="208313"/>
                      <a:pt x="82155" y="220753"/>
                      <a:pt x="74578" y="222536"/>
                    </a:cubicBezTo>
                    <a:cubicBezTo>
                      <a:pt x="67001" y="224319"/>
                      <a:pt x="43458" y="223630"/>
                      <a:pt x="34220" y="214027"/>
                    </a:cubicBezTo>
                    <a:cubicBezTo>
                      <a:pt x="30329" y="209286"/>
                      <a:pt x="36651" y="201952"/>
                      <a:pt x="35192" y="199926"/>
                    </a:cubicBezTo>
                    <a:cubicBezTo>
                      <a:pt x="33733" y="197899"/>
                      <a:pt x="31302" y="205882"/>
                      <a:pt x="25467" y="201871"/>
                    </a:cubicBezTo>
                    <a:cubicBezTo>
                      <a:pt x="19632" y="197859"/>
                      <a:pt x="1843" y="184649"/>
                      <a:pt x="182" y="175856"/>
                    </a:cubicBezTo>
                    <a:cubicBezTo>
                      <a:pt x="-1480" y="167063"/>
                      <a:pt x="8651" y="157824"/>
                      <a:pt x="15499" y="149112"/>
                    </a:cubicBezTo>
                    <a:cubicBezTo>
                      <a:pt x="13838" y="139671"/>
                      <a:pt x="13148" y="133350"/>
                      <a:pt x="16957" y="122369"/>
                    </a:cubicBezTo>
                    <a:cubicBezTo>
                      <a:pt x="11852" y="119249"/>
                      <a:pt x="749" y="114832"/>
                      <a:pt x="1397" y="100245"/>
                    </a:cubicBezTo>
                    <a:lnTo>
                      <a:pt x="3170" y="86836"/>
                    </a:lnTo>
                    <a:lnTo>
                      <a:pt x="3632" y="95615"/>
                    </a:lnTo>
                    <a:lnTo>
                      <a:pt x="4461" y="96013"/>
                    </a:lnTo>
                    <a:lnTo>
                      <a:pt x="4584" y="97195"/>
                    </a:lnTo>
                    <a:cubicBezTo>
                      <a:pt x="5615" y="105631"/>
                      <a:pt x="8377" y="114976"/>
                      <a:pt x="24272" y="111137"/>
                    </a:cubicBezTo>
                    <a:cubicBezTo>
                      <a:pt x="17436" y="147413"/>
                      <a:pt x="32876" y="165400"/>
                      <a:pt x="42618" y="182245"/>
                    </a:cubicBezTo>
                    <a:lnTo>
                      <a:pt x="43587" y="184107"/>
                    </a:lnTo>
                    <a:lnTo>
                      <a:pt x="43553" y="184981"/>
                    </a:lnTo>
                    <a:cubicBezTo>
                      <a:pt x="43259" y="190123"/>
                      <a:pt x="42524" y="193687"/>
                      <a:pt x="42142" y="198514"/>
                    </a:cubicBezTo>
                    <a:cubicBezTo>
                      <a:pt x="41035" y="202316"/>
                      <a:pt x="38311" y="201896"/>
                      <a:pt x="38820" y="209919"/>
                    </a:cubicBezTo>
                    <a:cubicBezTo>
                      <a:pt x="39149" y="214918"/>
                      <a:pt x="68484" y="222970"/>
                      <a:pt x="73214" y="216564"/>
                    </a:cubicBezTo>
                    <a:cubicBezTo>
                      <a:pt x="74591" y="214349"/>
                      <a:pt x="73993" y="209260"/>
                      <a:pt x="74381" y="205608"/>
                    </a:cubicBezTo>
                    <a:cubicBezTo>
                      <a:pt x="74980" y="201537"/>
                      <a:pt x="80248" y="197107"/>
                      <a:pt x="81027" y="191330"/>
                    </a:cubicBezTo>
                    <a:cubicBezTo>
                      <a:pt x="81535" y="186735"/>
                      <a:pt x="81483" y="181534"/>
                      <a:pt x="81307" y="176120"/>
                    </a:cubicBezTo>
                    <a:lnTo>
                      <a:pt x="81098" y="170402"/>
                    </a:lnTo>
                    <a:lnTo>
                      <a:pt x="82697" y="172264"/>
                    </a:lnTo>
                    <a:cubicBezTo>
                      <a:pt x="93039" y="182812"/>
                      <a:pt x="114975" y="186365"/>
                      <a:pt x="122335" y="170047"/>
                    </a:cubicBezTo>
                    <a:cubicBezTo>
                      <a:pt x="122425" y="175285"/>
                      <a:pt x="124132" y="177291"/>
                      <a:pt x="123233" y="183876"/>
                    </a:cubicBezTo>
                    <a:cubicBezTo>
                      <a:pt x="120659" y="188037"/>
                      <a:pt x="109195" y="188965"/>
                      <a:pt x="106081" y="196628"/>
                    </a:cubicBezTo>
                    <a:cubicBezTo>
                      <a:pt x="105153" y="199831"/>
                      <a:pt x="117337" y="219019"/>
                      <a:pt x="125120" y="219707"/>
                    </a:cubicBezTo>
                    <a:cubicBezTo>
                      <a:pt x="130777" y="220366"/>
                      <a:pt x="141284" y="209260"/>
                      <a:pt x="160411" y="191779"/>
                    </a:cubicBezTo>
                    <a:cubicBezTo>
                      <a:pt x="163372" y="189073"/>
                      <a:pt x="174570" y="167832"/>
                      <a:pt x="179629" y="149662"/>
                    </a:cubicBezTo>
                    <a:cubicBezTo>
                      <a:pt x="174473" y="147072"/>
                      <a:pt x="167000" y="140903"/>
                      <a:pt x="162651" y="131275"/>
                    </a:cubicBezTo>
                    <a:lnTo>
                      <a:pt x="162456" y="130763"/>
                    </a:lnTo>
                    <a:lnTo>
                      <a:pt x="165093" y="132423"/>
                    </a:lnTo>
                    <a:cubicBezTo>
                      <a:pt x="171727" y="136843"/>
                      <a:pt x="178461" y="141692"/>
                      <a:pt x="184388" y="143106"/>
                    </a:cubicBezTo>
                    <a:cubicBezTo>
                      <a:pt x="188759" y="148135"/>
                      <a:pt x="193848" y="156128"/>
                      <a:pt x="205851" y="157654"/>
                    </a:cubicBezTo>
                    <a:cubicBezTo>
                      <a:pt x="216088" y="159390"/>
                      <a:pt x="223362" y="149722"/>
                      <a:pt x="226955" y="139155"/>
                    </a:cubicBezTo>
                    <a:lnTo>
                      <a:pt x="223632" y="138886"/>
                    </a:lnTo>
                    <a:cubicBezTo>
                      <a:pt x="208366" y="164479"/>
                      <a:pt x="192231" y="141138"/>
                      <a:pt x="195651" y="116588"/>
                    </a:cubicBezTo>
                    <a:lnTo>
                      <a:pt x="196582" y="111780"/>
                    </a:lnTo>
                    <a:lnTo>
                      <a:pt x="198346" y="113702"/>
                    </a:lnTo>
                    <a:cubicBezTo>
                      <a:pt x="228823" y="144762"/>
                      <a:pt x="255472" y="140221"/>
                      <a:pt x="270598" y="131971"/>
                    </a:cubicBezTo>
                    <a:cubicBezTo>
                      <a:pt x="312027" y="106437"/>
                      <a:pt x="299888" y="18316"/>
                      <a:pt x="282542" y="14061"/>
                    </a:cubicBezTo>
                    <a:cubicBezTo>
                      <a:pt x="278576" y="13088"/>
                      <a:pt x="275807" y="23311"/>
                      <a:pt x="273203" y="24838"/>
                    </a:cubicBezTo>
                    <a:cubicBezTo>
                      <a:pt x="265210" y="29058"/>
                      <a:pt x="261708" y="28430"/>
                      <a:pt x="259553" y="31752"/>
                    </a:cubicBezTo>
                    <a:cubicBezTo>
                      <a:pt x="255287" y="37982"/>
                      <a:pt x="270990" y="74047"/>
                      <a:pt x="251018" y="92959"/>
                    </a:cubicBezTo>
                    <a:lnTo>
                      <a:pt x="249528" y="94135"/>
                    </a:lnTo>
                    <a:lnTo>
                      <a:pt x="249841" y="93530"/>
                    </a:lnTo>
                    <a:cubicBezTo>
                      <a:pt x="253626" y="86217"/>
                      <a:pt x="257599" y="77843"/>
                      <a:pt x="253087" y="74318"/>
                    </a:cubicBezTo>
                    <a:cubicBezTo>
                      <a:pt x="247788" y="70098"/>
                      <a:pt x="244466" y="73330"/>
                      <a:pt x="240425" y="76743"/>
                    </a:cubicBezTo>
                    <a:cubicBezTo>
                      <a:pt x="243029" y="73779"/>
                      <a:pt x="246172" y="73241"/>
                      <a:pt x="241772" y="66236"/>
                    </a:cubicBezTo>
                    <a:cubicBezTo>
                      <a:pt x="238269" y="63871"/>
                      <a:pt x="236384" y="64470"/>
                      <a:pt x="229918" y="66146"/>
                    </a:cubicBezTo>
                    <a:cubicBezTo>
                      <a:pt x="234019" y="63093"/>
                      <a:pt x="235336" y="64260"/>
                      <a:pt x="233331" y="58334"/>
                    </a:cubicBezTo>
                    <a:cubicBezTo>
                      <a:pt x="230591" y="54652"/>
                      <a:pt x="229216" y="54960"/>
                      <a:pt x="226478" y="55168"/>
                    </a:cubicBezTo>
                    <a:lnTo>
                      <a:pt x="224578" y="55181"/>
                    </a:lnTo>
                    <a:lnTo>
                      <a:pt x="226140" y="54620"/>
                    </a:lnTo>
                    <a:cubicBezTo>
                      <a:pt x="227016" y="54326"/>
                      <a:pt x="227808" y="54087"/>
                      <a:pt x="228481" y="53933"/>
                    </a:cubicBezTo>
                    <a:cubicBezTo>
                      <a:pt x="233869" y="52706"/>
                      <a:pt x="239766" y="54397"/>
                      <a:pt x="239796" y="51329"/>
                    </a:cubicBezTo>
                    <a:cubicBezTo>
                      <a:pt x="240455" y="47976"/>
                      <a:pt x="232043" y="37529"/>
                      <a:pt x="228301" y="36691"/>
                    </a:cubicBezTo>
                    <a:cubicBezTo>
                      <a:pt x="226303" y="36063"/>
                      <a:pt x="221073" y="35535"/>
                      <a:pt x="216321" y="35222"/>
                    </a:cubicBezTo>
                    <a:lnTo>
                      <a:pt x="215215" y="35163"/>
                    </a:lnTo>
                    <a:lnTo>
                      <a:pt x="215224" y="35140"/>
                    </a:lnTo>
                    <a:cubicBezTo>
                      <a:pt x="216352" y="33582"/>
                      <a:pt x="220107" y="33010"/>
                      <a:pt x="223004" y="32740"/>
                    </a:cubicBezTo>
                    <a:cubicBezTo>
                      <a:pt x="210850" y="16696"/>
                      <a:pt x="194476" y="6398"/>
                      <a:pt x="180347" y="6608"/>
                    </a:cubicBezTo>
                    <a:cubicBezTo>
                      <a:pt x="163315" y="7117"/>
                      <a:pt x="141972" y="11487"/>
                      <a:pt x="129879" y="30226"/>
                    </a:cubicBezTo>
                    <a:cubicBezTo>
                      <a:pt x="136060" y="30158"/>
                      <a:pt x="140659" y="30186"/>
                      <a:pt x="144111" y="30553"/>
                    </a:cubicBezTo>
                    <a:lnTo>
                      <a:pt x="144688" y="30636"/>
                    </a:lnTo>
                    <a:lnTo>
                      <a:pt x="142278" y="31291"/>
                    </a:lnTo>
                    <a:cubicBezTo>
                      <a:pt x="129472" y="34372"/>
                      <a:pt x="120551" y="33912"/>
                      <a:pt x="117680" y="36408"/>
                    </a:cubicBezTo>
                    <a:cubicBezTo>
                      <a:pt x="111677" y="40608"/>
                      <a:pt x="72806" y="76418"/>
                      <a:pt x="71204" y="96693"/>
                    </a:cubicBezTo>
                    <a:cubicBezTo>
                      <a:pt x="75321" y="107455"/>
                      <a:pt x="76095" y="99850"/>
                      <a:pt x="85185" y="118805"/>
                    </a:cubicBezTo>
                    <a:lnTo>
                      <a:pt x="99691" y="102267"/>
                    </a:lnTo>
                    <a:lnTo>
                      <a:pt x="82719" y="137373"/>
                    </a:lnTo>
                    <a:cubicBezTo>
                      <a:pt x="86951" y="143553"/>
                      <a:pt x="89837" y="146860"/>
                      <a:pt x="98648" y="146754"/>
                    </a:cubicBezTo>
                    <a:cubicBezTo>
                      <a:pt x="108059" y="145506"/>
                      <a:pt x="116752" y="137792"/>
                      <a:pt x="125803" y="133311"/>
                    </a:cubicBezTo>
                    <a:cubicBezTo>
                      <a:pt x="134749" y="129588"/>
                      <a:pt x="137408" y="132150"/>
                      <a:pt x="143211" y="131570"/>
                    </a:cubicBezTo>
                    <a:cubicBezTo>
                      <a:pt x="155438" y="98406"/>
                      <a:pt x="136234" y="98558"/>
                      <a:pt x="149449" y="62520"/>
                    </a:cubicBezTo>
                    <a:cubicBezTo>
                      <a:pt x="144751" y="91629"/>
                      <a:pt x="163402" y="91643"/>
                      <a:pt x="150174" y="140419"/>
                    </a:cubicBezTo>
                    <a:lnTo>
                      <a:pt x="148066" y="140074"/>
                    </a:lnTo>
                    <a:lnTo>
                      <a:pt x="145397" y="139391"/>
                    </a:lnTo>
                    <a:lnTo>
                      <a:pt x="142664" y="138965"/>
                    </a:lnTo>
                    <a:lnTo>
                      <a:pt x="141897" y="138787"/>
                    </a:lnTo>
                    <a:cubicBezTo>
                      <a:pt x="139829" y="138379"/>
                      <a:pt x="137652" y="138161"/>
                      <a:pt x="135127" y="138558"/>
                    </a:cubicBezTo>
                    <a:lnTo>
                      <a:pt x="134141" y="138788"/>
                    </a:lnTo>
                    <a:lnTo>
                      <a:pt x="133545" y="138839"/>
                    </a:lnTo>
                    <a:cubicBezTo>
                      <a:pt x="120343" y="140895"/>
                      <a:pt x="115488" y="152535"/>
                      <a:pt x="94317" y="154781"/>
                    </a:cubicBezTo>
                    <a:cubicBezTo>
                      <a:pt x="88005" y="153550"/>
                      <a:pt x="77911" y="144274"/>
                      <a:pt x="71977" y="137062"/>
                    </a:cubicBezTo>
                    <a:lnTo>
                      <a:pt x="71519" y="136468"/>
                    </a:lnTo>
                    <a:lnTo>
                      <a:pt x="73241" y="133591"/>
                    </a:lnTo>
                    <a:cubicBezTo>
                      <a:pt x="75081" y="130725"/>
                      <a:pt x="77094" y="127795"/>
                      <a:pt x="79320" y="124787"/>
                    </a:cubicBezTo>
                    <a:cubicBezTo>
                      <a:pt x="75429" y="114340"/>
                      <a:pt x="65162" y="110718"/>
                      <a:pt x="62258" y="97756"/>
                    </a:cubicBezTo>
                    <a:cubicBezTo>
                      <a:pt x="66958" y="84346"/>
                      <a:pt x="68873" y="75605"/>
                      <a:pt x="92521" y="51598"/>
                    </a:cubicBezTo>
                    <a:cubicBezTo>
                      <a:pt x="29660" y="60608"/>
                      <a:pt x="29847" y="111215"/>
                      <a:pt x="12466" y="98980"/>
                    </a:cubicBezTo>
                    <a:lnTo>
                      <a:pt x="8842" y="95717"/>
                    </a:lnTo>
                    <a:lnTo>
                      <a:pt x="9902" y="95122"/>
                    </a:lnTo>
                    <a:cubicBezTo>
                      <a:pt x="16307" y="90807"/>
                      <a:pt x="8721" y="84593"/>
                      <a:pt x="13855" y="75216"/>
                    </a:cubicBezTo>
                    <a:lnTo>
                      <a:pt x="3372" y="85308"/>
                    </a:lnTo>
                    <a:lnTo>
                      <a:pt x="4285" y="78409"/>
                    </a:lnTo>
                    <a:cubicBezTo>
                      <a:pt x="9380" y="73339"/>
                      <a:pt x="16269" y="70482"/>
                      <a:pt x="17930" y="69854"/>
                    </a:cubicBezTo>
                    <a:cubicBezTo>
                      <a:pt x="14810" y="79376"/>
                      <a:pt x="21618" y="86022"/>
                      <a:pt x="17930" y="93680"/>
                    </a:cubicBezTo>
                    <a:cubicBezTo>
                      <a:pt x="53386" y="48581"/>
                      <a:pt x="77860" y="45704"/>
                      <a:pt x="94271" y="45298"/>
                    </a:cubicBezTo>
                    <a:cubicBezTo>
                      <a:pt x="107035" y="33953"/>
                      <a:pt x="108130" y="30994"/>
                      <a:pt x="116882" y="28766"/>
                    </a:cubicBezTo>
                    <a:lnTo>
                      <a:pt x="122918" y="28133"/>
                    </a:lnTo>
                    <a:lnTo>
                      <a:pt x="123617" y="26636"/>
                    </a:lnTo>
                    <a:cubicBezTo>
                      <a:pt x="128989" y="15967"/>
                      <a:pt x="133678" y="12639"/>
                      <a:pt x="142897" y="8100"/>
                    </a:cubicBezTo>
                    <a:cubicBezTo>
                      <a:pt x="152115" y="3562"/>
                      <a:pt x="164901" y="-480"/>
                      <a:pt x="178568"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406" name="Freeform 405"/>
              <p:cNvSpPr/>
              <p:nvPr/>
            </p:nvSpPr>
            <p:spPr>
              <a:xfrm>
                <a:off x="389803" y="402129"/>
                <a:ext cx="11141596" cy="222980"/>
              </a:xfrm>
              <a:custGeom>
                <a:avLst/>
                <a:gdLst>
                  <a:gd name="connsiteX0" fmla="*/ 11126690 w 11141596"/>
                  <a:gd name="connsiteY0" fmla="*/ 0 h 222980"/>
                  <a:gd name="connsiteX1" fmla="*/ 11141596 w 11141596"/>
                  <a:gd name="connsiteY1" fmla="*/ 0 h 222980"/>
                  <a:gd name="connsiteX2" fmla="*/ 11141596 w 11141596"/>
                  <a:gd name="connsiteY2" fmla="*/ 222980 h 222980"/>
                  <a:gd name="connsiteX3" fmla="*/ 11106308 w 11141596"/>
                  <a:gd name="connsiteY3" fmla="*/ 222980 h 222980"/>
                  <a:gd name="connsiteX4" fmla="*/ 11106308 w 11141596"/>
                  <a:gd name="connsiteY4" fmla="*/ 43197 h 222980"/>
                  <a:gd name="connsiteX5" fmla="*/ 11085699 w 11141596"/>
                  <a:gd name="connsiteY5" fmla="*/ 54832 h 222980"/>
                  <a:gd name="connsiteX6" fmla="*/ 11060526 w 11141596"/>
                  <a:gd name="connsiteY6" fmla="*/ 63274 h 222980"/>
                  <a:gd name="connsiteX7" fmla="*/ 11060526 w 11141596"/>
                  <a:gd name="connsiteY7" fmla="*/ 33158 h 222980"/>
                  <a:gd name="connsiteX8" fmla="*/ 11077561 w 11141596"/>
                  <a:gd name="connsiteY8" fmla="*/ 27074 h 222980"/>
                  <a:gd name="connsiteX9" fmla="*/ 11093760 w 11141596"/>
                  <a:gd name="connsiteY9" fmla="*/ 19925 h 222980"/>
                  <a:gd name="connsiteX10" fmla="*/ 11109883 w 11141596"/>
                  <a:gd name="connsiteY10" fmla="*/ 11103 h 222980"/>
                  <a:gd name="connsiteX11" fmla="*/ 11126690 w 11141596"/>
                  <a:gd name="connsiteY11" fmla="*/ 0 h 222980"/>
                  <a:gd name="connsiteX12" fmla="*/ 9119810 w 11141596"/>
                  <a:gd name="connsiteY12" fmla="*/ 0 h 222980"/>
                  <a:gd name="connsiteX13" fmla="*/ 9134716 w 11141596"/>
                  <a:gd name="connsiteY13" fmla="*/ 0 h 222980"/>
                  <a:gd name="connsiteX14" fmla="*/ 9134716 w 11141596"/>
                  <a:gd name="connsiteY14" fmla="*/ 222980 h 222980"/>
                  <a:gd name="connsiteX15" fmla="*/ 9099428 w 11141596"/>
                  <a:gd name="connsiteY15" fmla="*/ 222980 h 222980"/>
                  <a:gd name="connsiteX16" fmla="*/ 9099428 w 11141596"/>
                  <a:gd name="connsiteY16" fmla="*/ 43197 h 222980"/>
                  <a:gd name="connsiteX17" fmla="*/ 9078819 w 11141596"/>
                  <a:gd name="connsiteY17" fmla="*/ 54832 h 222980"/>
                  <a:gd name="connsiteX18" fmla="*/ 9053646 w 11141596"/>
                  <a:gd name="connsiteY18" fmla="*/ 63274 h 222980"/>
                  <a:gd name="connsiteX19" fmla="*/ 9053646 w 11141596"/>
                  <a:gd name="connsiteY19" fmla="*/ 33158 h 222980"/>
                  <a:gd name="connsiteX20" fmla="*/ 9070681 w 11141596"/>
                  <a:gd name="connsiteY20" fmla="*/ 27074 h 222980"/>
                  <a:gd name="connsiteX21" fmla="*/ 9086880 w 11141596"/>
                  <a:gd name="connsiteY21" fmla="*/ 19925 h 222980"/>
                  <a:gd name="connsiteX22" fmla="*/ 9103003 w 11141596"/>
                  <a:gd name="connsiteY22" fmla="*/ 11103 h 222980"/>
                  <a:gd name="connsiteX23" fmla="*/ 9119810 w 11141596"/>
                  <a:gd name="connsiteY23" fmla="*/ 0 h 222980"/>
                  <a:gd name="connsiteX24" fmla="*/ 8619480 w 11141596"/>
                  <a:gd name="connsiteY24" fmla="*/ 0 h 222980"/>
                  <a:gd name="connsiteX25" fmla="*/ 8634386 w 11141596"/>
                  <a:gd name="connsiteY25" fmla="*/ 0 h 222980"/>
                  <a:gd name="connsiteX26" fmla="*/ 8634386 w 11141596"/>
                  <a:gd name="connsiteY26" fmla="*/ 222980 h 222980"/>
                  <a:gd name="connsiteX27" fmla="*/ 8599098 w 11141596"/>
                  <a:gd name="connsiteY27" fmla="*/ 222980 h 222980"/>
                  <a:gd name="connsiteX28" fmla="*/ 8599098 w 11141596"/>
                  <a:gd name="connsiteY28" fmla="*/ 43197 h 222980"/>
                  <a:gd name="connsiteX29" fmla="*/ 8578489 w 11141596"/>
                  <a:gd name="connsiteY29" fmla="*/ 54832 h 222980"/>
                  <a:gd name="connsiteX30" fmla="*/ 8553316 w 11141596"/>
                  <a:gd name="connsiteY30" fmla="*/ 63274 h 222980"/>
                  <a:gd name="connsiteX31" fmla="*/ 8553316 w 11141596"/>
                  <a:gd name="connsiteY31" fmla="*/ 33158 h 222980"/>
                  <a:gd name="connsiteX32" fmla="*/ 8570351 w 11141596"/>
                  <a:gd name="connsiteY32" fmla="*/ 27074 h 222980"/>
                  <a:gd name="connsiteX33" fmla="*/ 8586550 w 11141596"/>
                  <a:gd name="connsiteY33" fmla="*/ 19925 h 222980"/>
                  <a:gd name="connsiteX34" fmla="*/ 8602673 w 11141596"/>
                  <a:gd name="connsiteY34" fmla="*/ 11103 h 222980"/>
                  <a:gd name="connsiteX35" fmla="*/ 8619480 w 11141596"/>
                  <a:gd name="connsiteY35" fmla="*/ 0 h 222980"/>
                  <a:gd name="connsiteX36" fmla="*/ 6990583 w 11141596"/>
                  <a:gd name="connsiteY36" fmla="*/ 0 h 222980"/>
                  <a:gd name="connsiteX37" fmla="*/ 7005489 w 11141596"/>
                  <a:gd name="connsiteY37" fmla="*/ 0 h 222980"/>
                  <a:gd name="connsiteX38" fmla="*/ 7005489 w 11141596"/>
                  <a:gd name="connsiteY38" fmla="*/ 222980 h 222980"/>
                  <a:gd name="connsiteX39" fmla="*/ 6970201 w 11141596"/>
                  <a:gd name="connsiteY39" fmla="*/ 222980 h 222980"/>
                  <a:gd name="connsiteX40" fmla="*/ 6970201 w 11141596"/>
                  <a:gd name="connsiteY40" fmla="*/ 43197 h 222980"/>
                  <a:gd name="connsiteX41" fmla="*/ 6949592 w 11141596"/>
                  <a:gd name="connsiteY41" fmla="*/ 54832 h 222980"/>
                  <a:gd name="connsiteX42" fmla="*/ 6924419 w 11141596"/>
                  <a:gd name="connsiteY42" fmla="*/ 63274 h 222980"/>
                  <a:gd name="connsiteX43" fmla="*/ 6924419 w 11141596"/>
                  <a:gd name="connsiteY43" fmla="*/ 33158 h 222980"/>
                  <a:gd name="connsiteX44" fmla="*/ 6941454 w 11141596"/>
                  <a:gd name="connsiteY44" fmla="*/ 27074 h 222980"/>
                  <a:gd name="connsiteX45" fmla="*/ 6957653 w 11141596"/>
                  <a:gd name="connsiteY45" fmla="*/ 19925 h 222980"/>
                  <a:gd name="connsiteX46" fmla="*/ 6973776 w 11141596"/>
                  <a:gd name="connsiteY46" fmla="*/ 11103 h 222980"/>
                  <a:gd name="connsiteX47" fmla="*/ 6990583 w 11141596"/>
                  <a:gd name="connsiteY47" fmla="*/ 0 h 222980"/>
                  <a:gd name="connsiteX48" fmla="*/ 6120640 w 11141596"/>
                  <a:gd name="connsiteY48" fmla="*/ 0 h 222980"/>
                  <a:gd name="connsiteX49" fmla="*/ 6135546 w 11141596"/>
                  <a:gd name="connsiteY49" fmla="*/ 0 h 222980"/>
                  <a:gd name="connsiteX50" fmla="*/ 6135546 w 11141596"/>
                  <a:gd name="connsiteY50" fmla="*/ 222980 h 222980"/>
                  <a:gd name="connsiteX51" fmla="*/ 6100258 w 11141596"/>
                  <a:gd name="connsiteY51" fmla="*/ 222980 h 222980"/>
                  <a:gd name="connsiteX52" fmla="*/ 6100258 w 11141596"/>
                  <a:gd name="connsiteY52" fmla="*/ 43197 h 222980"/>
                  <a:gd name="connsiteX53" fmla="*/ 6079649 w 11141596"/>
                  <a:gd name="connsiteY53" fmla="*/ 54832 h 222980"/>
                  <a:gd name="connsiteX54" fmla="*/ 6054476 w 11141596"/>
                  <a:gd name="connsiteY54" fmla="*/ 63274 h 222980"/>
                  <a:gd name="connsiteX55" fmla="*/ 6054476 w 11141596"/>
                  <a:gd name="connsiteY55" fmla="*/ 33158 h 222980"/>
                  <a:gd name="connsiteX56" fmla="*/ 6071511 w 11141596"/>
                  <a:gd name="connsiteY56" fmla="*/ 27074 h 222980"/>
                  <a:gd name="connsiteX57" fmla="*/ 6087710 w 11141596"/>
                  <a:gd name="connsiteY57" fmla="*/ 19925 h 222980"/>
                  <a:gd name="connsiteX58" fmla="*/ 6103833 w 11141596"/>
                  <a:gd name="connsiteY58" fmla="*/ 11103 h 222980"/>
                  <a:gd name="connsiteX59" fmla="*/ 6120640 w 11141596"/>
                  <a:gd name="connsiteY59" fmla="*/ 0 h 222980"/>
                  <a:gd name="connsiteX60" fmla="*/ 5051274 w 11141596"/>
                  <a:gd name="connsiteY60" fmla="*/ 0 h 222980"/>
                  <a:gd name="connsiteX61" fmla="*/ 5066180 w 11141596"/>
                  <a:gd name="connsiteY61" fmla="*/ 0 h 222980"/>
                  <a:gd name="connsiteX62" fmla="*/ 5066180 w 11141596"/>
                  <a:gd name="connsiteY62" fmla="*/ 222980 h 222980"/>
                  <a:gd name="connsiteX63" fmla="*/ 5030892 w 11141596"/>
                  <a:gd name="connsiteY63" fmla="*/ 222980 h 222980"/>
                  <a:gd name="connsiteX64" fmla="*/ 5030892 w 11141596"/>
                  <a:gd name="connsiteY64" fmla="*/ 43197 h 222980"/>
                  <a:gd name="connsiteX65" fmla="*/ 5010283 w 11141596"/>
                  <a:gd name="connsiteY65" fmla="*/ 54832 h 222980"/>
                  <a:gd name="connsiteX66" fmla="*/ 4985110 w 11141596"/>
                  <a:gd name="connsiteY66" fmla="*/ 63274 h 222980"/>
                  <a:gd name="connsiteX67" fmla="*/ 4985110 w 11141596"/>
                  <a:gd name="connsiteY67" fmla="*/ 33158 h 222980"/>
                  <a:gd name="connsiteX68" fmla="*/ 5002145 w 11141596"/>
                  <a:gd name="connsiteY68" fmla="*/ 27074 h 222980"/>
                  <a:gd name="connsiteX69" fmla="*/ 5018344 w 11141596"/>
                  <a:gd name="connsiteY69" fmla="*/ 19925 h 222980"/>
                  <a:gd name="connsiteX70" fmla="*/ 5034467 w 11141596"/>
                  <a:gd name="connsiteY70" fmla="*/ 11103 h 222980"/>
                  <a:gd name="connsiteX71" fmla="*/ 5051274 w 11141596"/>
                  <a:gd name="connsiteY71" fmla="*/ 0 h 222980"/>
                  <a:gd name="connsiteX72" fmla="*/ 3058963 w 11141596"/>
                  <a:gd name="connsiteY72" fmla="*/ 0 h 222980"/>
                  <a:gd name="connsiteX73" fmla="*/ 3073869 w 11141596"/>
                  <a:gd name="connsiteY73" fmla="*/ 0 h 222980"/>
                  <a:gd name="connsiteX74" fmla="*/ 3073869 w 11141596"/>
                  <a:gd name="connsiteY74" fmla="*/ 222980 h 222980"/>
                  <a:gd name="connsiteX75" fmla="*/ 3038581 w 11141596"/>
                  <a:gd name="connsiteY75" fmla="*/ 222980 h 222980"/>
                  <a:gd name="connsiteX76" fmla="*/ 3038581 w 11141596"/>
                  <a:gd name="connsiteY76" fmla="*/ 43197 h 222980"/>
                  <a:gd name="connsiteX77" fmla="*/ 3017973 w 11141596"/>
                  <a:gd name="connsiteY77" fmla="*/ 54832 h 222980"/>
                  <a:gd name="connsiteX78" fmla="*/ 2992799 w 11141596"/>
                  <a:gd name="connsiteY78" fmla="*/ 63274 h 222980"/>
                  <a:gd name="connsiteX79" fmla="*/ 2992799 w 11141596"/>
                  <a:gd name="connsiteY79" fmla="*/ 33158 h 222980"/>
                  <a:gd name="connsiteX80" fmla="*/ 3009834 w 11141596"/>
                  <a:gd name="connsiteY80" fmla="*/ 27074 h 222980"/>
                  <a:gd name="connsiteX81" fmla="*/ 3026034 w 11141596"/>
                  <a:gd name="connsiteY81" fmla="*/ 19925 h 222980"/>
                  <a:gd name="connsiteX82" fmla="*/ 3042156 w 11141596"/>
                  <a:gd name="connsiteY82" fmla="*/ 11103 h 222980"/>
                  <a:gd name="connsiteX83" fmla="*/ 3058963 w 11141596"/>
                  <a:gd name="connsiteY83" fmla="*/ 0 h 222980"/>
                  <a:gd name="connsiteX84" fmla="*/ 2546759 w 11141596"/>
                  <a:gd name="connsiteY84" fmla="*/ 0 h 222980"/>
                  <a:gd name="connsiteX85" fmla="*/ 2561665 w 11141596"/>
                  <a:gd name="connsiteY85" fmla="*/ 0 h 222980"/>
                  <a:gd name="connsiteX86" fmla="*/ 2561665 w 11141596"/>
                  <a:gd name="connsiteY86" fmla="*/ 222980 h 222980"/>
                  <a:gd name="connsiteX87" fmla="*/ 2526378 w 11141596"/>
                  <a:gd name="connsiteY87" fmla="*/ 222980 h 222980"/>
                  <a:gd name="connsiteX88" fmla="*/ 2526378 w 11141596"/>
                  <a:gd name="connsiteY88" fmla="*/ 43197 h 222980"/>
                  <a:gd name="connsiteX89" fmla="*/ 2505768 w 11141596"/>
                  <a:gd name="connsiteY89" fmla="*/ 54832 h 222980"/>
                  <a:gd name="connsiteX90" fmla="*/ 2480595 w 11141596"/>
                  <a:gd name="connsiteY90" fmla="*/ 63274 h 222980"/>
                  <a:gd name="connsiteX91" fmla="*/ 2480595 w 11141596"/>
                  <a:gd name="connsiteY91" fmla="*/ 33158 h 222980"/>
                  <a:gd name="connsiteX92" fmla="*/ 2497630 w 11141596"/>
                  <a:gd name="connsiteY92" fmla="*/ 27074 h 222980"/>
                  <a:gd name="connsiteX93" fmla="*/ 2513830 w 11141596"/>
                  <a:gd name="connsiteY93" fmla="*/ 19925 h 222980"/>
                  <a:gd name="connsiteX94" fmla="*/ 2529952 w 11141596"/>
                  <a:gd name="connsiteY94" fmla="*/ 11103 h 222980"/>
                  <a:gd name="connsiteX95" fmla="*/ 2546759 w 11141596"/>
                  <a:gd name="connsiteY95" fmla="*/ 0 h 222980"/>
                  <a:gd name="connsiteX96" fmla="*/ 939405 w 11141596"/>
                  <a:gd name="connsiteY96" fmla="*/ 0 h 222980"/>
                  <a:gd name="connsiteX97" fmla="*/ 954311 w 11141596"/>
                  <a:gd name="connsiteY97" fmla="*/ 0 h 222980"/>
                  <a:gd name="connsiteX98" fmla="*/ 954311 w 11141596"/>
                  <a:gd name="connsiteY98" fmla="*/ 222980 h 222980"/>
                  <a:gd name="connsiteX99" fmla="*/ 919023 w 11141596"/>
                  <a:gd name="connsiteY99" fmla="*/ 222980 h 222980"/>
                  <a:gd name="connsiteX100" fmla="*/ 919023 w 11141596"/>
                  <a:gd name="connsiteY100" fmla="*/ 43197 h 222980"/>
                  <a:gd name="connsiteX101" fmla="*/ 898414 w 11141596"/>
                  <a:gd name="connsiteY101" fmla="*/ 54832 h 222980"/>
                  <a:gd name="connsiteX102" fmla="*/ 873241 w 11141596"/>
                  <a:gd name="connsiteY102" fmla="*/ 63274 h 222980"/>
                  <a:gd name="connsiteX103" fmla="*/ 873241 w 11141596"/>
                  <a:gd name="connsiteY103" fmla="*/ 33158 h 222980"/>
                  <a:gd name="connsiteX104" fmla="*/ 890276 w 11141596"/>
                  <a:gd name="connsiteY104" fmla="*/ 27074 h 222980"/>
                  <a:gd name="connsiteX105" fmla="*/ 906475 w 11141596"/>
                  <a:gd name="connsiteY105" fmla="*/ 19925 h 222980"/>
                  <a:gd name="connsiteX106" fmla="*/ 922598 w 11141596"/>
                  <a:gd name="connsiteY106" fmla="*/ 11103 h 222980"/>
                  <a:gd name="connsiteX107" fmla="*/ 939405 w 11141596"/>
                  <a:gd name="connsiteY107" fmla="*/ 0 h 222980"/>
                  <a:gd name="connsiteX108" fmla="*/ 66164 w 11141596"/>
                  <a:gd name="connsiteY108" fmla="*/ 0 h 222980"/>
                  <a:gd name="connsiteX109" fmla="*/ 81070 w 11141596"/>
                  <a:gd name="connsiteY109" fmla="*/ 0 h 222980"/>
                  <a:gd name="connsiteX110" fmla="*/ 81070 w 11141596"/>
                  <a:gd name="connsiteY110" fmla="*/ 222980 h 222980"/>
                  <a:gd name="connsiteX111" fmla="*/ 45782 w 11141596"/>
                  <a:gd name="connsiteY111" fmla="*/ 222980 h 222980"/>
                  <a:gd name="connsiteX112" fmla="*/ 45782 w 11141596"/>
                  <a:gd name="connsiteY112" fmla="*/ 43197 h 222980"/>
                  <a:gd name="connsiteX113" fmla="*/ 25173 w 11141596"/>
                  <a:gd name="connsiteY113" fmla="*/ 54832 h 222980"/>
                  <a:gd name="connsiteX114" fmla="*/ 0 w 11141596"/>
                  <a:gd name="connsiteY114" fmla="*/ 63274 h 222980"/>
                  <a:gd name="connsiteX115" fmla="*/ 0 w 11141596"/>
                  <a:gd name="connsiteY115" fmla="*/ 33158 h 222980"/>
                  <a:gd name="connsiteX116" fmla="*/ 17035 w 11141596"/>
                  <a:gd name="connsiteY116" fmla="*/ 27074 h 222980"/>
                  <a:gd name="connsiteX117" fmla="*/ 33234 w 11141596"/>
                  <a:gd name="connsiteY117" fmla="*/ 19925 h 222980"/>
                  <a:gd name="connsiteX118" fmla="*/ 49357 w 11141596"/>
                  <a:gd name="connsiteY118" fmla="*/ 11103 h 222980"/>
                  <a:gd name="connsiteX119" fmla="*/ 66164 w 11141596"/>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141596" h="222980">
                    <a:moveTo>
                      <a:pt x="11126690" y="0"/>
                    </a:moveTo>
                    <a:lnTo>
                      <a:pt x="11141596" y="0"/>
                    </a:lnTo>
                    <a:lnTo>
                      <a:pt x="11141596" y="222980"/>
                    </a:lnTo>
                    <a:lnTo>
                      <a:pt x="11106308" y="222980"/>
                    </a:lnTo>
                    <a:lnTo>
                      <a:pt x="11106308" y="43197"/>
                    </a:lnTo>
                    <a:cubicBezTo>
                      <a:pt x="11099920" y="47760"/>
                      <a:pt x="11093050" y="51638"/>
                      <a:pt x="11085699" y="54832"/>
                    </a:cubicBezTo>
                    <a:cubicBezTo>
                      <a:pt x="11078347" y="58027"/>
                      <a:pt x="11069956" y="60840"/>
                      <a:pt x="11060526" y="63274"/>
                    </a:cubicBezTo>
                    <a:lnTo>
                      <a:pt x="11060526" y="33158"/>
                    </a:lnTo>
                    <a:cubicBezTo>
                      <a:pt x="11066407" y="31232"/>
                      <a:pt x="11072086" y="29203"/>
                      <a:pt x="11077561" y="27074"/>
                    </a:cubicBezTo>
                    <a:cubicBezTo>
                      <a:pt x="11083037" y="24945"/>
                      <a:pt x="11088437" y="22561"/>
                      <a:pt x="11093760" y="19925"/>
                    </a:cubicBezTo>
                    <a:cubicBezTo>
                      <a:pt x="11099084" y="17289"/>
                      <a:pt x="11104458" y="14348"/>
                      <a:pt x="11109883" y="11103"/>
                    </a:cubicBezTo>
                    <a:cubicBezTo>
                      <a:pt x="11115308" y="7859"/>
                      <a:pt x="11120910" y="4157"/>
                      <a:pt x="11126690" y="0"/>
                    </a:cubicBezTo>
                    <a:close/>
                    <a:moveTo>
                      <a:pt x="9119810" y="0"/>
                    </a:moveTo>
                    <a:lnTo>
                      <a:pt x="9134716" y="0"/>
                    </a:lnTo>
                    <a:lnTo>
                      <a:pt x="9134716" y="222980"/>
                    </a:lnTo>
                    <a:lnTo>
                      <a:pt x="9099428" y="222980"/>
                    </a:lnTo>
                    <a:lnTo>
                      <a:pt x="9099428" y="43197"/>
                    </a:lnTo>
                    <a:cubicBezTo>
                      <a:pt x="9093040" y="47760"/>
                      <a:pt x="9086170" y="51638"/>
                      <a:pt x="9078819" y="54832"/>
                    </a:cubicBezTo>
                    <a:cubicBezTo>
                      <a:pt x="9071467" y="58027"/>
                      <a:pt x="9063076" y="60840"/>
                      <a:pt x="9053646" y="63274"/>
                    </a:cubicBezTo>
                    <a:lnTo>
                      <a:pt x="9053646" y="33158"/>
                    </a:lnTo>
                    <a:cubicBezTo>
                      <a:pt x="9059527" y="31232"/>
                      <a:pt x="9065206" y="29203"/>
                      <a:pt x="9070681" y="27074"/>
                    </a:cubicBezTo>
                    <a:cubicBezTo>
                      <a:pt x="9076157" y="24945"/>
                      <a:pt x="9081557" y="22561"/>
                      <a:pt x="9086880" y="19925"/>
                    </a:cubicBezTo>
                    <a:cubicBezTo>
                      <a:pt x="9092204" y="17289"/>
                      <a:pt x="9097578" y="14348"/>
                      <a:pt x="9103003" y="11103"/>
                    </a:cubicBezTo>
                    <a:cubicBezTo>
                      <a:pt x="9108428" y="7859"/>
                      <a:pt x="9114030" y="4157"/>
                      <a:pt x="9119810" y="0"/>
                    </a:cubicBezTo>
                    <a:close/>
                    <a:moveTo>
                      <a:pt x="8619480" y="0"/>
                    </a:moveTo>
                    <a:lnTo>
                      <a:pt x="8634386" y="0"/>
                    </a:lnTo>
                    <a:lnTo>
                      <a:pt x="8634386" y="222980"/>
                    </a:lnTo>
                    <a:lnTo>
                      <a:pt x="8599098" y="222980"/>
                    </a:lnTo>
                    <a:lnTo>
                      <a:pt x="8599098" y="43197"/>
                    </a:lnTo>
                    <a:cubicBezTo>
                      <a:pt x="8592710" y="47760"/>
                      <a:pt x="8585840" y="51638"/>
                      <a:pt x="8578489" y="54832"/>
                    </a:cubicBezTo>
                    <a:cubicBezTo>
                      <a:pt x="8571137" y="58027"/>
                      <a:pt x="8562746" y="60840"/>
                      <a:pt x="8553316" y="63274"/>
                    </a:cubicBezTo>
                    <a:lnTo>
                      <a:pt x="8553316" y="33158"/>
                    </a:lnTo>
                    <a:cubicBezTo>
                      <a:pt x="8559197" y="31232"/>
                      <a:pt x="8564876" y="29203"/>
                      <a:pt x="8570351" y="27074"/>
                    </a:cubicBezTo>
                    <a:cubicBezTo>
                      <a:pt x="8575827" y="24945"/>
                      <a:pt x="8581227" y="22561"/>
                      <a:pt x="8586550" y="19925"/>
                    </a:cubicBezTo>
                    <a:cubicBezTo>
                      <a:pt x="8591874" y="17289"/>
                      <a:pt x="8597248" y="14348"/>
                      <a:pt x="8602673" y="11103"/>
                    </a:cubicBezTo>
                    <a:cubicBezTo>
                      <a:pt x="8608098" y="7859"/>
                      <a:pt x="8613700" y="4157"/>
                      <a:pt x="8619480" y="0"/>
                    </a:cubicBezTo>
                    <a:close/>
                    <a:moveTo>
                      <a:pt x="6990583" y="0"/>
                    </a:moveTo>
                    <a:lnTo>
                      <a:pt x="7005489" y="0"/>
                    </a:lnTo>
                    <a:lnTo>
                      <a:pt x="7005489" y="222980"/>
                    </a:lnTo>
                    <a:lnTo>
                      <a:pt x="6970201" y="222980"/>
                    </a:lnTo>
                    <a:lnTo>
                      <a:pt x="6970201" y="43197"/>
                    </a:lnTo>
                    <a:cubicBezTo>
                      <a:pt x="6963813" y="47760"/>
                      <a:pt x="6956944" y="51638"/>
                      <a:pt x="6949592" y="54832"/>
                    </a:cubicBezTo>
                    <a:cubicBezTo>
                      <a:pt x="6942240" y="58027"/>
                      <a:pt x="6933850" y="60840"/>
                      <a:pt x="6924419" y="63274"/>
                    </a:cubicBezTo>
                    <a:lnTo>
                      <a:pt x="6924419" y="33158"/>
                    </a:lnTo>
                    <a:cubicBezTo>
                      <a:pt x="6930300" y="31232"/>
                      <a:pt x="6935979" y="29203"/>
                      <a:pt x="6941454" y="27074"/>
                    </a:cubicBezTo>
                    <a:cubicBezTo>
                      <a:pt x="6946930" y="24945"/>
                      <a:pt x="6952330" y="22561"/>
                      <a:pt x="6957653" y="19925"/>
                    </a:cubicBezTo>
                    <a:cubicBezTo>
                      <a:pt x="6962977" y="17289"/>
                      <a:pt x="6968351" y="14348"/>
                      <a:pt x="6973776" y="11103"/>
                    </a:cubicBezTo>
                    <a:cubicBezTo>
                      <a:pt x="6979201" y="7859"/>
                      <a:pt x="6984803" y="4157"/>
                      <a:pt x="6990583" y="0"/>
                    </a:cubicBezTo>
                    <a:close/>
                    <a:moveTo>
                      <a:pt x="6120640" y="0"/>
                    </a:moveTo>
                    <a:lnTo>
                      <a:pt x="6135546" y="0"/>
                    </a:lnTo>
                    <a:lnTo>
                      <a:pt x="6135546" y="222980"/>
                    </a:lnTo>
                    <a:lnTo>
                      <a:pt x="6100258" y="222980"/>
                    </a:lnTo>
                    <a:lnTo>
                      <a:pt x="6100258" y="43197"/>
                    </a:lnTo>
                    <a:cubicBezTo>
                      <a:pt x="6093870" y="47760"/>
                      <a:pt x="6087001" y="51638"/>
                      <a:pt x="6079649" y="54832"/>
                    </a:cubicBezTo>
                    <a:cubicBezTo>
                      <a:pt x="6072297" y="58027"/>
                      <a:pt x="6063907" y="60840"/>
                      <a:pt x="6054476" y="63274"/>
                    </a:cubicBezTo>
                    <a:lnTo>
                      <a:pt x="6054476" y="33158"/>
                    </a:lnTo>
                    <a:cubicBezTo>
                      <a:pt x="6060357" y="31232"/>
                      <a:pt x="6066036" y="29203"/>
                      <a:pt x="6071511" y="27074"/>
                    </a:cubicBezTo>
                    <a:cubicBezTo>
                      <a:pt x="6076987" y="24945"/>
                      <a:pt x="6082387" y="22561"/>
                      <a:pt x="6087710" y="19925"/>
                    </a:cubicBezTo>
                    <a:cubicBezTo>
                      <a:pt x="6093034" y="17289"/>
                      <a:pt x="6098408" y="14348"/>
                      <a:pt x="6103833" y="11103"/>
                    </a:cubicBezTo>
                    <a:cubicBezTo>
                      <a:pt x="6109258" y="7859"/>
                      <a:pt x="6114860" y="4157"/>
                      <a:pt x="6120640" y="0"/>
                    </a:cubicBezTo>
                    <a:close/>
                    <a:moveTo>
                      <a:pt x="5051274" y="0"/>
                    </a:moveTo>
                    <a:lnTo>
                      <a:pt x="5066180" y="0"/>
                    </a:lnTo>
                    <a:lnTo>
                      <a:pt x="5066180" y="222980"/>
                    </a:lnTo>
                    <a:lnTo>
                      <a:pt x="5030892" y="222980"/>
                    </a:lnTo>
                    <a:lnTo>
                      <a:pt x="5030892" y="43197"/>
                    </a:lnTo>
                    <a:cubicBezTo>
                      <a:pt x="5024504" y="47760"/>
                      <a:pt x="5017635" y="51638"/>
                      <a:pt x="5010283" y="54832"/>
                    </a:cubicBezTo>
                    <a:cubicBezTo>
                      <a:pt x="5002931" y="58027"/>
                      <a:pt x="4994541" y="60840"/>
                      <a:pt x="4985110" y="63274"/>
                    </a:cubicBezTo>
                    <a:lnTo>
                      <a:pt x="4985110" y="33158"/>
                    </a:lnTo>
                    <a:cubicBezTo>
                      <a:pt x="4990991" y="31232"/>
                      <a:pt x="4996670" y="29203"/>
                      <a:pt x="5002145" y="27074"/>
                    </a:cubicBezTo>
                    <a:cubicBezTo>
                      <a:pt x="5007621" y="24945"/>
                      <a:pt x="5013021" y="22561"/>
                      <a:pt x="5018344" y="19925"/>
                    </a:cubicBezTo>
                    <a:cubicBezTo>
                      <a:pt x="5023668" y="17289"/>
                      <a:pt x="5029042" y="14348"/>
                      <a:pt x="5034467" y="11103"/>
                    </a:cubicBezTo>
                    <a:cubicBezTo>
                      <a:pt x="5039892" y="7859"/>
                      <a:pt x="5045494" y="4157"/>
                      <a:pt x="5051274" y="0"/>
                    </a:cubicBezTo>
                    <a:close/>
                    <a:moveTo>
                      <a:pt x="3058963" y="0"/>
                    </a:moveTo>
                    <a:lnTo>
                      <a:pt x="3073869" y="0"/>
                    </a:lnTo>
                    <a:lnTo>
                      <a:pt x="3073869" y="222980"/>
                    </a:lnTo>
                    <a:lnTo>
                      <a:pt x="3038581" y="222980"/>
                    </a:lnTo>
                    <a:lnTo>
                      <a:pt x="3038581" y="43197"/>
                    </a:lnTo>
                    <a:cubicBezTo>
                      <a:pt x="3032193" y="47760"/>
                      <a:pt x="3025324" y="51638"/>
                      <a:pt x="3017973" y="54832"/>
                    </a:cubicBezTo>
                    <a:cubicBezTo>
                      <a:pt x="3010620" y="58027"/>
                      <a:pt x="3002230" y="60840"/>
                      <a:pt x="2992799" y="63274"/>
                    </a:cubicBezTo>
                    <a:lnTo>
                      <a:pt x="2992799" y="33158"/>
                    </a:lnTo>
                    <a:cubicBezTo>
                      <a:pt x="2998680" y="31232"/>
                      <a:pt x="3004359" y="29203"/>
                      <a:pt x="3009834" y="27074"/>
                    </a:cubicBezTo>
                    <a:cubicBezTo>
                      <a:pt x="3015310" y="24945"/>
                      <a:pt x="3020710" y="22561"/>
                      <a:pt x="3026034" y="19925"/>
                    </a:cubicBezTo>
                    <a:cubicBezTo>
                      <a:pt x="3031357" y="17289"/>
                      <a:pt x="3036731" y="14348"/>
                      <a:pt x="3042156" y="11103"/>
                    </a:cubicBezTo>
                    <a:cubicBezTo>
                      <a:pt x="3047581" y="7859"/>
                      <a:pt x="3053183" y="4157"/>
                      <a:pt x="3058963" y="0"/>
                    </a:cubicBezTo>
                    <a:close/>
                    <a:moveTo>
                      <a:pt x="2546759" y="0"/>
                    </a:moveTo>
                    <a:lnTo>
                      <a:pt x="2561665" y="0"/>
                    </a:lnTo>
                    <a:lnTo>
                      <a:pt x="2561665" y="222980"/>
                    </a:lnTo>
                    <a:lnTo>
                      <a:pt x="2526378" y="222980"/>
                    </a:lnTo>
                    <a:lnTo>
                      <a:pt x="2526378" y="43197"/>
                    </a:lnTo>
                    <a:cubicBezTo>
                      <a:pt x="2519989" y="47760"/>
                      <a:pt x="2513120" y="51638"/>
                      <a:pt x="2505768" y="54832"/>
                    </a:cubicBezTo>
                    <a:cubicBezTo>
                      <a:pt x="2498416" y="58027"/>
                      <a:pt x="2490026" y="60840"/>
                      <a:pt x="2480595" y="63274"/>
                    </a:cubicBezTo>
                    <a:lnTo>
                      <a:pt x="2480595" y="33158"/>
                    </a:lnTo>
                    <a:cubicBezTo>
                      <a:pt x="2486476" y="31232"/>
                      <a:pt x="2492155" y="29203"/>
                      <a:pt x="2497630" y="27074"/>
                    </a:cubicBezTo>
                    <a:cubicBezTo>
                      <a:pt x="2503106" y="24945"/>
                      <a:pt x="2508506" y="22561"/>
                      <a:pt x="2513830" y="19925"/>
                    </a:cubicBezTo>
                    <a:cubicBezTo>
                      <a:pt x="2519153" y="17289"/>
                      <a:pt x="2524527" y="14348"/>
                      <a:pt x="2529952" y="11103"/>
                    </a:cubicBezTo>
                    <a:cubicBezTo>
                      <a:pt x="2535377" y="7859"/>
                      <a:pt x="2540979" y="4157"/>
                      <a:pt x="2546759" y="0"/>
                    </a:cubicBezTo>
                    <a:close/>
                    <a:moveTo>
                      <a:pt x="939405" y="0"/>
                    </a:moveTo>
                    <a:lnTo>
                      <a:pt x="954311" y="0"/>
                    </a:lnTo>
                    <a:lnTo>
                      <a:pt x="954311" y="222980"/>
                    </a:lnTo>
                    <a:lnTo>
                      <a:pt x="919023" y="222980"/>
                    </a:lnTo>
                    <a:lnTo>
                      <a:pt x="919023" y="43197"/>
                    </a:lnTo>
                    <a:cubicBezTo>
                      <a:pt x="912635" y="47760"/>
                      <a:pt x="905766" y="51638"/>
                      <a:pt x="898414" y="54832"/>
                    </a:cubicBezTo>
                    <a:cubicBezTo>
                      <a:pt x="891062" y="58027"/>
                      <a:pt x="882672" y="60840"/>
                      <a:pt x="873241" y="63274"/>
                    </a:cubicBezTo>
                    <a:lnTo>
                      <a:pt x="873241" y="33158"/>
                    </a:lnTo>
                    <a:cubicBezTo>
                      <a:pt x="879122" y="31232"/>
                      <a:pt x="884801" y="29203"/>
                      <a:pt x="890276" y="27074"/>
                    </a:cubicBezTo>
                    <a:cubicBezTo>
                      <a:pt x="895752" y="24945"/>
                      <a:pt x="901152" y="22561"/>
                      <a:pt x="906475" y="19925"/>
                    </a:cubicBezTo>
                    <a:cubicBezTo>
                      <a:pt x="911799" y="17289"/>
                      <a:pt x="917173" y="14348"/>
                      <a:pt x="922598" y="11103"/>
                    </a:cubicBezTo>
                    <a:cubicBezTo>
                      <a:pt x="928023" y="7859"/>
                      <a:pt x="933625" y="4157"/>
                      <a:pt x="939405"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7" name="Freeform 406"/>
              <p:cNvSpPr/>
              <p:nvPr/>
            </p:nvSpPr>
            <p:spPr>
              <a:xfrm>
                <a:off x="1552514" y="402129"/>
                <a:ext cx="6211163" cy="222980"/>
              </a:xfrm>
              <a:custGeom>
                <a:avLst/>
                <a:gdLst>
                  <a:gd name="connsiteX0" fmla="*/ 6138341 w 6211163"/>
                  <a:gd name="connsiteY0" fmla="*/ 27835 h 222980"/>
                  <a:gd name="connsiteX1" fmla="*/ 6099071 w 6211163"/>
                  <a:gd name="connsiteY1" fmla="*/ 114349 h 222980"/>
                  <a:gd name="connsiteX2" fmla="*/ 6137589 w 6211163"/>
                  <a:gd name="connsiteY2" fmla="*/ 195296 h 222980"/>
                  <a:gd name="connsiteX3" fmla="*/ 6175504 w 6211163"/>
                  <a:gd name="connsiteY3" fmla="*/ 112995 h 222980"/>
                  <a:gd name="connsiteX4" fmla="*/ 6138341 w 6211163"/>
                  <a:gd name="connsiteY4" fmla="*/ 27835 h 222980"/>
                  <a:gd name="connsiteX5" fmla="*/ 74929 w 6211163"/>
                  <a:gd name="connsiteY5" fmla="*/ 27835 h 222980"/>
                  <a:gd name="connsiteX6" fmla="*/ 35659 w 6211163"/>
                  <a:gd name="connsiteY6" fmla="*/ 114349 h 222980"/>
                  <a:gd name="connsiteX7" fmla="*/ 74177 w 6211163"/>
                  <a:gd name="connsiteY7" fmla="*/ 195296 h 222980"/>
                  <a:gd name="connsiteX8" fmla="*/ 112092 w 6211163"/>
                  <a:gd name="connsiteY8" fmla="*/ 112995 h 222980"/>
                  <a:gd name="connsiteX9" fmla="*/ 74929 w 6211163"/>
                  <a:gd name="connsiteY9" fmla="*/ 27835 h 222980"/>
                  <a:gd name="connsiteX10" fmla="*/ 6139996 w 6211163"/>
                  <a:gd name="connsiteY10" fmla="*/ 0 h 222980"/>
                  <a:gd name="connsiteX11" fmla="*/ 6211163 w 6211163"/>
                  <a:gd name="connsiteY11" fmla="*/ 110587 h 222980"/>
                  <a:gd name="connsiteX12" fmla="*/ 6191077 w 6211163"/>
                  <a:gd name="connsiteY12" fmla="*/ 194167 h 222980"/>
                  <a:gd name="connsiteX13" fmla="*/ 6134880 w 6211163"/>
                  <a:gd name="connsiteY13" fmla="*/ 222980 h 222980"/>
                  <a:gd name="connsiteX14" fmla="*/ 6082295 w 6211163"/>
                  <a:gd name="connsiteY14" fmla="*/ 195446 h 222980"/>
                  <a:gd name="connsiteX15" fmla="*/ 6063412 w 6211163"/>
                  <a:gd name="connsiteY15" fmla="*/ 115854 h 222980"/>
                  <a:gd name="connsiteX16" fmla="*/ 6083122 w 6211163"/>
                  <a:gd name="connsiteY16" fmla="*/ 29339 h 222980"/>
                  <a:gd name="connsiteX17" fmla="*/ 6139996 w 6211163"/>
                  <a:gd name="connsiteY17" fmla="*/ 0 h 222980"/>
                  <a:gd name="connsiteX18" fmla="*/ 76584 w 6211163"/>
                  <a:gd name="connsiteY18" fmla="*/ 0 h 222980"/>
                  <a:gd name="connsiteX19" fmla="*/ 147751 w 6211163"/>
                  <a:gd name="connsiteY19" fmla="*/ 110587 h 222980"/>
                  <a:gd name="connsiteX20" fmla="*/ 127665 w 6211163"/>
                  <a:gd name="connsiteY20" fmla="*/ 194167 h 222980"/>
                  <a:gd name="connsiteX21" fmla="*/ 71468 w 6211163"/>
                  <a:gd name="connsiteY21" fmla="*/ 222980 h 222980"/>
                  <a:gd name="connsiteX22" fmla="*/ 18883 w 6211163"/>
                  <a:gd name="connsiteY22" fmla="*/ 195446 h 222980"/>
                  <a:gd name="connsiteX23" fmla="*/ 0 w 6211163"/>
                  <a:gd name="connsiteY23" fmla="*/ 115854 h 222980"/>
                  <a:gd name="connsiteX24" fmla="*/ 19710 w 6211163"/>
                  <a:gd name="connsiteY24" fmla="*/ 29339 h 222980"/>
                  <a:gd name="connsiteX25" fmla="*/ 76584 w 6211163"/>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1163" h="222980">
                    <a:moveTo>
                      <a:pt x="6138341" y="27835"/>
                    </a:moveTo>
                    <a:cubicBezTo>
                      <a:pt x="6112161" y="27835"/>
                      <a:pt x="6099071" y="56673"/>
                      <a:pt x="6099071" y="114349"/>
                    </a:cubicBezTo>
                    <a:cubicBezTo>
                      <a:pt x="6099071" y="168313"/>
                      <a:pt x="6111910" y="195296"/>
                      <a:pt x="6137589" y="195296"/>
                    </a:cubicBezTo>
                    <a:cubicBezTo>
                      <a:pt x="6162866" y="195296"/>
                      <a:pt x="6175504" y="167862"/>
                      <a:pt x="6175504" y="112995"/>
                    </a:cubicBezTo>
                    <a:cubicBezTo>
                      <a:pt x="6175504" y="56221"/>
                      <a:pt x="6163116" y="27835"/>
                      <a:pt x="6138341"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9996" y="0"/>
                    </a:moveTo>
                    <a:cubicBezTo>
                      <a:pt x="6187441" y="0"/>
                      <a:pt x="6211163" y="36863"/>
                      <a:pt x="6211163" y="110587"/>
                    </a:cubicBezTo>
                    <a:cubicBezTo>
                      <a:pt x="6211163" y="147099"/>
                      <a:pt x="6204468" y="174959"/>
                      <a:pt x="6191077" y="194167"/>
                    </a:cubicBezTo>
                    <a:cubicBezTo>
                      <a:pt x="6177686" y="213375"/>
                      <a:pt x="6158954" y="222980"/>
                      <a:pt x="6134880" y="222980"/>
                    </a:cubicBezTo>
                    <a:cubicBezTo>
                      <a:pt x="6112412" y="222980"/>
                      <a:pt x="6094883" y="213802"/>
                      <a:pt x="6082295" y="195446"/>
                    </a:cubicBezTo>
                    <a:cubicBezTo>
                      <a:pt x="6069706" y="177090"/>
                      <a:pt x="6063412" y="150559"/>
                      <a:pt x="6063412" y="115854"/>
                    </a:cubicBezTo>
                    <a:cubicBezTo>
                      <a:pt x="6063412" y="77737"/>
                      <a:pt x="6069982" y="48899"/>
                      <a:pt x="6083122" y="29339"/>
                    </a:cubicBezTo>
                    <a:cubicBezTo>
                      <a:pt x="6096263" y="9780"/>
                      <a:pt x="6115220" y="0"/>
                      <a:pt x="6139996" y="0"/>
                    </a:cubicBezTo>
                    <a:close/>
                    <a:moveTo>
                      <a:pt x="76584" y="0"/>
                    </a:moveTo>
                    <a:cubicBezTo>
                      <a:pt x="124029"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8" name="Freeform 407"/>
              <p:cNvSpPr/>
              <p:nvPr/>
            </p:nvSpPr>
            <p:spPr>
              <a:xfrm>
                <a:off x="54768" y="402129"/>
                <a:ext cx="12049814" cy="222980"/>
              </a:xfrm>
              <a:custGeom>
                <a:avLst/>
                <a:gdLst>
                  <a:gd name="connsiteX0" fmla="*/ 11976992 w 12049814"/>
                  <a:gd name="connsiteY0" fmla="*/ 27835 h 222980"/>
                  <a:gd name="connsiteX1" fmla="*/ 11937722 w 12049814"/>
                  <a:gd name="connsiteY1" fmla="*/ 114349 h 222980"/>
                  <a:gd name="connsiteX2" fmla="*/ 11976240 w 12049814"/>
                  <a:gd name="connsiteY2" fmla="*/ 195296 h 222980"/>
                  <a:gd name="connsiteX3" fmla="*/ 12014155 w 12049814"/>
                  <a:gd name="connsiteY3" fmla="*/ 112995 h 222980"/>
                  <a:gd name="connsiteX4" fmla="*/ 11976992 w 12049814"/>
                  <a:gd name="connsiteY4" fmla="*/ 27835 h 222980"/>
                  <a:gd name="connsiteX5" fmla="*/ 11760482 w 12049814"/>
                  <a:gd name="connsiteY5" fmla="*/ 27835 h 222980"/>
                  <a:gd name="connsiteX6" fmla="*/ 11721212 w 12049814"/>
                  <a:gd name="connsiteY6" fmla="*/ 114349 h 222980"/>
                  <a:gd name="connsiteX7" fmla="*/ 11759730 w 12049814"/>
                  <a:gd name="connsiteY7" fmla="*/ 195296 h 222980"/>
                  <a:gd name="connsiteX8" fmla="*/ 11797645 w 12049814"/>
                  <a:gd name="connsiteY8" fmla="*/ 112995 h 222980"/>
                  <a:gd name="connsiteX9" fmla="*/ 11760482 w 12049814"/>
                  <a:gd name="connsiteY9" fmla="*/ 27835 h 222980"/>
                  <a:gd name="connsiteX10" fmla="*/ 6965694 w 12049814"/>
                  <a:gd name="connsiteY10" fmla="*/ 27835 h 222980"/>
                  <a:gd name="connsiteX11" fmla="*/ 6926424 w 12049814"/>
                  <a:gd name="connsiteY11" fmla="*/ 114349 h 222980"/>
                  <a:gd name="connsiteX12" fmla="*/ 6964942 w 12049814"/>
                  <a:gd name="connsiteY12" fmla="*/ 195296 h 222980"/>
                  <a:gd name="connsiteX13" fmla="*/ 7002857 w 12049814"/>
                  <a:gd name="connsiteY13" fmla="*/ 112995 h 222980"/>
                  <a:gd name="connsiteX14" fmla="*/ 6965694 w 12049814"/>
                  <a:gd name="connsiteY14" fmla="*/ 27835 h 222980"/>
                  <a:gd name="connsiteX15" fmla="*/ 6749184 w 12049814"/>
                  <a:gd name="connsiteY15" fmla="*/ 27835 h 222980"/>
                  <a:gd name="connsiteX16" fmla="*/ 6709914 w 12049814"/>
                  <a:gd name="connsiteY16" fmla="*/ 114349 h 222980"/>
                  <a:gd name="connsiteX17" fmla="*/ 6748432 w 12049814"/>
                  <a:gd name="connsiteY17" fmla="*/ 195296 h 222980"/>
                  <a:gd name="connsiteX18" fmla="*/ 6786347 w 12049814"/>
                  <a:gd name="connsiteY18" fmla="*/ 112995 h 222980"/>
                  <a:gd name="connsiteX19" fmla="*/ 6749184 w 12049814"/>
                  <a:gd name="connsiteY19" fmla="*/ 27835 h 222980"/>
                  <a:gd name="connsiteX20" fmla="*/ 6131407 w 12049814"/>
                  <a:gd name="connsiteY20" fmla="*/ 27835 h 222980"/>
                  <a:gd name="connsiteX21" fmla="*/ 6092137 w 12049814"/>
                  <a:gd name="connsiteY21" fmla="*/ 114349 h 222980"/>
                  <a:gd name="connsiteX22" fmla="*/ 6130655 w 12049814"/>
                  <a:gd name="connsiteY22" fmla="*/ 195296 h 222980"/>
                  <a:gd name="connsiteX23" fmla="*/ 6168570 w 12049814"/>
                  <a:gd name="connsiteY23" fmla="*/ 112995 h 222980"/>
                  <a:gd name="connsiteX24" fmla="*/ 6131407 w 12049814"/>
                  <a:gd name="connsiteY24" fmla="*/ 27835 h 222980"/>
                  <a:gd name="connsiteX25" fmla="*/ 5914896 w 12049814"/>
                  <a:gd name="connsiteY25" fmla="*/ 27835 h 222980"/>
                  <a:gd name="connsiteX26" fmla="*/ 5875627 w 12049814"/>
                  <a:gd name="connsiteY26" fmla="*/ 114349 h 222980"/>
                  <a:gd name="connsiteX27" fmla="*/ 5914144 w 12049814"/>
                  <a:gd name="connsiteY27" fmla="*/ 195296 h 222980"/>
                  <a:gd name="connsiteX28" fmla="*/ 5952060 w 12049814"/>
                  <a:gd name="connsiteY28" fmla="*/ 112995 h 222980"/>
                  <a:gd name="connsiteX29" fmla="*/ 5914896 w 12049814"/>
                  <a:gd name="connsiteY29" fmla="*/ 27835 h 222980"/>
                  <a:gd name="connsiteX30" fmla="*/ 5690789 w 12049814"/>
                  <a:gd name="connsiteY30" fmla="*/ 27835 h 222980"/>
                  <a:gd name="connsiteX31" fmla="*/ 5651520 w 12049814"/>
                  <a:gd name="connsiteY31" fmla="*/ 114349 h 222980"/>
                  <a:gd name="connsiteX32" fmla="*/ 5690037 w 12049814"/>
                  <a:gd name="connsiteY32" fmla="*/ 195296 h 222980"/>
                  <a:gd name="connsiteX33" fmla="*/ 5727953 w 12049814"/>
                  <a:gd name="connsiteY33" fmla="*/ 112995 h 222980"/>
                  <a:gd name="connsiteX34" fmla="*/ 5690789 w 12049814"/>
                  <a:gd name="connsiteY34" fmla="*/ 27835 h 222980"/>
                  <a:gd name="connsiteX35" fmla="*/ 912811 w 12049814"/>
                  <a:gd name="connsiteY35" fmla="*/ 27835 h 222980"/>
                  <a:gd name="connsiteX36" fmla="*/ 873541 w 12049814"/>
                  <a:gd name="connsiteY36" fmla="*/ 114349 h 222980"/>
                  <a:gd name="connsiteX37" fmla="*/ 912059 w 12049814"/>
                  <a:gd name="connsiteY37" fmla="*/ 195296 h 222980"/>
                  <a:gd name="connsiteX38" fmla="*/ 949974 w 12049814"/>
                  <a:gd name="connsiteY38" fmla="*/ 112995 h 222980"/>
                  <a:gd name="connsiteX39" fmla="*/ 912811 w 12049814"/>
                  <a:gd name="connsiteY39" fmla="*/ 27835 h 222980"/>
                  <a:gd name="connsiteX40" fmla="*/ 696534 w 12049814"/>
                  <a:gd name="connsiteY40" fmla="*/ 27835 h 222980"/>
                  <a:gd name="connsiteX41" fmla="*/ 657266 w 12049814"/>
                  <a:gd name="connsiteY41" fmla="*/ 114349 h 222980"/>
                  <a:gd name="connsiteX42" fmla="*/ 695783 w 12049814"/>
                  <a:gd name="connsiteY42" fmla="*/ 195296 h 222980"/>
                  <a:gd name="connsiteX43" fmla="*/ 733699 w 12049814"/>
                  <a:gd name="connsiteY43" fmla="*/ 112995 h 222980"/>
                  <a:gd name="connsiteX44" fmla="*/ 696534 w 12049814"/>
                  <a:gd name="connsiteY44" fmla="*/ 27835 h 222980"/>
                  <a:gd name="connsiteX45" fmla="*/ 74929 w 12049814"/>
                  <a:gd name="connsiteY45" fmla="*/ 27835 h 222980"/>
                  <a:gd name="connsiteX46" fmla="*/ 35658 w 12049814"/>
                  <a:gd name="connsiteY46" fmla="*/ 114349 h 222980"/>
                  <a:gd name="connsiteX47" fmla="*/ 74175 w 12049814"/>
                  <a:gd name="connsiteY47" fmla="*/ 195296 h 222980"/>
                  <a:gd name="connsiteX48" fmla="*/ 112091 w 12049814"/>
                  <a:gd name="connsiteY48" fmla="*/ 112995 h 222980"/>
                  <a:gd name="connsiteX49" fmla="*/ 74929 w 12049814"/>
                  <a:gd name="connsiteY49" fmla="*/ 27835 h 222980"/>
                  <a:gd name="connsiteX50" fmla="*/ 11978647 w 12049814"/>
                  <a:gd name="connsiteY50" fmla="*/ 0 h 222980"/>
                  <a:gd name="connsiteX51" fmla="*/ 12049814 w 12049814"/>
                  <a:gd name="connsiteY51" fmla="*/ 110587 h 222980"/>
                  <a:gd name="connsiteX52" fmla="*/ 12029728 w 12049814"/>
                  <a:gd name="connsiteY52" fmla="*/ 194167 h 222980"/>
                  <a:gd name="connsiteX53" fmla="*/ 11973531 w 12049814"/>
                  <a:gd name="connsiteY53" fmla="*/ 222980 h 222980"/>
                  <a:gd name="connsiteX54" fmla="*/ 11920946 w 12049814"/>
                  <a:gd name="connsiteY54" fmla="*/ 195446 h 222980"/>
                  <a:gd name="connsiteX55" fmla="*/ 11902063 w 12049814"/>
                  <a:gd name="connsiteY55" fmla="*/ 115854 h 222980"/>
                  <a:gd name="connsiteX56" fmla="*/ 11921773 w 12049814"/>
                  <a:gd name="connsiteY56" fmla="*/ 29339 h 222980"/>
                  <a:gd name="connsiteX57" fmla="*/ 11978647 w 12049814"/>
                  <a:gd name="connsiteY57" fmla="*/ 0 h 222980"/>
                  <a:gd name="connsiteX58" fmla="*/ 11762137 w 12049814"/>
                  <a:gd name="connsiteY58" fmla="*/ 0 h 222980"/>
                  <a:gd name="connsiteX59" fmla="*/ 11833304 w 12049814"/>
                  <a:gd name="connsiteY59" fmla="*/ 110587 h 222980"/>
                  <a:gd name="connsiteX60" fmla="*/ 11813218 w 12049814"/>
                  <a:gd name="connsiteY60" fmla="*/ 194167 h 222980"/>
                  <a:gd name="connsiteX61" fmla="*/ 11757021 w 12049814"/>
                  <a:gd name="connsiteY61" fmla="*/ 222980 h 222980"/>
                  <a:gd name="connsiteX62" fmla="*/ 11704436 w 12049814"/>
                  <a:gd name="connsiteY62" fmla="*/ 195446 h 222980"/>
                  <a:gd name="connsiteX63" fmla="*/ 11685553 w 12049814"/>
                  <a:gd name="connsiteY63" fmla="*/ 115854 h 222980"/>
                  <a:gd name="connsiteX64" fmla="*/ 11705263 w 12049814"/>
                  <a:gd name="connsiteY64" fmla="*/ 29339 h 222980"/>
                  <a:gd name="connsiteX65" fmla="*/ 11762137 w 12049814"/>
                  <a:gd name="connsiteY65" fmla="*/ 0 h 222980"/>
                  <a:gd name="connsiteX66" fmla="*/ 11610582 w 12049814"/>
                  <a:gd name="connsiteY66" fmla="*/ 0 h 222980"/>
                  <a:gd name="connsiteX67" fmla="*/ 11625488 w 12049814"/>
                  <a:gd name="connsiteY67" fmla="*/ 0 h 222980"/>
                  <a:gd name="connsiteX68" fmla="*/ 11625488 w 12049814"/>
                  <a:gd name="connsiteY68" fmla="*/ 222980 h 222980"/>
                  <a:gd name="connsiteX69" fmla="*/ 11590200 w 12049814"/>
                  <a:gd name="connsiteY69" fmla="*/ 222980 h 222980"/>
                  <a:gd name="connsiteX70" fmla="*/ 11590200 w 12049814"/>
                  <a:gd name="connsiteY70" fmla="*/ 43197 h 222980"/>
                  <a:gd name="connsiteX71" fmla="*/ 11569591 w 12049814"/>
                  <a:gd name="connsiteY71" fmla="*/ 54832 h 222980"/>
                  <a:gd name="connsiteX72" fmla="*/ 11544418 w 12049814"/>
                  <a:gd name="connsiteY72" fmla="*/ 63274 h 222980"/>
                  <a:gd name="connsiteX73" fmla="*/ 11544418 w 12049814"/>
                  <a:gd name="connsiteY73" fmla="*/ 33158 h 222980"/>
                  <a:gd name="connsiteX74" fmla="*/ 11561453 w 12049814"/>
                  <a:gd name="connsiteY74" fmla="*/ 27074 h 222980"/>
                  <a:gd name="connsiteX75" fmla="*/ 11577652 w 12049814"/>
                  <a:gd name="connsiteY75" fmla="*/ 19925 h 222980"/>
                  <a:gd name="connsiteX76" fmla="*/ 11593775 w 12049814"/>
                  <a:gd name="connsiteY76" fmla="*/ 11103 h 222980"/>
                  <a:gd name="connsiteX77" fmla="*/ 11610582 w 12049814"/>
                  <a:gd name="connsiteY77" fmla="*/ 0 h 222980"/>
                  <a:gd name="connsiteX78" fmla="*/ 11307807 w 12049814"/>
                  <a:gd name="connsiteY78" fmla="*/ 0 h 222980"/>
                  <a:gd name="connsiteX79" fmla="*/ 11322713 w 12049814"/>
                  <a:gd name="connsiteY79" fmla="*/ 0 h 222980"/>
                  <a:gd name="connsiteX80" fmla="*/ 11322713 w 12049814"/>
                  <a:gd name="connsiteY80" fmla="*/ 222980 h 222980"/>
                  <a:gd name="connsiteX81" fmla="*/ 11287425 w 12049814"/>
                  <a:gd name="connsiteY81" fmla="*/ 222980 h 222980"/>
                  <a:gd name="connsiteX82" fmla="*/ 11287425 w 12049814"/>
                  <a:gd name="connsiteY82" fmla="*/ 43197 h 222980"/>
                  <a:gd name="connsiteX83" fmla="*/ 11266816 w 12049814"/>
                  <a:gd name="connsiteY83" fmla="*/ 54832 h 222980"/>
                  <a:gd name="connsiteX84" fmla="*/ 11241643 w 12049814"/>
                  <a:gd name="connsiteY84" fmla="*/ 63274 h 222980"/>
                  <a:gd name="connsiteX85" fmla="*/ 11241643 w 12049814"/>
                  <a:gd name="connsiteY85" fmla="*/ 33158 h 222980"/>
                  <a:gd name="connsiteX86" fmla="*/ 11258678 w 12049814"/>
                  <a:gd name="connsiteY86" fmla="*/ 27074 h 222980"/>
                  <a:gd name="connsiteX87" fmla="*/ 11274877 w 12049814"/>
                  <a:gd name="connsiteY87" fmla="*/ 19925 h 222980"/>
                  <a:gd name="connsiteX88" fmla="*/ 11291000 w 12049814"/>
                  <a:gd name="connsiteY88" fmla="*/ 11103 h 222980"/>
                  <a:gd name="connsiteX89" fmla="*/ 11307807 w 12049814"/>
                  <a:gd name="connsiteY89" fmla="*/ 0 h 222980"/>
                  <a:gd name="connsiteX90" fmla="*/ 10930643 w 12049814"/>
                  <a:gd name="connsiteY90" fmla="*/ 0 h 222980"/>
                  <a:gd name="connsiteX91" fmla="*/ 10945549 w 12049814"/>
                  <a:gd name="connsiteY91" fmla="*/ 0 h 222980"/>
                  <a:gd name="connsiteX92" fmla="*/ 10945549 w 12049814"/>
                  <a:gd name="connsiteY92" fmla="*/ 222980 h 222980"/>
                  <a:gd name="connsiteX93" fmla="*/ 10910261 w 12049814"/>
                  <a:gd name="connsiteY93" fmla="*/ 222980 h 222980"/>
                  <a:gd name="connsiteX94" fmla="*/ 10910261 w 12049814"/>
                  <a:gd name="connsiteY94" fmla="*/ 43197 h 222980"/>
                  <a:gd name="connsiteX95" fmla="*/ 10889652 w 12049814"/>
                  <a:gd name="connsiteY95" fmla="*/ 54832 h 222980"/>
                  <a:gd name="connsiteX96" fmla="*/ 10864479 w 12049814"/>
                  <a:gd name="connsiteY96" fmla="*/ 63274 h 222980"/>
                  <a:gd name="connsiteX97" fmla="*/ 10864479 w 12049814"/>
                  <a:gd name="connsiteY97" fmla="*/ 33158 h 222980"/>
                  <a:gd name="connsiteX98" fmla="*/ 10881514 w 12049814"/>
                  <a:gd name="connsiteY98" fmla="*/ 27074 h 222980"/>
                  <a:gd name="connsiteX99" fmla="*/ 10897713 w 12049814"/>
                  <a:gd name="connsiteY99" fmla="*/ 19925 h 222980"/>
                  <a:gd name="connsiteX100" fmla="*/ 10913836 w 12049814"/>
                  <a:gd name="connsiteY100" fmla="*/ 11103 h 222980"/>
                  <a:gd name="connsiteX101" fmla="*/ 10930643 w 12049814"/>
                  <a:gd name="connsiteY101" fmla="*/ 0 h 222980"/>
                  <a:gd name="connsiteX102" fmla="*/ 10781786 w 12049814"/>
                  <a:gd name="connsiteY102" fmla="*/ 0 h 222980"/>
                  <a:gd name="connsiteX103" fmla="*/ 10796692 w 12049814"/>
                  <a:gd name="connsiteY103" fmla="*/ 0 h 222980"/>
                  <a:gd name="connsiteX104" fmla="*/ 10796692 w 12049814"/>
                  <a:gd name="connsiteY104" fmla="*/ 222980 h 222980"/>
                  <a:gd name="connsiteX105" fmla="*/ 10761404 w 12049814"/>
                  <a:gd name="connsiteY105" fmla="*/ 222980 h 222980"/>
                  <a:gd name="connsiteX106" fmla="*/ 10761404 w 12049814"/>
                  <a:gd name="connsiteY106" fmla="*/ 43197 h 222980"/>
                  <a:gd name="connsiteX107" fmla="*/ 10740795 w 12049814"/>
                  <a:gd name="connsiteY107" fmla="*/ 54832 h 222980"/>
                  <a:gd name="connsiteX108" fmla="*/ 10715622 w 12049814"/>
                  <a:gd name="connsiteY108" fmla="*/ 63274 h 222980"/>
                  <a:gd name="connsiteX109" fmla="*/ 10715622 w 12049814"/>
                  <a:gd name="connsiteY109" fmla="*/ 33158 h 222980"/>
                  <a:gd name="connsiteX110" fmla="*/ 10732657 w 12049814"/>
                  <a:gd name="connsiteY110" fmla="*/ 27074 h 222980"/>
                  <a:gd name="connsiteX111" fmla="*/ 10748856 w 12049814"/>
                  <a:gd name="connsiteY111" fmla="*/ 19925 h 222980"/>
                  <a:gd name="connsiteX112" fmla="*/ 10764979 w 12049814"/>
                  <a:gd name="connsiteY112" fmla="*/ 11103 h 222980"/>
                  <a:gd name="connsiteX113" fmla="*/ 10781786 w 12049814"/>
                  <a:gd name="connsiteY113" fmla="*/ 0 h 222980"/>
                  <a:gd name="connsiteX114" fmla="*/ 10627868 w 12049814"/>
                  <a:gd name="connsiteY114" fmla="*/ 0 h 222980"/>
                  <a:gd name="connsiteX115" fmla="*/ 10642774 w 12049814"/>
                  <a:gd name="connsiteY115" fmla="*/ 0 h 222980"/>
                  <a:gd name="connsiteX116" fmla="*/ 10642774 w 12049814"/>
                  <a:gd name="connsiteY116" fmla="*/ 222980 h 222980"/>
                  <a:gd name="connsiteX117" fmla="*/ 10607486 w 12049814"/>
                  <a:gd name="connsiteY117" fmla="*/ 222980 h 222980"/>
                  <a:gd name="connsiteX118" fmla="*/ 10607486 w 12049814"/>
                  <a:gd name="connsiteY118" fmla="*/ 43197 h 222980"/>
                  <a:gd name="connsiteX119" fmla="*/ 10586877 w 12049814"/>
                  <a:gd name="connsiteY119" fmla="*/ 54832 h 222980"/>
                  <a:gd name="connsiteX120" fmla="*/ 10561704 w 12049814"/>
                  <a:gd name="connsiteY120" fmla="*/ 63274 h 222980"/>
                  <a:gd name="connsiteX121" fmla="*/ 10561704 w 12049814"/>
                  <a:gd name="connsiteY121" fmla="*/ 33158 h 222980"/>
                  <a:gd name="connsiteX122" fmla="*/ 10578739 w 12049814"/>
                  <a:gd name="connsiteY122" fmla="*/ 27074 h 222980"/>
                  <a:gd name="connsiteX123" fmla="*/ 10594938 w 12049814"/>
                  <a:gd name="connsiteY123" fmla="*/ 19925 h 222980"/>
                  <a:gd name="connsiteX124" fmla="*/ 10611061 w 12049814"/>
                  <a:gd name="connsiteY124" fmla="*/ 11103 h 222980"/>
                  <a:gd name="connsiteX125" fmla="*/ 10627868 w 12049814"/>
                  <a:gd name="connsiteY125" fmla="*/ 0 h 222980"/>
                  <a:gd name="connsiteX126" fmla="*/ 10479011 w 12049814"/>
                  <a:gd name="connsiteY126" fmla="*/ 0 h 222980"/>
                  <a:gd name="connsiteX127" fmla="*/ 10493917 w 12049814"/>
                  <a:gd name="connsiteY127" fmla="*/ 0 h 222980"/>
                  <a:gd name="connsiteX128" fmla="*/ 10493917 w 12049814"/>
                  <a:gd name="connsiteY128" fmla="*/ 222980 h 222980"/>
                  <a:gd name="connsiteX129" fmla="*/ 10458629 w 12049814"/>
                  <a:gd name="connsiteY129" fmla="*/ 222980 h 222980"/>
                  <a:gd name="connsiteX130" fmla="*/ 10458629 w 12049814"/>
                  <a:gd name="connsiteY130" fmla="*/ 43197 h 222980"/>
                  <a:gd name="connsiteX131" fmla="*/ 10438020 w 12049814"/>
                  <a:gd name="connsiteY131" fmla="*/ 54832 h 222980"/>
                  <a:gd name="connsiteX132" fmla="*/ 10412847 w 12049814"/>
                  <a:gd name="connsiteY132" fmla="*/ 63274 h 222980"/>
                  <a:gd name="connsiteX133" fmla="*/ 10412847 w 12049814"/>
                  <a:gd name="connsiteY133" fmla="*/ 33158 h 222980"/>
                  <a:gd name="connsiteX134" fmla="*/ 10429882 w 12049814"/>
                  <a:gd name="connsiteY134" fmla="*/ 27074 h 222980"/>
                  <a:gd name="connsiteX135" fmla="*/ 10446081 w 12049814"/>
                  <a:gd name="connsiteY135" fmla="*/ 19925 h 222980"/>
                  <a:gd name="connsiteX136" fmla="*/ 10462204 w 12049814"/>
                  <a:gd name="connsiteY136" fmla="*/ 11103 h 222980"/>
                  <a:gd name="connsiteX137" fmla="*/ 10479011 w 12049814"/>
                  <a:gd name="connsiteY137" fmla="*/ 0 h 222980"/>
                  <a:gd name="connsiteX138" fmla="*/ 9757620 w 12049814"/>
                  <a:gd name="connsiteY138" fmla="*/ 0 h 222980"/>
                  <a:gd name="connsiteX139" fmla="*/ 9772526 w 12049814"/>
                  <a:gd name="connsiteY139" fmla="*/ 0 h 222980"/>
                  <a:gd name="connsiteX140" fmla="*/ 9772526 w 12049814"/>
                  <a:gd name="connsiteY140" fmla="*/ 222980 h 222980"/>
                  <a:gd name="connsiteX141" fmla="*/ 9737238 w 12049814"/>
                  <a:gd name="connsiteY141" fmla="*/ 222980 h 222980"/>
                  <a:gd name="connsiteX142" fmla="*/ 9737238 w 12049814"/>
                  <a:gd name="connsiteY142" fmla="*/ 43197 h 222980"/>
                  <a:gd name="connsiteX143" fmla="*/ 9716629 w 12049814"/>
                  <a:gd name="connsiteY143" fmla="*/ 54832 h 222980"/>
                  <a:gd name="connsiteX144" fmla="*/ 9691456 w 12049814"/>
                  <a:gd name="connsiteY144" fmla="*/ 63274 h 222980"/>
                  <a:gd name="connsiteX145" fmla="*/ 9691456 w 12049814"/>
                  <a:gd name="connsiteY145" fmla="*/ 33158 h 222980"/>
                  <a:gd name="connsiteX146" fmla="*/ 9708491 w 12049814"/>
                  <a:gd name="connsiteY146" fmla="*/ 27074 h 222980"/>
                  <a:gd name="connsiteX147" fmla="*/ 9724690 w 12049814"/>
                  <a:gd name="connsiteY147" fmla="*/ 19925 h 222980"/>
                  <a:gd name="connsiteX148" fmla="*/ 9740813 w 12049814"/>
                  <a:gd name="connsiteY148" fmla="*/ 11103 h 222980"/>
                  <a:gd name="connsiteX149" fmla="*/ 9757620 w 12049814"/>
                  <a:gd name="connsiteY149" fmla="*/ 0 h 222980"/>
                  <a:gd name="connsiteX150" fmla="*/ 9608763 w 12049814"/>
                  <a:gd name="connsiteY150" fmla="*/ 0 h 222980"/>
                  <a:gd name="connsiteX151" fmla="*/ 9623669 w 12049814"/>
                  <a:gd name="connsiteY151" fmla="*/ 0 h 222980"/>
                  <a:gd name="connsiteX152" fmla="*/ 9623669 w 12049814"/>
                  <a:gd name="connsiteY152" fmla="*/ 222980 h 222980"/>
                  <a:gd name="connsiteX153" fmla="*/ 9588381 w 12049814"/>
                  <a:gd name="connsiteY153" fmla="*/ 222980 h 222980"/>
                  <a:gd name="connsiteX154" fmla="*/ 9588381 w 12049814"/>
                  <a:gd name="connsiteY154" fmla="*/ 43197 h 222980"/>
                  <a:gd name="connsiteX155" fmla="*/ 9567772 w 12049814"/>
                  <a:gd name="connsiteY155" fmla="*/ 54832 h 222980"/>
                  <a:gd name="connsiteX156" fmla="*/ 9542599 w 12049814"/>
                  <a:gd name="connsiteY156" fmla="*/ 63274 h 222980"/>
                  <a:gd name="connsiteX157" fmla="*/ 9542599 w 12049814"/>
                  <a:gd name="connsiteY157" fmla="*/ 33158 h 222980"/>
                  <a:gd name="connsiteX158" fmla="*/ 9559634 w 12049814"/>
                  <a:gd name="connsiteY158" fmla="*/ 27074 h 222980"/>
                  <a:gd name="connsiteX159" fmla="*/ 9575833 w 12049814"/>
                  <a:gd name="connsiteY159" fmla="*/ 19925 h 222980"/>
                  <a:gd name="connsiteX160" fmla="*/ 9591956 w 12049814"/>
                  <a:gd name="connsiteY160" fmla="*/ 11103 h 222980"/>
                  <a:gd name="connsiteX161" fmla="*/ 9608763 w 12049814"/>
                  <a:gd name="connsiteY161" fmla="*/ 0 h 222980"/>
                  <a:gd name="connsiteX162" fmla="*/ 8805658 w 12049814"/>
                  <a:gd name="connsiteY162" fmla="*/ 0 h 222980"/>
                  <a:gd name="connsiteX163" fmla="*/ 8820564 w 12049814"/>
                  <a:gd name="connsiteY163" fmla="*/ 0 h 222980"/>
                  <a:gd name="connsiteX164" fmla="*/ 8820564 w 12049814"/>
                  <a:gd name="connsiteY164" fmla="*/ 222980 h 222980"/>
                  <a:gd name="connsiteX165" fmla="*/ 8785276 w 12049814"/>
                  <a:gd name="connsiteY165" fmla="*/ 222980 h 222980"/>
                  <a:gd name="connsiteX166" fmla="*/ 8785276 w 12049814"/>
                  <a:gd name="connsiteY166" fmla="*/ 43197 h 222980"/>
                  <a:gd name="connsiteX167" fmla="*/ 8764667 w 12049814"/>
                  <a:gd name="connsiteY167" fmla="*/ 54832 h 222980"/>
                  <a:gd name="connsiteX168" fmla="*/ 8739494 w 12049814"/>
                  <a:gd name="connsiteY168" fmla="*/ 63274 h 222980"/>
                  <a:gd name="connsiteX169" fmla="*/ 8739494 w 12049814"/>
                  <a:gd name="connsiteY169" fmla="*/ 33158 h 222980"/>
                  <a:gd name="connsiteX170" fmla="*/ 8756529 w 12049814"/>
                  <a:gd name="connsiteY170" fmla="*/ 27074 h 222980"/>
                  <a:gd name="connsiteX171" fmla="*/ 8772728 w 12049814"/>
                  <a:gd name="connsiteY171" fmla="*/ 19925 h 222980"/>
                  <a:gd name="connsiteX172" fmla="*/ 8788851 w 12049814"/>
                  <a:gd name="connsiteY172" fmla="*/ 11103 h 222980"/>
                  <a:gd name="connsiteX173" fmla="*/ 8805658 w 12049814"/>
                  <a:gd name="connsiteY173" fmla="*/ 0 h 222980"/>
                  <a:gd name="connsiteX174" fmla="*/ 8427051 w 12049814"/>
                  <a:gd name="connsiteY174" fmla="*/ 0 h 222980"/>
                  <a:gd name="connsiteX175" fmla="*/ 8441957 w 12049814"/>
                  <a:gd name="connsiteY175" fmla="*/ 0 h 222980"/>
                  <a:gd name="connsiteX176" fmla="*/ 8441957 w 12049814"/>
                  <a:gd name="connsiteY176" fmla="*/ 222980 h 222980"/>
                  <a:gd name="connsiteX177" fmla="*/ 8406669 w 12049814"/>
                  <a:gd name="connsiteY177" fmla="*/ 222980 h 222980"/>
                  <a:gd name="connsiteX178" fmla="*/ 8406669 w 12049814"/>
                  <a:gd name="connsiteY178" fmla="*/ 43197 h 222980"/>
                  <a:gd name="connsiteX179" fmla="*/ 8386060 w 12049814"/>
                  <a:gd name="connsiteY179" fmla="*/ 54832 h 222980"/>
                  <a:gd name="connsiteX180" fmla="*/ 8360887 w 12049814"/>
                  <a:gd name="connsiteY180" fmla="*/ 63274 h 222980"/>
                  <a:gd name="connsiteX181" fmla="*/ 8360887 w 12049814"/>
                  <a:gd name="connsiteY181" fmla="*/ 33158 h 222980"/>
                  <a:gd name="connsiteX182" fmla="*/ 8377922 w 12049814"/>
                  <a:gd name="connsiteY182" fmla="*/ 27074 h 222980"/>
                  <a:gd name="connsiteX183" fmla="*/ 8394121 w 12049814"/>
                  <a:gd name="connsiteY183" fmla="*/ 19925 h 222980"/>
                  <a:gd name="connsiteX184" fmla="*/ 8410244 w 12049814"/>
                  <a:gd name="connsiteY184" fmla="*/ 11103 h 222980"/>
                  <a:gd name="connsiteX185" fmla="*/ 8427051 w 12049814"/>
                  <a:gd name="connsiteY185" fmla="*/ 0 h 222980"/>
                  <a:gd name="connsiteX186" fmla="*/ 8278194 w 12049814"/>
                  <a:gd name="connsiteY186" fmla="*/ 0 h 222980"/>
                  <a:gd name="connsiteX187" fmla="*/ 8293100 w 12049814"/>
                  <a:gd name="connsiteY187" fmla="*/ 0 h 222980"/>
                  <a:gd name="connsiteX188" fmla="*/ 8293100 w 12049814"/>
                  <a:gd name="connsiteY188" fmla="*/ 222980 h 222980"/>
                  <a:gd name="connsiteX189" fmla="*/ 8257812 w 12049814"/>
                  <a:gd name="connsiteY189" fmla="*/ 222980 h 222980"/>
                  <a:gd name="connsiteX190" fmla="*/ 8257812 w 12049814"/>
                  <a:gd name="connsiteY190" fmla="*/ 43197 h 222980"/>
                  <a:gd name="connsiteX191" fmla="*/ 8237203 w 12049814"/>
                  <a:gd name="connsiteY191" fmla="*/ 54832 h 222980"/>
                  <a:gd name="connsiteX192" fmla="*/ 8212030 w 12049814"/>
                  <a:gd name="connsiteY192" fmla="*/ 63274 h 222980"/>
                  <a:gd name="connsiteX193" fmla="*/ 8212030 w 12049814"/>
                  <a:gd name="connsiteY193" fmla="*/ 33158 h 222980"/>
                  <a:gd name="connsiteX194" fmla="*/ 8229065 w 12049814"/>
                  <a:gd name="connsiteY194" fmla="*/ 27074 h 222980"/>
                  <a:gd name="connsiteX195" fmla="*/ 8245264 w 12049814"/>
                  <a:gd name="connsiteY195" fmla="*/ 19925 h 222980"/>
                  <a:gd name="connsiteX196" fmla="*/ 8261387 w 12049814"/>
                  <a:gd name="connsiteY196" fmla="*/ 11103 h 222980"/>
                  <a:gd name="connsiteX197" fmla="*/ 8278194 w 12049814"/>
                  <a:gd name="connsiteY197" fmla="*/ 0 h 222980"/>
                  <a:gd name="connsiteX198" fmla="*/ 8124276 w 12049814"/>
                  <a:gd name="connsiteY198" fmla="*/ 0 h 222980"/>
                  <a:gd name="connsiteX199" fmla="*/ 8139182 w 12049814"/>
                  <a:gd name="connsiteY199" fmla="*/ 0 h 222980"/>
                  <a:gd name="connsiteX200" fmla="*/ 8139182 w 12049814"/>
                  <a:gd name="connsiteY200" fmla="*/ 222980 h 222980"/>
                  <a:gd name="connsiteX201" fmla="*/ 8103894 w 12049814"/>
                  <a:gd name="connsiteY201" fmla="*/ 222980 h 222980"/>
                  <a:gd name="connsiteX202" fmla="*/ 8103894 w 12049814"/>
                  <a:gd name="connsiteY202" fmla="*/ 43197 h 222980"/>
                  <a:gd name="connsiteX203" fmla="*/ 8083285 w 12049814"/>
                  <a:gd name="connsiteY203" fmla="*/ 54832 h 222980"/>
                  <a:gd name="connsiteX204" fmla="*/ 8058112 w 12049814"/>
                  <a:gd name="connsiteY204" fmla="*/ 63274 h 222980"/>
                  <a:gd name="connsiteX205" fmla="*/ 8058112 w 12049814"/>
                  <a:gd name="connsiteY205" fmla="*/ 33158 h 222980"/>
                  <a:gd name="connsiteX206" fmla="*/ 8075147 w 12049814"/>
                  <a:gd name="connsiteY206" fmla="*/ 27074 h 222980"/>
                  <a:gd name="connsiteX207" fmla="*/ 8091346 w 12049814"/>
                  <a:gd name="connsiteY207" fmla="*/ 19925 h 222980"/>
                  <a:gd name="connsiteX208" fmla="*/ 8107469 w 12049814"/>
                  <a:gd name="connsiteY208" fmla="*/ 11103 h 222980"/>
                  <a:gd name="connsiteX209" fmla="*/ 8124276 w 12049814"/>
                  <a:gd name="connsiteY209" fmla="*/ 0 h 222980"/>
                  <a:gd name="connsiteX210" fmla="*/ 7975419 w 12049814"/>
                  <a:gd name="connsiteY210" fmla="*/ 0 h 222980"/>
                  <a:gd name="connsiteX211" fmla="*/ 7990325 w 12049814"/>
                  <a:gd name="connsiteY211" fmla="*/ 0 h 222980"/>
                  <a:gd name="connsiteX212" fmla="*/ 7990325 w 12049814"/>
                  <a:gd name="connsiteY212" fmla="*/ 222980 h 222980"/>
                  <a:gd name="connsiteX213" fmla="*/ 7955037 w 12049814"/>
                  <a:gd name="connsiteY213" fmla="*/ 222980 h 222980"/>
                  <a:gd name="connsiteX214" fmla="*/ 7955037 w 12049814"/>
                  <a:gd name="connsiteY214" fmla="*/ 43197 h 222980"/>
                  <a:gd name="connsiteX215" fmla="*/ 7934428 w 12049814"/>
                  <a:gd name="connsiteY215" fmla="*/ 54832 h 222980"/>
                  <a:gd name="connsiteX216" fmla="*/ 7909255 w 12049814"/>
                  <a:gd name="connsiteY216" fmla="*/ 63274 h 222980"/>
                  <a:gd name="connsiteX217" fmla="*/ 7909255 w 12049814"/>
                  <a:gd name="connsiteY217" fmla="*/ 33158 h 222980"/>
                  <a:gd name="connsiteX218" fmla="*/ 7926290 w 12049814"/>
                  <a:gd name="connsiteY218" fmla="*/ 27074 h 222980"/>
                  <a:gd name="connsiteX219" fmla="*/ 7942489 w 12049814"/>
                  <a:gd name="connsiteY219" fmla="*/ 19925 h 222980"/>
                  <a:gd name="connsiteX220" fmla="*/ 7958612 w 12049814"/>
                  <a:gd name="connsiteY220" fmla="*/ 11103 h 222980"/>
                  <a:gd name="connsiteX221" fmla="*/ 7975419 w 12049814"/>
                  <a:gd name="connsiteY221" fmla="*/ 0 h 222980"/>
                  <a:gd name="connsiteX222" fmla="*/ 7826562 w 12049814"/>
                  <a:gd name="connsiteY222" fmla="*/ 0 h 222980"/>
                  <a:gd name="connsiteX223" fmla="*/ 7841468 w 12049814"/>
                  <a:gd name="connsiteY223" fmla="*/ 0 h 222980"/>
                  <a:gd name="connsiteX224" fmla="*/ 7841468 w 12049814"/>
                  <a:gd name="connsiteY224" fmla="*/ 222980 h 222980"/>
                  <a:gd name="connsiteX225" fmla="*/ 7806180 w 12049814"/>
                  <a:gd name="connsiteY225" fmla="*/ 222980 h 222980"/>
                  <a:gd name="connsiteX226" fmla="*/ 7806180 w 12049814"/>
                  <a:gd name="connsiteY226" fmla="*/ 43197 h 222980"/>
                  <a:gd name="connsiteX227" fmla="*/ 7785571 w 12049814"/>
                  <a:gd name="connsiteY227" fmla="*/ 54832 h 222980"/>
                  <a:gd name="connsiteX228" fmla="*/ 7760398 w 12049814"/>
                  <a:gd name="connsiteY228" fmla="*/ 63274 h 222980"/>
                  <a:gd name="connsiteX229" fmla="*/ 7760398 w 12049814"/>
                  <a:gd name="connsiteY229" fmla="*/ 33158 h 222980"/>
                  <a:gd name="connsiteX230" fmla="*/ 7777433 w 12049814"/>
                  <a:gd name="connsiteY230" fmla="*/ 27074 h 222980"/>
                  <a:gd name="connsiteX231" fmla="*/ 7793632 w 12049814"/>
                  <a:gd name="connsiteY231" fmla="*/ 19925 h 222980"/>
                  <a:gd name="connsiteX232" fmla="*/ 7809755 w 12049814"/>
                  <a:gd name="connsiteY232" fmla="*/ 11103 h 222980"/>
                  <a:gd name="connsiteX233" fmla="*/ 7826562 w 12049814"/>
                  <a:gd name="connsiteY233" fmla="*/ 0 h 222980"/>
                  <a:gd name="connsiteX234" fmla="*/ 7474475 w 12049814"/>
                  <a:gd name="connsiteY234" fmla="*/ 0 h 222980"/>
                  <a:gd name="connsiteX235" fmla="*/ 7489381 w 12049814"/>
                  <a:gd name="connsiteY235" fmla="*/ 0 h 222980"/>
                  <a:gd name="connsiteX236" fmla="*/ 7489381 w 12049814"/>
                  <a:gd name="connsiteY236" fmla="*/ 222980 h 222980"/>
                  <a:gd name="connsiteX237" fmla="*/ 7454093 w 12049814"/>
                  <a:gd name="connsiteY237" fmla="*/ 222980 h 222980"/>
                  <a:gd name="connsiteX238" fmla="*/ 7454093 w 12049814"/>
                  <a:gd name="connsiteY238" fmla="*/ 43197 h 222980"/>
                  <a:gd name="connsiteX239" fmla="*/ 7433484 w 12049814"/>
                  <a:gd name="connsiteY239" fmla="*/ 54832 h 222980"/>
                  <a:gd name="connsiteX240" fmla="*/ 7408311 w 12049814"/>
                  <a:gd name="connsiteY240" fmla="*/ 63274 h 222980"/>
                  <a:gd name="connsiteX241" fmla="*/ 7408311 w 12049814"/>
                  <a:gd name="connsiteY241" fmla="*/ 33158 h 222980"/>
                  <a:gd name="connsiteX242" fmla="*/ 7425346 w 12049814"/>
                  <a:gd name="connsiteY242" fmla="*/ 27074 h 222980"/>
                  <a:gd name="connsiteX243" fmla="*/ 7441545 w 12049814"/>
                  <a:gd name="connsiteY243" fmla="*/ 19925 h 222980"/>
                  <a:gd name="connsiteX244" fmla="*/ 7457668 w 12049814"/>
                  <a:gd name="connsiteY244" fmla="*/ 11103 h 222980"/>
                  <a:gd name="connsiteX245" fmla="*/ 7474475 w 12049814"/>
                  <a:gd name="connsiteY245" fmla="*/ 0 h 222980"/>
                  <a:gd name="connsiteX246" fmla="*/ 7176761 w 12049814"/>
                  <a:gd name="connsiteY246" fmla="*/ 0 h 222980"/>
                  <a:gd name="connsiteX247" fmla="*/ 7191667 w 12049814"/>
                  <a:gd name="connsiteY247" fmla="*/ 0 h 222980"/>
                  <a:gd name="connsiteX248" fmla="*/ 7191667 w 12049814"/>
                  <a:gd name="connsiteY248" fmla="*/ 222980 h 222980"/>
                  <a:gd name="connsiteX249" fmla="*/ 7156379 w 12049814"/>
                  <a:gd name="connsiteY249" fmla="*/ 222980 h 222980"/>
                  <a:gd name="connsiteX250" fmla="*/ 7156379 w 12049814"/>
                  <a:gd name="connsiteY250" fmla="*/ 43197 h 222980"/>
                  <a:gd name="connsiteX251" fmla="*/ 7135770 w 12049814"/>
                  <a:gd name="connsiteY251" fmla="*/ 54832 h 222980"/>
                  <a:gd name="connsiteX252" fmla="*/ 7110597 w 12049814"/>
                  <a:gd name="connsiteY252" fmla="*/ 63274 h 222980"/>
                  <a:gd name="connsiteX253" fmla="*/ 7110597 w 12049814"/>
                  <a:gd name="connsiteY253" fmla="*/ 33158 h 222980"/>
                  <a:gd name="connsiteX254" fmla="*/ 7127632 w 12049814"/>
                  <a:gd name="connsiteY254" fmla="*/ 27074 h 222980"/>
                  <a:gd name="connsiteX255" fmla="*/ 7143831 w 12049814"/>
                  <a:gd name="connsiteY255" fmla="*/ 19925 h 222980"/>
                  <a:gd name="connsiteX256" fmla="*/ 7159954 w 12049814"/>
                  <a:gd name="connsiteY256" fmla="*/ 11103 h 222980"/>
                  <a:gd name="connsiteX257" fmla="*/ 7176761 w 12049814"/>
                  <a:gd name="connsiteY257" fmla="*/ 0 h 222980"/>
                  <a:gd name="connsiteX258" fmla="*/ 6967349 w 12049814"/>
                  <a:gd name="connsiteY258" fmla="*/ 0 h 222980"/>
                  <a:gd name="connsiteX259" fmla="*/ 7038516 w 12049814"/>
                  <a:gd name="connsiteY259" fmla="*/ 110587 h 222980"/>
                  <a:gd name="connsiteX260" fmla="*/ 7018430 w 12049814"/>
                  <a:gd name="connsiteY260" fmla="*/ 194167 h 222980"/>
                  <a:gd name="connsiteX261" fmla="*/ 6962233 w 12049814"/>
                  <a:gd name="connsiteY261" fmla="*/ 222980 h 222980"/>
                  <a:gd name="connsiteX262" fmla="*/ 6909648 w 12049814"/>
                  <a:gd name="connsiteY262" fmla="*/ 195446 h 222980"/>
                  <a:gd name="connsiteX263" fmla="*/ 6890765 w 12049814"/>
                  <a:gd name="connsiteY263" fmla="*/ 115854 h 222980"/>
                  <a:gd name="connsiteX264" fmla="*/ 6910475 w 12049814"/>
                  <a:gd name="connsiteY264" fmla="*/ 29339 h 222980"/>
                  <a:gd name="connsiteX265" fmla="*/ 6967349 w 12049814"/>
                  <a:gd name="connsiteY265" fmla="*/ 0 h 222980"/>
                  <a:gd name="connsiteX266" fmla="*/ 6750839 w 12049814"/>
                  <a:gd name="connsiteY266" fmla="*/ 0 h 222980"/>
                  <a:gd name="connsiteX267" fmla="*/ 6822006 w 12049814"/>
                  <a:gd name="connsiteY267" fmla="*/ 110587 h 222980"/>
                  <a:gd name="connsiteX268" fmla="*/ 6801920 w 12049814"/>
                  <a:gd name="connsiteY268" fmla="*/ 194167 h 222980"/>
                  <a:gd name="connsiteX269" fmla="*/ 6745723 w 12049814"/>
                  <a:gd name="connsiteY269" fmla="*/ 222980 h 222980"/>
                  <a:gd name="connsiteX270" fmla="*/ 6693138 w 12049814"/>
                  <a:gd name="connsiteY270" fmla="*/ 195446 h 222980"/>
                  <a:gd name="connsiteX271" fmla="*/ 6674255 w 12049814"/>
                  <a:gd name="connsiteY271" fmla="*/ 115854 h 222980"/>
                  <a:gd name="connsiteX272" fmla="*/ 6693965 w 12049814"/>
                  <a:gd name="connsiteY272" fmla="*/ 29339 h 222980"/>
                  <a:gd name="connsiteX273" fmla="*/ 6750839 w 12049814"/>
                  <a:gd name="connsiteY273" fmla="*/ 0 h 222980"/>
                  <a:gd name="connsiteX274" fmla="*/ 6604532 w 12049814"/>
                  <a:gd name="connsiteY274" fmla="*/ 0 h 222980"/>
                  <a:gd name="connsiteX275" fmla="*/ 6619438 w 12049814"/>
                  <a:gd name="connsiteY275" fmla="*/ 0 h 222980"/>
                  <a:gd name="connsiteX276" fmla="*/ 6619438 w 12049814"/>
                  <a:gd name="connsiteY276" fmla="*/ 222980 h 222980"/>
                  <a:gd name="connsiteX277" fmla="*/ 6584150 w 12049814"/>
                  <a:gd name="connsiteY277" fmla="*/ 222980 h 222980"/>
                  <a:gd name="connsiteX278" fmla="*/ 6584150 w 12049814"/>
                  <a:gd name="connsiteY278" fmla="*/ 43197 h 222980"/>
                  <a:gd name="connsiteX279" fmla="*/ 6563541 w 12049814"/>
                  <a:gd name="connsiteY279" fmla="*/ 54832 h 222980"/>
                  <a:gd name="connsiteX280" fmla="*/ 6538368 w 12049814"/>
                  <a:gd name="connsiteY280" fmla="*/ 63274 h 222980"/>
                  <a:gd name="connsiteX281" fmla="*/ 6538368 w 12049814"/>
                  <a:gd name="connsiteY281" fmla="*/ 33158 h 222980"/>
                  <a:gd name="connsiteX282" fmla="*/ 6555403 w 12049814"/>
                  <a:gd name="connsiteY282" fmla="*/ 27074 h 222980"/>
                  <a:gd name="connsiteX283" fmla="*/ 6571602 w 12049814"/>
                  <a:gd name="connsiteY283" fmla="*/ 19925 h 222980"/>
                  <a:gd name="connsiteX284" fmla="*/ 6587725 w 12049814"/>
                  <a:gd name="connsiteY284" fmla="*/ 11103 h 222980"/>
                  <a:gd name="connsiteX285" fmla="*/ 6604532 w 12049814"/>
                  <a:gd name="connsiteY285" fmla="*/ 0 h 222980"/>
                  <a:gd name="connsiteX286" fmla="*/ 6306818 w 12049814"/>
                  <a:gd name="connsiteY286" fmla="*/ 0 h 222980"/>
                  <a:gd name="connsiteX287" fmla="*/ 6321724 w 12049814"/>
                  <a:gd name="connsiteY287" fmla="*/ 0 h 222980"/>
                  <a:gd name="connsiteX288" fmla="*/ 6321724 w 12049814"/>
                  <a:gd name="connsiteY288" fmla="*/ 222980 h 222980"/>
                  <a:gd name="connsiteX289" fmla="*/ 6286436 w 12049814"/>
                  <a:gd name="connsiteY289" fmla="*/ 222980 h 222980"/>
                  <a:gd name="connsiteX290" fmla="*/ 6286436 w 12049814"/>
                  <a:gd name="connsiteY290" fmla="*/ 43197 h 222980"/>
                  <a:gd name="connsiteX291" fmla="*/ 6265827 w 12049814"/>
                  <a:gd name="connsiteY291" fmla="*/ 54832 h 222980"/>
                  <a:gd name="connsiteX292" fmla="*/ 6240654 w 12049814"/>
                  <a:gd name="connsiteY292" fmla="*/ 63274 h 222980"/>
                  <a:gd name="connsiteX293" fmla="*/ 6240654 w 12049814"/>
                  <a:gd name="connsiteY293" fmla="*/ 33158 h 222980"/>
                  <a:gd name="connsiteX294" fmla="*/ 6257689 w 12049814"/>
                  <a:gd name="connsiteY294" fmla="*/ 27074 h 222980"/>
                  <a:gd name="connsiteX295" fmla="*/ 6273888 w 12049814"/>
                  <a:gd name="connsiteY295" fmla="*/ 19925 h 222980"/>
                  <a:gd name="connsiteX296" fmla="*/ 6290011 w 12049814"/>
                  <a:gd name="connsiteY296" fmla="*/ 11103 h 222980"/>
                  <a:gd name="connsiteX297" fmla="*/ 6306818 w 12049814"/>
                  <a:gd name="connsiteY297" fmla="*/ 0 h 222980"/>
                  <a:gd name="connsiteX298" fmla="*/ 6133062 w 12049814"/>
                  <a:gd name="connsiteY298" fmla="*/ 0 h 222980"/>
                  <a:gd name="connsiteX299" fmla="*/ 6204229 w 12049814"/>
                  <a:gd name="connsiteY299" fmla="*/ 110587 h 222980"/>
                  <a:gd name="connsiteX300" fmla="*/ 6184143 w 12049814"/>
                  <a:gd name="connsiteY300" fmla="*/ 194167 h 222980"/>
                  <a:gd name="connsiteX301" fmla="*/ 6127946 w 12049814"/>
                  <a:gd name="connsiteY301" fmla="*/ 222980 h 222980"/>
                  <a:gd name="connsiteX302" fmla="*/ 6075361 w 12049814"/>
                  <a:gd name="connsiteY302" fmla="*/ 195446 h 222980"/>
                  <a:gd name="connsiteX303" fmla="*/ 6056478 w 12049814"/>
                  <a:gd name="connsiteY303" fmla="*/ 115854 h 222980"/>
                  <a:gd name="connsiteX304" fmla="*/ 6076188 w 12049814"/>
                  <a:gd name="connsiteY304" fmla="*/ 29339 h 222980"/>
                  <a:gd name="connsiteX305" fmla="*/ 6133062 w 12049814"/>
                  <a:gd name="connsiteY305" fmla="*/ 0 h 222980"/>
                  <a:gd name="connsiteX306" fmla="*/ 5916551 w 12049814"/>
                  <a:gd name="connsiteY306" fmla="*/ 0 h 222980"/>
                  <a:gd name="connsiteX307" fmla="*/ 5987719 w 12049814"/>
                  <a:gd name="connsiteY307" fmla="*/ 110587 h 222980"/>
                  <a:gd name="connsiteX308" fmla="*/ 5967633 w 12049814"/>
                  <a:gd name="connsiteY308" fmla="*/ 194167 h 222980"/>
                  <a:gd name="connsiteX309" fmla="*/ 5911437 w 12049814"/>
                  <a:gd name="connsiteY309" fmla="*/ 222980 h 222980"/>
                  <a:gd name="connsiteX310" fmla="*/ 5858850 w 12049814"/>
                  <a:gd name="connsiteY310" fmla="*/ 195446 h 222980"/>
                  <a:gd name="connsiteX311" fmla="*/ 5839968 w 12049814"/>
                  <a:gd name="connsiteY311" fmla="*/ 115854 h 222980"/>
                  <a:gd name="connsiteX312" fmla="*/ 5859678 w 12049814"/>
                  <a:gd name="connsiteY312" fmla="*/ 29339 h 222980"/>
                  <a:gd name="connsiteX313" fmla="*/ 5916551 w 12049814"/>
                  <a:gd name="connsiteY313" fmla="*/ 0 h 222980"/>
                  <a:gd name="connsiteX314" fmla="*/ 5692444 w 12049814"/>
                  <a:gd name="connsiteY314" fmla="*/ 0 h 222980"/>
                  <a:gd name="connsiteX315" fmla="*/ 5763612 w 12049814"/>
                  <a:gd name="connsiteY315" fmla="*/ 110587 h 222980"/>
                  <a:gd name="connsiteX316" fmla="*/ 5743526 w 12049814"/>
                  <a:gd name="connsiteY316" fmla="*/ 194167 h 222980"/>
                  <a:gd name="connsiteX317" fmla="*/ 5687330 w 12049814"/>
                  <a:gd name="connsiteY317" fmla="*/ 222980 h 222980"/>
                  <a:gd name="connsiteX318" fmla="*/ 5634743 w 12049814"/>
                  <a:gd name="connsiteY318" fmla="*/ 195446 h 222980"/>
                  <a:gd name="connsiteX319" fmla="*/ 5615861 w 12049814"/>
                  <a:gd name="connsiteY319" fmla="*/ 115854 h 222980"/>
                  <a:gd name="connsiteX320" fmla="*/ 5635571 w 12049814"/>
                  <a:gd name="connsiteY320" fmla="*/ 29339 h 222980"/>
                  <a:gd name="connsiteX321" fmla="*/ 5692444 w 12049814"/>
                  <a:gd name="connsiteY321" fmla="*/ 0 h 222980"/>
                  <a:gd name="connsiteX322" fmla="*/ 5535164 w 12049814"/>
                  <a:gd name="connsiteY322" fmla="*/ 0 h 222980"/>
                  <a:gd name="connsiteX323" fmla="*/ 5550072 w 12049814"/>
                  <a:gd name="connsiteY323" fmla="*/ 0 h 222980"/>
                  <a:gd name="connsiteX324" fmla="*/ 5550072 w 12049814"/>
                  <a:gd name="connsiteY324" fmla="*/ 222980 h 222980"/>
                  <a:gd name="connsiteX325" fmla="*/ 5514784 w 12049814"/>
                  <a:gd name="connsiteY325" fmla="*/ 222980 h 222980"/>
                  <a:gd name="connsiteX326" fmla="*/ 5514784 w 12049814"/>
                  <a:gd name="connsiteY326" fmla="*/ 43197 h 222980"/>
                  <a:gd name="connsiteX327" fmla="*/ 5494174 w 12049814"/>
                  <a:gd name="connsiteY327" fmla="*/ 54832 h 222980"/>
                  <a:gd name="connsiteX328" fmla="*/ 5469002 w 12049814"/>
                  <a:gd name="connsiteY328" fmla="*/ 63274 h 222980"/>
                  <a:gd name="connsiteX329" fmla="*/ 5469002 w 12049814"/>
                  <a:gd name="connsiteY329" fmla="*/ 33158 h 222980"/>
                  <a:gd name="connsiteX330" fmla="*/ 5486036 w 12049814"/>
                  <a:gd name="connsiteY330" fmla="*/ 27074 h 222980"/>
                  <a:gd name="connsiteX331" fmla="*/ 5502235 w 12049814"/>
                  <a:gd name="connsiteY331" fmla="*/ 19925 h 222980"/>
                  <a:gd name="connsiteX332" fmla="*/ 5518357 w 12049814"/>
                  <a:gd name="connsiteY332" fmla="*/ 11103 h 222980"/>
                  <a:gd name="connsiteX333" fmla="*/ 5535164 w 12049814"/>
                  <a:gd name="connsiteY333" fmla="*/ 0 h 222980"/>
                  <a:gd name="connsiteX334" fmla="*/ 5237450 w 12049814"/>
                  <a:gd name="connsiteY334" fmla="*/ 0 h 222980"/>
                  <a:gd name="connsiteX335" fmla="*/ 5252357 w 12049814"/>
                  <a:gd name="connsiteY335" fmla="*/ 0 h 222980"/>
                  <a:gd name="connsiteX336" fmla="*/ 5252357 w 12049814"/>
                  <a:gd name="connsiteY336" fmla="*/ 222980 h 222980"/>
                  <a:gd name="connsiteX337" fmla="*/ 5217069 w 12049814"/>
                  <a:gd name="connsiteY337" fmla="*/ 222980 h 222980"/>
                  <a:gd name="connsiteX338" fmla="*/ 5217069 w 12049814"/>
                  <a:gd name="connsiteY338" fmla="*/ 43197 h 222980"/>
                  <a:gd name="connsiteX339" fmla="*/ 5196459 w 12049814"/>
                  <a:gd name="connsiteY339" fmla="*/ 54832 h 222980"/>
                  <a:gd name="connsiteX340" fmla="*/ 5171287 w 12049814"/>
                  <a:gd name="connsiteY340" fmla="*/ 63274 h 222980"/>
                  <a:gd name="connsiteX341" fmla="*/ 5171287 w 12049814"/>
                  <a:gd name="connsiteY341" fmla="*/ 33158 h 222980"/>
                  <a:gd name="connsiteX342" fmla="*/ 5188322 w 12049814"/>
                  <a:gd name="connsiteY342" fmla="*/ 27074 h 222980"/>
                  <a:gd name="connsiteX343" fmla="*/ 5204521 w 12049814"/>
                  <a:gd name="connsiteY343" fmla="*/ 19925 h 222980"/>
                  <a:gd name="connsiteX344" fmla="*/ 5220643 w 12049814"/>
                  <a:gd name="connsiteY344" fmla="*/ 11103 h 222980"/>
                  <a:gd name="connsiteX345" fmla="*/ 5237450 w 12049814"/>
                  <a:gd name="connsiteY345" fmla="*/ 0 h 222980"/>
                  <a:gd name="connsiteX346" fmla="*/ 4862705 w 12049814"/>
                  <a:gd name="connsiteY346" fmla="*/ 0 h 222980"/>
                  <a:gd name="connsiteX347" fmla="*/ 4877612 w 12049814"/>
                  <a:gd name="connsiteY347" fmla="*/ 0 h 222980"/>
                  <a:gd name="connsiteX348" fmla="*/ 4877612 w 12049814"/>
                  <a:gd name="connsiteY348" fmla="*/ 222980 h 222980"/>
                  <a:gd name="connsiteX349" fmla="*/ 4842324 w 12049814"/>
                  <a:gd name="connsiteY349" fmla="*/ 222980 h 222980"/>
                  <a:gd name="connsiteX350" fmla="*/ 4842324 w 12049814"/>
                  <a:gd name="connsiteY350" fmla="*/ 43197 h 222980"/>
                  <a:gd name="connsiteX351" fmla="*/ 4821714 w 12049814"/>
                  <a:gd name="connsiteY351" fmla="*/ 54832 h 222980"/>
                  <a:gd name="connsiteX352" fmla="*/ 4796542 w 12049814"/>
                  <a:gd name="connsiteY352" fmla="*/ 63274 h 222980"/>
                  <a:gd name="connsiteX353" fmla="*/ 4796542 w 12049814"/>
                  <a:gd name="connsiteY353" fmla="*/ 33158 h 222980"/>
                  <a:gd name="connsiteX354" fmla="*/ 4813577 w 12049814"/>
                  <a:gd name="connsiteY354" fmla="*/ 27074 h 222980"/>
                  <a:gd name="connsiteX355" fmla="*/ 4829776 w 12049814"/>
                  <a:gd name="connsiteY355" fmla="*/ 19925 h 222980"/>
                  <a:gd name="connsiteX356" fmla="*/ 4845898 w 12049814"/>
                  <a:gd name="connsiteY356" fmla="*/ 11103 h 222980"/>
                  <a:gd name="connsiteX357" fmla="*/ 4862705 w 12049814"/>
                  <a:gd name="connsiteY357" fmla="*/ 0 h 222980"/>
                  <a:gd name="connsiteX358" fmla="*/ 4719097 w 12049814"/>
                  <a:gd name="connsiteY358" fmla="*/ 0 h 222980"/>
                  <a:gd name="connsiteX359" fmla="*/ 4734004 w 12049814"/>
                  <a:gd name="connsiteY359" fmla="*/ 0 h 222980"/>
                  <a:gd name="connsiteX360" fmla="*/ 4734004 w 12049814"/>
                  <a:gd name="connsiteY360" fmla="*/ 222980 h 222980"/>
                  <a:gd name="connsiteX361" fmla="*/ 4698716 w 12049814"/>
                  <a:gd name="connsiteY361" fmla="*/ 222980 h 222980"/>
                  <a:gd name="connsiteX362" fmla="*/ 4698716 w 12049814"/>
                  <a:gd name="connsiteY362" fmla="*/ 43197 h 222980"/>
                  <a:gd name="connsiteX363" fmla="*/ 4678106 w 12049814"/>
                  <a:gd name="connsiteY363" fmla="*/ 54832 h 222980"/>
                  <a:gd name="connsiteX364" fmla="*/ 4652934 w 12049814"/>
                  <a:gd name="connsiteY364" fmla="*/ 63274 h 222980"/>
                  <a:gd name="connsiteX365" fmla="*/ 4652934 w 12049814"/>
                  <a:gd name="connsiteY365" fmla="*/ 33158 h 222980"/>
                  <a:gd name="connsiteX366" fmla="*/ 4669969 w 12049814"/>
                  <a:gd name="connsiteY366" fmla="*/ 27074 h 222980"/>
                  <a:gd name="connsiteX367" fmla="*/ 4686168 w 12049814"/>
                  <a:gd name="connsiteY367" fmla="*/ 19925 h 222980"/>
                  <a:gd name="connsiteX368" fmla="*/ 4702290 w 12049814"/>
                  <a:gd name="connsiteY368" fmla="*/ 11103 h 222980"/>
                  <a:gd name="connsiteX369" fmla="*/ 4719097 w 12049814"/>
                  <a:gd name="connsiteY369" fmla="*/ 0 h 222980"/>
                  <a:gd name="connsiteX370" fmla="*/ 4575489 w 12049814"/>
                  <a:gd name="connsiteY370" fmla="*/ 0 h 222980"/>
                  <a:gd name="connsiteX371" fmla="*/ 4590396 w 12049814"/>
                  <a:gd name="connsiteY371" fmla="*/ 0 h 222980"/>
                  <a:gd name="connsiteX372" fmla="*/ 4590396 w 12049814"/>
                  <a:gd name="connsiteY372" fmla="*/ 222980 h 222980"/>
                  <a:gd name="connsiteX373" fmla="*/ 4555108 w 12049814"/>
                  <a:gd name="connsiteY373" fmla="*/ 222980 h 222980"/>
                  <a:gd name="connsiteX374" fmla="*/ 4555108 w 12049814"/>
                  <a:gd name="connsiteY374" fmla="*/ 43197 h 222980"/>
                  <a:gd name="connsiteX375" fmla="*/ 4534498 w 12049814"/>
                  <a:gd name="connsiteY375" fmla="*/ 54832 h 222980"/>
                  <a:gd name="connsiteX376" fmla="*/ 4509326 w 12049814"/>
                  <a:gd name="connsiteY376" fmla="*/ 63274 h 222980"/>
                  <a:gd name="connsiteX377" fmla="*/ 4509326 w 12049814"/>
                  <a:gd name="connsiteY377" fmla="*/ 33158 h 222980"/>
                  <a:gd name="connsiteX378" fmla="*/ 4526361 w 12049814"/>
                  <a:gd name="connsiteY378" fmla="*/ 27074 h 222980"/>
                  <a:gd name="connsiteX379" fmla="*/ 4542561 w 12049814"/>
                  <a:gd name="connsiteY379" fmla="*/ 19925 h 222980"/>
                  <a:gd name="connsiteX380" fmla="*/ 4558682 w 12049814"/>
                  <a:gd name="connsiteY380" fmla="*/ 11103 h 222980"/>
                  <a:gd name="connsiteX381" fmla="*/ 4575489 w 12049814"/>
                  <a:gd name="connsiteY381" fmla="*/ 0 h 222980"/>
                  <a:gd name="connsiteX382" fmla="*/ 4431882 w 12049814"/>
                  <a:gd name="connsiteY382" fmla="*/ 0 h 222980"/>
                  <a:gd name="connsiteX383" fmla="*/ 4446788 w 12049814"/>
                  <a:gd name="connsiteY383" fmla="*/ 0 h 222980"/>
                  <a:gd name="connsiteX384" fmla="*/ 4446788 w 12049814"/>
                  <a:gd name="connsiteY384" fmla="*/ 222980 h 222980"/>
                  <a:gd name="connsiteX385" fmla="*/ 4411500 w 12049814"/>
                  <a:gd name="connsiteY385" fmla="*/ 222980 h 222980"/>
                  <a:gd name="connsiteX386" fmla="*/ 4411500 w 12049814"/>
                  <a:gd name="connsiteY386" fmla="*/ 43197 h 222980"/>
                  <a:gd name="connsiteX387" fmla="*/ 4390890 w 12049814"/>
                  <a:gd name="connsiteY387" fmla="*/ 54832 h 222980"/>
                  <a:gd name="connsiteX388" fmla="*/ 4365718 w 12049814"/>
                  <a:gd name="connsiteY388" fmla="*/ 63274 h 222980"/>
                  <a:gd name="connsiteX389" fmla="*/ 4365718 w 12049814"/>
                  <a:gd name="connsiteY389" fmla="*/ 33158 h 222980"/>
                  <a:gd name="connsiteX390" fmla="*/ 4382753 w 12049814"/>
                  <a:gd name="connsiteY390" fmla="*/ 27074 h 222980"/>
                  <a:gd name="connsiteX391" fmla="*/ 4398953 w 12049814"/>
                  <a:gd name="connsiteY391" fmla="*/ 19925 h 222980"/>
                  <a:gd name="connsiteX392" fmla="*/ 4415075 w 12049814"/>
                  <a:gd name="connsiteY392" fmla="*/ 11103 h 222980"/>
                  <a:gd name="connsiteX393" fmla="*/ 4431882 w 12049814"/>
                  <a:gd name="connsiteY393" fmla="*/ 0 h 222980"/>
                  <a:gd name="connsiteX394" fmla="*/ 3691712 w 12049814"/>
                  <a:gd name="connsiteY394" fmla="*/ 0 h 222980"/>
                  <a:gd name="connsiteX395" fmla="*/ 3706617 w 12049814"/>
                  <a:gd name="connsiteY395" fmla="*/ 0 h 222980"/>
                  <a:gd name="connsiteX396" fmla="*/ 3706617 w 12049814"/>
                  <a:gd name="connsiteY396" fmla="*/ 222980 h 222980"/>
                  <a:gd name="connsiteX397" fmla="*/ 3671329 w 12049814"/>
                  <a:gd name="connsiteY397" fmla="*/ 222980 h 222980"/>
                  <a:gd name="connsiteX398" fmla="*/ 3671329 w 12049814"/>
                  <a:gd name="connsiteY398" fmla="*/ 43197 h 222980"/>
                  <a:gd name="connsiteX399" fmla="*/ 3650721 w 12049814"/>
                  <a:gd name="connsiteY399" fmla="*/ 54832 h 222980"/>
                  <a:gd name="connsiteX400" fmla="*/ 3625548 w 12049814"/>
                  <a:gd name="connsiteY400" fmla="*/ 63274 h 222980"/>
                  <a:gd name="connsiteX401" fmla="*/ 3625548 w 12049814"/>
                  <a:gd name="connsiteY401" fmla="*/ 33158 h 222980"/>
                  <a:gd name="connsiteX402" fmla="*/ 3642583 w 12049814"/>
                  <a:gd name="connsiteY402" fmla="*/ 27074 h 222980"/>
                  <a:gd name="connsiteX403" fmla="*/ 3658782 w 12049814"/>
                  <a:gd name="connsiteY403" fmla="*/ 19925 h 222980"/>
                  <a:gd name="connsiteX404" fmla="*/ 3674904 w 12049814"/>
                  <a:gd name="connsiteY404" fmla="*/ 11103 h 222980"/>
                  <a:gd name="connsiteX405" fmla="*/ 3691712 w 12049814"/>
                  <a:gd name="connsiteY405" fmla="*/ 0 h 222980"/>
                  <a:gd name="connsiteX406" fmla="*/ 3542855 w 12049814"/>
                  <a:gd name="connsiteY406" fmla="*/ 0 h 222980"/>
                  <a:gd name="connsiteX407" fmla="*/ 3557761 w 12049814"/>
                  <a:gd name="connsiteY407" fmla="*/ 0 h 222980"/>
                  <a:gd name="connsiteX408" fmla="*/ 3557761 w 12049814"/>
                  <a:gd name="connsiteY408" fmla="*/ 222980 h 222980"/>
                  <a:gd name="connsiteX409" fmla="*/ 3522473 w 12049814"/>
                  <a:gd name="connsiteY409" fmla="*/ 222980 h 222980"/>
                  <a:gd name="connsiteX410" fmla="*/ 3522473 w 12049814"/>
                  <a:gd name="connsiteY410" fmla="*/ 43197 h 222980"/>
                  <a:gd name="connsiteX411" fmla="*/ 3501864 w 12049814"/>
                  <a:gd name="connsiteY411" fmla="*/ 54832 h 222980"/>
                  <a:gd name="connsiteX412" fmla="*/ 3476691 w 12049814"/>
                  <a:gd name="connsiteY412" fmla="*/ 63274 h 222980"/>
                  <a:gd name="connsiteX413" fmla="*/ 3476691 w 12049814"/>
                  <a:gd name="connsiteY413" fmla="*/ 33158 h 222980"/>
                  <a:gd name="connsiteX414" fmla="*/ 3493726 w 12049814"/>
                  <a:gd name="connsiteY414" fmla="*/ 27074 h 222980"/>
                  <a:gd name="connsiteX415" fmla="*/ 3509925 w 12049814"/>
                  <a:gd name="connsiteY415" fmla="*/ 19925 h 222980"/>
                  <a:gd name="connsiteX416" fmla="*/ 3526047 w 12049814"/>
                  <a:gd name="connsiteY416" fmla="*/ 11103 h 222980"/>
                  <a:gd name="connsiteX417" fmla="*/ 3542855 w 12049814"/>
                  <a:gd name="connsiteY417" fmla="*/ 0 h 222980"/>
                  <a:gd name="connsiteX418" fmla="*/ 2738186 w 12049814"/>
                  <a:gd name="connsiteY418" fmla="*/ 0 h 222980"/>
                  <a:gd name="connsiteX419" fmla="*/ 2753092 w 12049814"/>
                  <a:gd name="connsiteY419" fmla="*/ 0 h 222980"/>
                  <a:gd name="connsiteX420" fmla="*/ 2753092 w 12049814"/>
                  <a:gd name="connsiteY420" fmla="*/ 222980 h 222980"/>
                  <a:gd name="connsiteX421" fmla="*/ 2717805 w 12049814"/>
                  <a:gd name="connsiteY421" fmla="*/ 222980 h 222980"/>
                  <a:gd name="connsiteX422" fmla="*/ 2717805 w 12049814"/>
                  <a:gd name="connsiteY422" fmla="*/ 43197 h 222980"/>
                  <a:gd name="connsiteX423" fmla="*/ 2697195 w 12049814"/>
                  <a:gd name="connsiteY423" fmla="*/ 54832 h 222980"/>
                  <a:gd name="connsiteX424" fmla="*/ 2672022 w 12049814"/>
                  <a:gd name="connsiteY424" fmla="*/ 63274 h 222980"/>
                  <a:gd name="connsiteX425" fmla="*/ 2672022 w 12049814"/>
                  <a:gd name="connsiteY425" fmla="*/ 33158 h 222980"/>
                  <a:gd name="connsiteX426" fmla="*/ 2689058 w 12049814"/>
                  <a:gd name="connsiteY426" fmla="*/ 27074 h 222980"/>
                  <a:gd name="connsiteX427" fmla="*/ 2705257 w 12049814"/>
                  <a:gd name="connsiteY427" fmla="*/ 19925 h 222980"/>
                  <a:gd name="connsiteX428" fmla="*/ 2721379 w 12049814"/>
                  <a:gd name="connsiteY428" fmla="*/ 11103 h 222980"/>
                  <a:gd name="connsiteX429" fmla="*/ 2738186 w 12049814"/>
                  <a:gd name="connsiteY429" fmla="*/ 0 h 222980"/>
                  <a:gd name="connsiteX430" fmla="*/ 2345427 w 12049814"/>
                  <a:gd name="connsiteY430" fmla="*/ 0 h 222980"/>
                  <a:gd name="connsiteX431" fmla="*/ 2360334 w 12049814"/>
                  <a:gd name="connsiteY431" fmla="*/ 0 h 222980"/>
                  <a:gd name="connsiteX432" fmla="*/ 2360334 w 12049814"/>
                  <a:gd name="connsiteY432" fmla="*/ 222980 h 222980"/>
                  <a:gd name="connsiteX433" fmla="*/ 2325046 w 12049814"/>
                  <a:gd name="connsiteY433" fmla="*/ 222980 h 222980"/>
                  <a:gd name="connsiteX434" fmla="*/ 2325046 w 12049814"/>
                  <a:gd name="connsiteY434" fmla="*/ 43197 h 222980"/>
                  <a:gd name="connsiteX435" fmla="*/ 2304436 w 12049814"/>
                  <a:gd name="connsiteY435" fmla="*/ 54832 h 222980"/>
                  <a:gd name="connsiteX436" fmla="*/ 2279264 w 12049814"/>
                  <a:gd name="connsiteY436" fmla="*/ 63274 h 222980"/>
                  <a:gd name="connsiteX437" fmla="*/ 2279264 w 12049814"/>
                  <a:gd name="connsiteY437" fmla="*/ 33158 h 222980"/>
                  <a:gd name="connsiteX438" fmla="*/ 2296299 w 12049814"/>
                  <a:gd name="connsiteY438" fmla="*/ 27074 h 222980"/>
                  <a:gd name="connsiteX439" fmla="*/ 2312497 w 12049814"/>
                  <a:gd name="connsiteY439" fmla="*/ 19925 h 222980"/>
                  <a:gd name="connsiteX440" fmla="*/ 2328619 w 12049814"/>
                  <a:gd name="connsiteY440" fmla="*/ 11103 h 222980"/>
                  <a:gd name="connsiteX441" fmla="*/ 2345427 w 12049814"/>
                  <a:gd name="connsiteY441" fmla="*/ 0 h 222980"/>
                  <a:gd name="connsiteX442" fmla="*/ 2201820 w 12049814"/>
                  <a:gd name="connsiteY442" fmla="*/ 0 h 222980"/>
                  <a:gd name="connsiteX443" fmla="*/ 2216726 w 12049814"/>
                  <a:gd name="connsiteY443" fmla="*/ 0 h 222980"/>
                  <a:gd name="connsiteX444" fmla="*/ 2216726 w 12049814"/>
                  <a:gd name="connsiteY444" fmla="*/ 222980 h 222980"/>
                  <a:gd name="connsiteX445" fmla="*/ 2181438 w 12049814"/>
                  <a:gd name="connsiteY445" fmla="*/ 222980 h 222980"/>
                  <a:gd name="connsiteX446" fmla="*/ 2181438 w 12049814"/>
                  <a:gd name="connsiteY446" fmla="*/ 43197 h 222980"/>
                  <a:gd name="connsiteX447" fmla="*/ 2160828 w 12049814"/>
                  <a:gd name="connsiteY447" fmla="*/ 54832 h 222980"/>
                  <a:gd name="connsiteX448" fmla="*/ 2135656 w 12049814"/>
                  <a:gd name="connsiteY448" fmla="*/ 63274 h 222980"/>
                  <a:gd name="connsiteX449" fmla="*/ 2135656 w 12049814"/>
                  <a:gd name="connsiteY449" fmla="*/ 33158 h 222980"/>
                  <a:gd name="connsiteX450" fmla="*/ 2152690 w 12049814"/>
                  <a:gd name="connsiteY450" fmla="*/ 27074 h 222980"/>
                  <a:gd name="connsiteX451" fmla="*/ 2168890 w 12049814"/>
                  <a:gd name="connsiteY451" fmla="*/ 19925 h 222980"/>
                  <a:gd name="connsiteX452" fmla="*/ 2185012 w 12049814"/>
                  <a:gd name="connsiteY452" fmla="*/ 11103 h 222980"/>
                  <a:gd name="connsiteX453" fmla="*/ 2201820 w 12049814"/>
                  <a:gd name="connsiteY453" fmla="*/ 0 h 222980"/>
                  <a:gd name="connsiteX454" fmla="*/ 2058211 w 12049814"/>
                  <a:gd name="connsiteY454" fmla="*/ 0 h 222980"/>
                  <a:gd name="connsiteX455" fmla="*/ 2073118 w 12049814"/>
                  <a:gd name="connsiteY455" fmla="*/ 0 h 222980"/>
                  <a:gd name="connsiteX456" fmla="*/ 2073118 w 12049814"/>
                  <a:gd name="connsiteY456" fmla="*/ 222980 h 222980"/>
                  <a:gd name="connsiteX457" fmla="*/ 2037830 w 12049814"/>
                  <a:gd name="connsiteY457" fmla="*/ 222980 h 222980"/>
                  <a:gd name="connsiteX458" fmla="*/ 2037830 w 12049814"/>
                  <a:gd name="connsiteY458" fmla="*/ 43197 h 222980"/>
                  <a:gd name="connsiteX459" fmla="*/ 2017220 w 12049814"/>
                  <a:gd name="connsiteY459" fmla="*/ 54832 h 222980"/>
                  <a:gd name="connsiteX460" fmla="*/ 1992048 w 12049814"/>
                  <a:gd name="connsiteY460" fmla="*/ 63274 h 222980"/>
                  <a:gd name="connsiteX461" fmla="*/ 1992048 w 12049814"/>
                  <a:gd name="connsiteY461" fmla="*/ 33158 h 222980"/>
                  <a:gd name="connsiteX462" fmla="*/ 2009083 w 12049814"/>
                  <a:gd name="connsiteY462" fmla="*/ 27074 h 222980"/>
                  <a:gd name="connsiteX463" fmla="*/ 2025281 w 12049814"/>
                  <a:gd name="connsiteY463" fmla="*/ 19925 h 222980"/>
                  <a:gd name="connsiteX464" fmla="*/ 2041403 w 12049814"/>
                  <a:gd name="connsiteY464" fmla="*/ 11103 h 222980"/>
                  <a:gd name="connsiteX465" fmla="*/ 2058211 w 12049814"/>
                  <a:gd name="connsiteY465" fmla="*/ 0 h 222980"/>
                  <a:gd name="connsiteX466" fmla="*/ 1914604 w 12049814"/>
                  <a:gd name="connsiteY466" fmla="*/ 0 h 222980"/>
                  <a:gd name="connsiteX467" fmla="*/ 1929510 w 12049814"/>
                  <a:gd name="connsiteY467" fmla="*/ 0 h 222980"/>
                  <a:gd name="connsiteX468" fmla="*/ 1929510 w 12049814"/>
                  <a:gd name="connsiteY468" fmla="*/ 222980 h 222980"/>
                  <a:gd name="connsiteX469" fmla="*/ 1894223 w 12049814"/>
                  <a:gd name="connsiteY469" fmla="*/ 222980 h 222980"/>
                  <a:gd name="connsiteX470" fmla="*/ 1894223 w 12049814"/>
                  <a:gd name="connsiteY470" fmla="*/ 43197 h 222980"/>
                  <a:gd name="connsiteX471" fmla="*/ 1873613 w 12049814"/>
                  <a:gd name="connsiteY471" fmla="*/ 54832 h 222980"/>
                  <a:gd name="connsiteX472" fmla="*/ 1848440 w 12049814"/>
                  <a:gd name="connsiteY472" fmla="*/ 63274 h 222980"/>
                  <a:gd name="connsiteX473" fmla="*/ 1848440 w 12049814"/>
                  <a:gd name="connsiteY473" fmla="*/ 33158 h 222980"/>
                  <a:gd name="connsiteX474" fmla="*/ 1865476 w 12049814"/>
                  <a:gd name="connsiteY474" fmla="*/ 27074 h 222980"/>
                  <a:gd name="connsiteX475" fmla="*/ 1881675 w 12049814"/>
                  <a:gd name="connsiteY475" fmla="*/ 19925 h 222980"/>
                  <a:gd name="connsiteX476" fmla="*/ 1897797 w 12049814"/>
                  <a:gd name="connsiteY476" fmla="*/ 11103 h 222980"/>
                  <a:gd name="connsiteX477" fmla="*/ 1914604 w 12049814"/>
                  <a:gd name="connsiteY477" fmla="*/ 0 h 222980"/>
                  <a:gd name="connsiteX478" fmla="*/ 1770996 w 12049814"/>
                  <a:gd name="connsiteY478" fmla="*/ 0 h 222980"/>
                  <a:gd name="connsiteX479" fmla="*/ 1785902 w 12049814"/>
                  <a:gd name="connsiteY479" fmla="*/ 0 h 222980"/>
                  <a:gd name="connsiteX480" fmla="*/ 1785902 w 12049814"/>
                  <a:gd name="connsiteY480" fmla="*/ 222980 h 222980"/>
                  <a:gd name="connsiteX481" fmla="*/ 1750615 w 12049814"/>
                  <a:gd name="connsiteY481" fmla="*/ 222980 h 222980"/>
                  <a:gd name="connsiteX482" fmla="*/ 1750615 w 12049814"/>
                  <a:gd name="connsiteY482" fmla="*/ 43197 h 222980"/>
                  <a:gd name="connsiteX483" fmla="*/ 1730005 w 12049814"/>
                  <a:gd name="connsiteY483" fmla="*/ 54832 h 222980"/>
                  <a:gd name="connsiteX484" fmla="*/ 1704832 w 12049814"/>
                  <a:gd name="connsiteY484" fmla="*/ 63274 h 222980"/>
                  <a:gd name="connsiteX485" fmla="*/ 1704832 w 12049814"/>
                  <a:gd name="connsiteY485" fmla="*/ 33158 h 222980"/>
                  <a:gd name="connsiteX486" fmla="*/ 1721868 w 12049814"/>
                  <a:gd name="connsiteY486" fmla="*/ 27074 h 222980"/>
                  <a:gd name="connsiteX487" fmla="*/ 1738067 w 12049814"/>
                  <a:gd name="connsiteY487" fmla="*/ 19925 h 222980"/>
                  <a:gd name="connsiteX488" fmla="*/ 1754189 w 12049814"/>
                  <a:gd name="connsiteY488" fmla="*/ 11103 h 222980"/>
                  <a:gd name="connsiteX489" fmla="*/ 1770996 w 12049814"/>
                  <a:gd name="connsiteY489" fmla="*/ 0 h 222980"/>
                  <a:gd name="connsiteX490" fmla="*/ 1423298 w 12049814"/>
                  <a:gd name="connsiteY490" fmla="*/ 0 h 222980"/>
                  <a:gd name="connsiteX491" fmla="*/ 1438205 w 12049814"/>
                  <a:gd name="connsiteY491" fmla="*/ 0 h 222980"/>
                  <a:gd name="connsiteX492" fmla="*/ 1438205 w 12049814"/>
                  <a:gd name="connsiteY492" fmla="*/ 222980 h 222980"/>
                  <a:gd name="connsiteX493" fmla="*/ 1402917 w 12049814"/>
                  <a:gd name="connsiteY493" fmla="*/ 222980 h 222980"/>
                  <a:gd name="connsiteX494" fmla="*/ 1402917 w 12049814"/>
                  <a:gd name="connsiteY494" fmla="*/ 43197 h 222980"/>
                  <a:gd name="connsiteX495" fmla="*/ 1382307 w 12049814"/>
                  <a:gd name="connsiteY495" fmla="*/ 54832 h 222980"/>
                  <a:gd name="connsiteX496" fmla="*/ 1357135 w 12049814"/>
                  <a:gd name="connsiteY496" fmla="*/ 63274 h 222980"/>
                  <a:gd name="connsiteX497" fmla="*/ 1357135 w 12049814"/>
                  <a:gd name="connsiteY497" fmla="*/ 33158 h 222980"/>
                  <a:gd name="connsiteX498" fmla="*/ 1374170 w 12049814"/>
                  <a:gd name="connsiteY498" fmla="*/ 27074 h 222980"/>
                  <a:gd name="connsiteX499" fmla="*/ 1390369 w 12049814"/>
                  <a:gd name="connsiteY499" fmla="*/ 19925 h 222980"/>
                  <a:gd name="connsiteX500" fmla="*/ 1406491 w 12049814"/>
                  <a:gd name="connsiteY500" fmla="*/ 11103 h 222980"/>
                  <a:gd name="connsiteX501" fmla="*/ 1423298 w 12049814"/>
                  <a:gd name="connsiteY501" fmla="*/ 0 h 222980"/>
                  <a:gd name="connsiteX502" fmla="*/ 1125585 w 12049814"/>
                  <a:gd name="connsiteY502" fmla="*/ 0 h 222980"/>
                  <a:gd name="connsiteX503" fmla="*/ 1140491 w 12049814"/>
                  <a:gd name="connsiteY503" fmla="*/ 0 h 222980"/>
                  <a:gd name="connsiteX504" fmla="*/ 1140491 w 12049814"/>
                  <a:gd name="connsiteY504" fmla="*/ 222980 h 222980"/>
                  <a:gd name="connsiteX505" fmla="*/ 1105203 w 12049814"/>
                  <a:gd name="connsiteY505" fmla="*/ 222980 h 222980"/>
                  <a:gd name="connsiteX506" fmla="*/ 1105203 w 12049814"/>
                  <a:gd name="connsiteY506" fmla="*/ 43197 h 222980"/>
                  <a:gd name="connsiteX507" fmla="*/ 1084594 w 12049814"/>
                  <a:gd name="connsiteY507" fmla="*/ 54832 h 222980"/>
                  <a:gd name="connsiteX508" fmla="*/ 1059421 w 12049814"/>
                  <a:gd name="connsiteY508" fmla="*/ 63274 h 222980"/>
                  <a:gd name="connsiteX509" fmla="*/ 1059421 w 12049814"/>
                  <a:gd name="connsiteY509" fmla="*/ 33158 h 222980"/>
                  <a:gd name="connsiteX510" fmla="*/ 1076456 w 12049814"/>
                  <a:gd name="connsiteY510" fmla="*/ 27074 h 222980"/>
                  <a:gd name="connsiteX511" fmla="*/ 1092655 w 12049814"/>
                  <a:gd name="connsiteY511" fmla="*/ 19925 h 222980"/>
                  <a:gd name="connsiteX512" fmla="*/ 1108778 w 12049814"/>
                  <a:gd name="connsiteY512" fmla="*/ 11103 h 222980"/>
                  <a:gd name="connsiteX513" fmla="*/ 1125585 w 12049814"/>
                  <a:gd name="connsiteY513" fmla="*/ 0 h 222980"/>
                  <a:gd name="connsiteX514" fmla="*/ 914466 w 12049814"/>
                  <a:gd name="connsiteY514" fmla="*/ 0 h 222980"/>
                  <a:gd name="connsiteX515" fmla="*/ 985633 w 12049814"/>
                  <a:gd name="connsiteY515" fmla="*/ 110587 h 222980"/>
                  <a:gd name="connsiteX516" fmla="*/ 965547 w 12049814"/>
                  <a:gd name="connsiteY516" fmla="*/ 194167 h 222980"/>
                  <a:gd name="connsiteX517" fmla="*/ 909351 w 12049814"/>
                  <a:gd name="connsiteY517" fmla="*/ 222980 h 222980"/>
                  <a:gd name="connsiteX518" fmla="*/ 856764 w 12049814"/>
                  <a:gd name="connsiteY518" fmla="*/ 195446 h 222980"/>
                  <a:gd name="connsiteX519" fmla="*/ 837883 w 12049814"/>
                  <a:gd name="connsiteY519" fmla="*/ 115854 h 222980"/>
                  <a:gd name="connsiteX520" fmla="*/ 857593 w 12049814"/>
                  <a:gd name="connsiteY520" fmla="*/ 29339 h 222980"/>
                  <a:gd name="connsiteX521" fmla="*/ 914466 w 12049814"/>
                  <a:gd name="connsiteY521" fmla="*/ 0 h 222980"/>
                  <a:gd name="connsiteX522" fmla="*/ 698190 w 12049814"/>
                  <a:gd name="connsiteY522" fmla="*/ 0 h 222980"/>
                  <a:gd name="connsiteX523" fmla="*/ 769357 w 12049814"/>
                  <a:gd name="connsiteY523" fmla="*/ 110587 h 222980"/>
                  <a:gd name="connsiteX524" fmla="*/ 749270 w 12049814"/>
                  <a:gd name="connsiteY524" fmla="*/ 194167 h 222980"/>
                  <a:gd name="connsiteX525" fmla="*/ 693075 w 12049814"/>
                  <a:gd name="connsiteY525" fmla="*/ 222980 h 222980"/>
                  <a:gd name="connsiteX526" fmla="*/ 640489 w 12049814"/>
                  <a:gd name="connsiteY526" fmla="*/ 195446 h 222980"/>
                  <a:gd name="connsiteX527" fmla="*/ 621607 w 12049814"/>
                  <a:gd name="connsiteY527" fmla="*/ 115854 h 222980"/>
                  <a:gd name="connsiteX528" fmla="*/ 641317 w 12049814"/>
                  <a:gd name="connsiteY528" fmla="*/ 29339 h 222980"/>
                  <a:gd name="connsiteX529" fmla="*/ 698190 w 12049814"/>
                  <a:gd name="connsiteY529" fmla="*/ 0 h 222980"/>
                  <a:gd name="connsiteX530" fmla="*/ 550057 w 12049814"/>
                  <a:gd name="connsiteY530" fmla="*/ 0 h 222980"/>
                  <a:gd name="connsiteX531" fmla="*/ 564964 w 12049814"/>
                  <a:gd name="connsiteY531" fmla="*/ 0 h 222980"/>
                  <a:gd name="connsiteX532" fmla="*/ 564964 w 12049814"/>
                  <a:gd name="connsiteY532" fmla="*/ 222980 h 222980"/>
                  <a:gd name="connsiteX533" fmla="*/ 529676 w 12049814"/>
                  <a:gd name="connsiteY533" fmla="*/ 222980 h 222980"/>
                  <a:gd name="connsiteX534" fmla="*/ 529676 w 12049814"/>
                  <a:gd name="connsiteY534" fmla="*/ 43197 h 222980"/>
                  <a:gd name="connsiteX535" fmla="*/ 509066 w 12049814"/>
                  <a:gd name="connsiteY535" fmla="*/ 54832 h 222980"/>
                  <a:gd name="connsiteX536" fmla="*/ 483894 w 12049814"/>
                  <a:gd name="connsiteY536" fmla="*/ 63274 h 222980"/>
                  <a:gd name="connsiteX537" fmla="*/ 483894 w 12049814"/>
                  <a:gd name="connsiteY537" fmla="*/ 33158 h 222980"/>
                  <a:gd name="connsiteX538" fmla="*/ 500929 w 12049814"/>
                  <a:gd name="connsiteY538" fmla="*/ 27074 h 222980"/>
                  <a:gd name="connsiteX539" fmla="*/ 517128 w 12049814"/>
                  <a:gd name="connsiteY539" fmla="*/ 19925 h 222980"/>
                  <a:gd name="connsiteX540" fmla="*/ 533250 w 12049814"/>
                  <a:gd name="connsiteY540" fmla="*/ 11103 h 222980"/>
                  <a:gd name="connsiteX541" fmla="*/ 550057 w 12049814"/>
                  <a:gd name="connsiteY541" fmla="*/ 0 h 222980"/>
                  <a:gd name="connsiteX542" fmla="*/ 252344 w 12049814"/>
                  <a:gd name="connsiteY542" fmla="*/ 0 h 222980"/>
                  <a:gd name="connsiteX543" fmla="*/ 267249 w 12049814"/>
                  <a:gd name="connsiteY543" fmla="*/ 0 h 222980"/>
                  <a:gd name="connsiteX544" fmla="*/ 267249 w 12049814"/>
                  <a:gd name="connsiteY544" fmla="*/ 222980 h 222980"/>
                  <a:gd name="connsiteX545" fmla="*/ 231962 w 12049814"/>
                  <a:gd name="connsiteY545" fmla="*/ 222980 h 222980"/>
                  <a:gd name="connsiteX546" fmla="*/ 231962 w 12049814"/>
                  <a:gd name="connsiteY546" fmla="*/ 43197 h 222980"/>
                  <a:gd name="connsiteX547" fmla="*/ 211353 w 12049814"/>
                  <a:gd name="connsiteY547" fmla="*/ 54832 h 222980"/>
                  <a:gd name="connsiteX548" fmla="*/ 186180 w 12049814"/>
                  <a:gd name="connsiteY548" fmla="*/ 63274 h 222980"/>
                  <a:gd name="connsiteX549" fmla="*/ 186180 w 12049814"/>
                  <a:gd name="connsiteY549" fmla="*/ 33158 h 222980"/>
                  <a:gd name="connsiteX550" fmla="*/ 203214 w 12049814"/>
                  <a:gd name="connsiteY550" fmla="*/ 27074 h 222980"/>
                  <a:gd name="connsiteX551" fmla="*/ 219413 w 12049814"/>
                  <a:gd name="connsiteY551" fmla="*/ 19925 h 222980"/>
                  <a:gd name="connsiteX552" fmla="*/ 235537 w 12049814"/>
                  <a:gd name="connsiteY552" fmla="*/ 11103 h 222980"/>
                  <a:gd name="connsiteX553" fmla="*/ 252344 w 12049814"/>
                  <a:gd name="connsiteY553" fmla="*/ 0 h 222980"/>
                  <a:gd name="connsiteX554" fmla="*/ 76583 w 12049814"/>
                  <a:gd name="connsiteY554" fmla="*/ 0 h 222980"/>
                  <a:gd name="connsiteX555" fmla="*/ 147751 w 12049814"/>
                  <a:gd name="connsiteY555" fmla="*/ 110587 h 222980"/>
                  <a:gd name="connsiteX556" fmla="*/ 127665 w 12049814"/>
                  <a:gd name="connsiteY556" fmla="*/ 194167 h 222980"/>
                  <a:gd name="connsiteX557" fmla="*/ 71468 w 12049814"/>
                  <a:gd name="connsiteY557" fmla="*/ 222980 h 222980"/>
                  <a:gd name="connsiteX558" fmla="*/ 18883 w 12049814"/>
                  <a:gd name="connsiteY558" fmla="*/ 195446 h 222980"/>
                  <a:gd name="connsiteX559" fmla="*/ 0 w 12049814"/>
                  <a:gd name="connsiteY559" fmla="*/ 115854 h 222980"/>
                  <a:gd name="connsiteX560" fmla="*/ 19710 w 12049814"/>
                  <a:gd name="connsiteY560" fmla="*/ 29339 h 222980"/>
                  <a:gd name="connsiteX561" fmla="*/ 76583 w 12049814"/>
                  <a:gd name="connsiteY56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2049814" h="222980">
                    <a:moveTo>
                      <a:pt x="11976992" y="27835"/>
                    </a:moveTo>
                    <a:cubicBezTo>
                      <a:pt x="11950812" y="27835"/>
                      <a:pt x="11937722" y="56673"/>
                      <a:pt x="11937722" y="114349"/>
                    </a:cubicBezTo>
                    <a:cubicBezTo>
                      <a:pt x="11937722" y="168313"/>
                      <a:pt x="11950561" y="195296"/>
                      <a:pt x="11976240" y="195296"/>
                    </a:cubicBezTo>
                    <a:cubicBezTo>
                      <a:pt x="12001516" y="195296"/>
                      <a:pt x="12014155" y="167862"/>
                      <a:pt x="12014155" y="112995"/>
                    </a:cubicBezTo>
                    <a:cubicBezTo>
                      <a:pt x="12014155" y="56221"/>
                      <a:pt x="12001767" y="27835"/>
                      <a:pt x="11976992" y="27835"/>
                    </a:cubicBezTo>
                    <a:close/>
                    <a:moveTo>
                      <a:pt x="11760482" y="27835"/>
                    </a:moveTo>
                    <a:cubicBezTo>
                      <a:pt x="11734302" y="27835"/>
                      <a:pt x="11721212" y="56673"/>
                      <a:pt x="11721212" y="114349"/>
                    </a:cubicBezTo>
                    <a:cubicBezTo>
                      <a:pt x="11721212" y="168313"/>
                      <a:pt x="11734051" y="195296"/>
                      <a:pt x="11759730" y="195296"/>
                    </a:cubicBezTo>
                    <a:cubicBezTo>
                      <a:pt x="11785006" y="195296"/>
                      <a:pt x="11797645" y="167862"/>
                      <a:pt x="11797645" y="112995"/>
                    </a:cubicBezTo>
                    <a:cubicBezTo>
                      <a:pt x="11797645" y="56221"/>
                      <a:pt x="11785257" y="27835"/>
                      <a:pt x="11760482" y="27835"/>
                    </a:cubicBezTo>
                    <a:close/>
                    <a:moveTo>
                      <a:pt x="6965694" y="27835"/>
                    </a:moveTo>
                    <a:cubicBezTo>
                      <a:pt x="6939514" y="27835"/>
                      <a:pt x="6926424" y="56673"/>
                      <a:pt x="6926424" y="114349"/>
                    </a:cubicBezTo>
                    <a:cubicBezTo>
                      <a:pt x="6926424" y="168313"/>
                      <a:pt x="6939263" y="195296"/>
                      <a:pt x="6964942" y="195296"/>
                    </a:cubicBezTo>
                    <a:cubicBezTo>
                      <a:pt x="6990219" y="195296"/>
                      <a:pt x="7002857" y="167862"/>
                      <a:pt x="7002857" y="112995"/>
                    </a:cubicBezTo>
                    <a:cubicBezTo>
                      <a:pt x="7002857" y="56221"/>
                      <a:pt x="6990469" y="27835"/>
                      <a:pt x="6965694" y="27835"/>
                    </a:cubicBezTo>
                    <a:close/>
                    <a:moveTo>
                      <a:pt x="6749184" y="27835"/>
                    </a:moveTo>
                    <a:cubicBezTo>
                      <a:pt x="6723004" y="27835"/>
                      <a:pt x="6709914" y="56673"/>
                      <a:pt x="6709914" y="114349"/>
                    </a:cubicBezTo>
                    <a:cubicBezTo>
                      <a:pt x="6709914" y="168313"/>
                      <a:pt x="6722753" y="195296"/>
                      <a:pt x="6748432" y="195296"/>
                    </a:cubicBezTo>
                    <a:cubicBezTo>
                      <a:pt x="6773709" y="195296"/>
                      <a:pt x="6786347" y="167862"/>
                      <a:pt x="6786347" y="112995"/>
                    </a:cubicBezTo>
                    <a:cubicBezTo>
                      <a:pt x="6786347" y="56221"/>
                      <a:pt x="6773959" y="27835"/>
                      <a:pt x="6749184" y="27835"/>
                    </a:cubicBezTo>
                    <a:close/>
                    <a:moveTo>
                      <a:pt x="6131407" y="27835"/>
                    </a:moveTo>
                    <a:cubicBezTo>
                      <a:pt x="6105227" y="27835"/>
                      <a:pt x="6092137" y="56673"/>
                      <a:pt x="6092137" y="114349"/>
                    </a:cubicBezTo>
                    <a:cubicBezTo>
                      <a:pt x="6092137" y="168313"/>
                      <a:pt x="6104976" y="195296"/>
                      <a:pt x="6130655" y="195296"/>
                    </a:cubicBezTo>
                    <a:cubicBezTo>
                      <a:pt x="6155932" y="195296"/>
                      <a:pt x="6168570" y="167862"/>
                      <a:pt x="6168570" y="112995"/>
                    </a:cubicBezTo>
                    <a:cubicBezTo>
                      <a:pt x="6168570" y="56221"/>
                      <a:pt x="6156182" y="27835"/>
                      <a:pt x="6131407" y="27835"/>
                    </a:cubicBezTo>
                    <a:close/>
                    <a:moveTo>
                      <a:pt x="5914896" y="27835"/>
                    </a:moveTo>
                    <a:cubicBezTo>
                      <a:pt x="5888717" y="27835"/>
                      <a:pt x="5875627" y="56673"/>
                      <a:pt x="5875627" y="114349"/>
                    </a:cubicBezTo>
                    <a:cubicBezTo>
                      <a:pt x="5875627" y="168313"/>
                      <a:pt x="5888466" y="195296"/>
                      <a:pt x="5914144" y="195296"/>
                    </a:cubicBezTo>
                    <a:cubicBezTo>
                      <a:pt x="5939421" y="195296"/>
                      <a:pt x="5952060" y="167862"/>
                      <a:pt x="5952060" y="112995"/>
                    </a:cubicBezTo>
                    <a:cubicBezTo>
                      <a:pt x="5952060" y="56221"/>
                      <a:pt x="5939672" y="27835"/>
                      <a:pt x="5914896" y="27835"/>
                    </a:cubicBezTo>
                    <a:close/>
                    <a:moveTo>
                      <a:pt x="5690789" y="27835"/>
                    </a:moveTo>
                    <a:cubicBezTo>
                      <a:pt x="5664610" y="27835"/>
                      <a:pt x="5651520" y="56673"/>
                      <a:pt x="5651520" y="114349"/>
                    </a:cubicBezTo>
                    <a:cubicBezTo>
                      <a:pt x="5651520" y="168313"/>
                      <a:pt x="5664359" y="195296"/>
                      <a:pt x="5690037" y="195296"/>
                    </a:cubicBezTo>
                    <a:cubicBezTo>
                      <a:pt x="5715314" y="195296"/>
                      <a:pt x="5727953" y="167862"/>
                      <a:pt x="5727953" y="112995"/>
                    </a:cubicBezTo>
                    <a:cubicBezTo>
                      <a:pt x="5727953" y="56221"/>
                      <a:pt x="5715565" y="27835"/>
                      <a:pt x="5690789" y="27835"/>
                    </a:cubicBezTo>
                    <a:close/>
                    <a:moveTo>
                      <a:pt x="912811" y="27835"/>
                    </a:moveTo>
                    <a:cubicBezTo>
                      <a:pt x="886631" y="27835"/>
                      <a:pt x="873541" y="56673"/>
                      <a:pt x="873541" y="114349"/>
                    </a:cubicBezTo>
                    <a:cubicBezTo>
                      <a:pt x="873541" y="168313"/>
                      <a:pt x="886380" y="195296"/>
                      <a:pt x="912059" y="195296"/>
                    </a:cubicBezTo>
                    <a:cubicBezTo>
                      <a:pt x="937336" y="195296"/>
                      <a:pt x="949974" y="167862"/>
                      <a:pt x="949974" y="112995"/>
                    </a:cubicBezTo>
                    <a:cubicBezTo>
                      <a:pt x="949974" y="56221"/>
                      <a:pt x="937587" y="27835"/>
                      <a:pt x="912811" y="27835"/>
                    </a:cubicBezTo>
                    <a:close/>
                    <a:moveTo>
                      <a:pt x="696534" y="27835"/>
                    </a:moveTo>
                    <a:cubicBezTo>
                      <a:pt x="670355" y="27835"/>
                      <a:pt x="657266" y="56673"/>
                      <a:pt x="657266" y="114349"/>
                    </a:cubicBezTo>
                    <a:cubicBezTo>
                      <a:pt x="657266" y="168313"/>
                      <a:pt x="670105" y="195296"/>
                      <a:pt x="695783" y="195296"/>
                    </a:cubicBezTo>
                    <a:cubicBezTo>
                      <a:pt x="721060" y="195296"/>
                      <a:pt x="733699" y="167862"/>
                      <a:pt x="733699" y="112995"/>
                    </a:cubicBezTo>
                    <a:cubicBezTo>
                      <a:pt x="733699" y="56221"/>
                      <a:pt x="721311" y="27835"/>
                      <a:pt x="696534" y="27835"/>
                    </a:cubicBezTo>
                    <a:close/>
                    <a:moveTo>
                      <a:pt x="74929" y="27835"/>
                    </a:moveTo>
                    <a:cubicBezTo>
                      <a:pt x="48749" y="27835"/>
                      <a:pt x="35658" y="56673"/>
                      <a:pt x="35658" y="114349"/>
                    </a:cubicBezTo>
                    <a:cubicBezTo>
                      <a:pt x="35658" y="168313"/>
                      <a:pt x="48497" y="195296"/>
                      <a:pt x="74175" y="195296"/>
                    </a:cubicBezTo>
                    <a:cubicBezTo>
                      <a:pt x="99452" y="195296"/>
                      <a:pt x="112091" y="167862"/>
                      <a:pt x="112091" y="112995"/>
                    </a:cubicBezTo>
                    <a:cubicBezTo>
                      <a:pt x="112091" y="56221"/>
                      <a:pt x="99704" y="27835"/>
                      <a:pt x="74929" y="27835"/>
                    </a:cubicBezTo>
                    <a:close/>
                    <a:moveTo>
                      <a:pt x="11978647" y="0"/>
                    </a:moveTo>
                    <a:cubicBezTo>
                      <a:pt x="12026091" y="0"/>
                      <a:pt x="12049814" y="36863"/>
                      <a:pt x="12049814" y="110587"/>
                    </a:cubicBezTo>
                    <a:cubicBezTo>
                      <a:pt x="12049814" y="147099"/>
                      <a:pt x="12043118" y="174959"/>
                      <a:pt x="12029728" y="194167"/>
                    </a:cubicBezTo>
                    <a:cubicBezTo>
                      <a:pt x="12016337" y="213375"/>
                      <a:pt x="11997605" y="222980"/>
                      <a:pt x="11973531" y="222980"/>
                    </a:cubicBezTo>
                    <a:cubicBezTo>
                      <a:pt x="11951063" y="222980"/>
                      <a:pt x="11933534" y="213802"/>
                      <a:pt x="11920946" y="195446"/>
                    </a:cubicBezTo>
                    <a:cubicBezTo>
                      <a:pt x="11908357" y="177090"/>
                      <a:pt x="11902063" y="150559"/>
                      <a:pt x="11902063" y="115854"/>
                    </a:cubicBezTo>
                    <a:cubicBezTo>
                      <a:pt x="11902063" y="77737"/>
                      <a:pt x="11908633" y="48899"/>
                      <a:pt x="11921773" y="29339"/>
                    </a:cubicBezTo>
                    <a:cubicBezTo>
                      <a:pt x="11934914" y="9780"/>
                      <a:pt x="11953871" y="0"/>
                      <a:pt x="11978647" y="0"/>
                    </a:cubicBezTo>
                    <a:close/>
                    <a:moveTo>
                      <a:pt x="11762137" y="0"/>
                    </a:moveTo>
                    <a:cubicBezTo>
                      <a:pt x="11809581" y="0"/>
                      <a:pt x="11833304" y="36863"/>
                      <a:pt x="11833304" y="110587"/>
                    </a:cubicBezTo>
                    <a:cubicBezTo>
                      <a:pt x="11833304" y="147099"/>
                      <a:pt x="11826608" y="174959"/>
                      <a:pt x="11813218" y="194167"/>
                    </a:cubicBezTo>
                    <a:cubicBezTo>
                      <a:pt x="11799827" y="213375"/>
                      <a:pt x="11781095" y="222980"/>
                      <a:pt x="11757021" y="222980"/>
                    </a:cubicBezTo>
                    <a:cubicBezTo>
                      <a:pt x="11734553" y="222980"/>
                      <a:pt x="11717024" y="213802"/>
                      <a:pt x="11704436" y="195446"/>
                    </a:cubicBezTo>
                    <a:cubicBezTo>
                      <a:pt x="11691847" y="177090"/>
                      <a:pt x="11685553" y="150559"/>
                      <a:pt x="11685553" y="115854"/>
                    </a:cubicBezTo>
                    <a:cubicBezTo>
                      <a:pt x="11685553" y="77737"/>
                      <a:pt x="11692123" y="48899"/>
                      <a:pt x="11705263" y="29339"/>
                    </a:cubicBezTo>
                    <a:cubicBezTo>
                      <a:pt x="11718404" y="9780"/>
                      <a:pt x="11737361" y="0"/>
                      <a:pt x="11762137" y="0"/>
                    </a:cubicBezTo>
                    <a:close/>
                    <a:moveTo>
                      <a:pt x="11610582" y="0"/>
                    </a:moveTo>
                    <a:lnTo>
                      <a:pt x="11625488" y="0"/>
                    </a:lnTo>
                    <a:lnTo>
                      <a:pt x="11625488" y="222980"/>
                    </a:lnTo>
                    <a:lnTo>
                      <a:pt x="11590200" y="222980"/>
                    </a:lnTo>
                    <a:lnTo>
                      <a:pt x="11590200" y="43197"/>
                    </a:lnTo>
                    <a:cubicBezTo>
                      <a:pt x="11583812" y="47760"/>
                      <a:pt x="11576942" y="51638"/>
                      <a:pt x="11569591" y="54832"/>
                    </a:cubicBezTo>
                    <a:cubicBezTo>
                      <a:pt x="11562239" y="58027"/>
                      <a:pt x="11553848" y="60840"/>
                      <a:pt x="11544418" y="63274"/>
                    </a:cubicBezTo>
                    <a:lnTo>
                      <a:pt x="11544418" y="33158"/>
                    </a:lnTo>
                    <a:cubicBezTo>
                      <a:pt x="11550299" y="31232"/>
                      <a:pt x="11555978" y="29203"/>
                      <a:pt x="11561453" y="27074"/>
                    </a:cubicBezTo>
                    <a:cubicBezTo>
                      <a:pt x="11566929" y="24945"/>
                      <a:pt x="11572329" y="22561"/>
                      <a:pt x="11577652" y="19925"/>
                    </a:cubicBezTo>
                    <a:cubicBezTo>
                      <a:pt x="11582976" y="17289"/>
                      <a:pt x="11588350" y="14348"/>
                      <a:pt x="11593775" y="11103"/>
                    </a:cubicBezTo>
                    <a:cubicBezTo>
                      <a:pt x="11599200" y="7859"/>
                      <a:pt x="11604802" y="4157"/>
                      <a:pt x="11610582" y="0"/>
                    </a:cubicBezTo>
                    <a:close/>
                    <a:moveTo>
                      <a:pt x="11307807" y="0"/>
                    </a:moveTo>
                    <a:lnTo>
                      <a:pt x="11322713" y="0"/>
                    </a:lnTo>
                    <a:lnTo>
                      <a:pt x="11322713" y="222980"/>
                    </a:lnTo>
                    <a:lnTo>
                      <a:pt x="11287425" y="222980"/>
                    </a:lnTo>
                    <a:lnTo>
                      <a:pt x="11287425" y="43197"/>
                    </a:lnTo>
                    <a:cubicBezTo>
                      <a:pt x="11281037" y="47760"/>
                      <a:pt x="11274167" y="51638"/>
                      <a:pt x="11266816" y="54832"/>
                    </a:cubicBezTo>
                    <a:cubicBezTo>
                      <a:pt x="11259464" y="58027"/>
                      <a:pt x="11251073" y="60840"/>
                      <a:pt x="11241643" y="63274"/>
                    </a:cubicBezTo>
                    <a:lnTo>
                      <a:pt x="11241643" y="33158"/>
                    </a:lnTo>
                    <a:cubicBezTo>
                      <a:pt x="11247524" y="31232"/>
                      <a:pt x="11253203" y="29203"/>
                      <a:pt x="11258678" y="27074"/>
                    </a:cubicBezTo>
                    <a:cubicBezTo>
                      <a:pt x="11264154" y="24945"/>
                      <a:pt x="11269554" y="22561"/>
                      <a:pt x="11274877" y="19925"/>
                    </a:cubicBezTo>
                    <a:cubicBezTo>
                      <a:pt x="11280201" y="17289"/>
                      <a:pt x="11285575" y="14348"/>
                      <a:pt x="11291000" y="11103"/>
                    </a:cubicBezTo>
                    <a:cubicBezTo>
                      <a:pt x="11296425" y="7859"/>
                      <a:pt x="11302027" y="4157"/>
                      <a:pt x="11307807" y="0"/>
                    </a:cubicBezTo>
                    <a:close/>
                    <a:moveTo>
                      <a:pt x="10930643" y="0"/>
                    </a:moveTo>
                    <a:lnTo>
                      <a:pt x="10945549" y="0"/>
                    </a:lnTo>
                    <a:lnTo>
                      <a:pt x="10945549" y="222980"/>
                    </a:lnTo>
                    <a:lnTo>
                      <a:pt x="10910261" y="222980"/>
                    </a:lnTo>
                    <a:lnTo>
                      <a:pt x="10910261" y="43197"/>
                    </a:lnTo>
                    <a:cubicBezTo>
                      <a:pt x="10903873" y="47760"/>
                      <a:pt x="10897003" y="51638"/>
                      <a:pt x="10889652" y="54832"/>
                    </a:cubicBezTo>
                    <a:cubicBezTo>
                      <a:pt x="10882300" y="58027"/>
                      <a:pt x="10873909" y="60840"/>
                      <a:pt x="10864479" y="63274"/>
                    </a:cubicBezTo>
                    <a:lnTo>
                      <a:pt x="10864479" y="33158"/>
                    </a:lnTo>
                    <a:cubicBezTo>
                      <a:pt x="10870360" y="31232"/>
                      <a:pt x="10876039" y="29203"/>
                      <a:pt x="10881514" y="27074"/>
                    </a:cubicBezTo>
                    <a:cubicBezTo>
                      <a:pt x="10886990" y="24945"/>
                      <a:pt x="10892390" y="22561"/>
                      <a:pt x="10897713" y="19925"/>
                    </a:cubicBezTo>
                    <a:cubicBezTo>
                      <a:pt x="10903037" y="17289"/>
                      <a:pt x="10908411" y="14348"/>
                      <a:pt x="10913836" y="11103"/>
                    </a:cubicBezTo>
                    <a:cubicBezTo>
                      <a:pt x="10919261" y="7859"/>
                      <a:pt x="10924863" y="4157"/>
                      <a:pt x="10930643" y="0"/>
                    </a:cubicBezTo>
                    <a:close/>
                    <a:moveTo>
                      <a:pt x="10781786" y="0"/>
                    </a:moveTo>
                    <a:lnTo>
                      <a:pt x="10796692" y="0"/>
                    </a:lnTo>
                    <a:lnTo>
                      <a:pt x="10796692" y="222980"/>
                    </a:lnTo>
                    <a:lnTo>
                      <a:pt x="10761404" y="222980"/>
                    </a:lnTo>
                    <a:lnTo>
                      <a:pt x="10761404" y="43197"/>
                    </a:lnTo>
                    <a:cubicBezTo>
                      <a:pt x="10755016" y="47760"/>
                      <a:pt x="10748146" y="51638"/>
                      <a:pt x="10740795" y="54832"/>
                    </a:cubicBezTo>
                    <a:cubicBezTo>
                      <a:pt x="10733443" y="58027"/>
                      <a:pt x="10725052" y="60840"/>
                      <a:pt x="10715622" y="63274"/>
                    </a:cubicBezTo>
                    <a:lnTo>
                      <a:pt x="10715622" y="33158"/>
                    </a:lnTo>
                    <a:cubicBezTo>
                      <a:pt x="10721503" y="31232"/>
                      <a:pt x="10727182" y="29203"/>
                      <a:pt x="10732657" y="27074"/>
                    </a:cubicBezTo>
                    <a:cubicBezTo>
                      <a:pt x="10738133" y="24945"/>
                      <a:pt x="10743533" y="22561"/>
                      <a:pt x="10748856" y="19925"/>
                    </a:cubicBezTo>
                    <a:cubicBezTo>
                      <a:pt x="10754180" y="17289"/>
                      <a:pt x="10759554" y="14348"/>
                      <a:pt x="10764979" y="11103"/>
                    </a:cubicBezTo>
                    <a:cubicBezTo>
                      <a:pt x="10770404" y="7859"/>
                      <a:pt x="10776006" y="4157"/>
                      <a:pt x="10781786" y="0"/>
                    </a:cubicBezTo>
                    <a:close/>
                    <a:moveTo>
                      <a:pt x="10627868" y="0"/>
                    </a:moveTo>
                    <a:lnTo>
                      <a:pt x="10642774" y="0"/>
                    </a:lnTo>
                    <a:lnTo>
                      <a:pt x="10642774" y="222980"/>
                    </a:lnTo>
                    <a:lnTo>
                      <a:pt x="10607486" y="222980"/>
                    </a:lnTo>
                    <a:lnTo>
                      <a:pt x="10607486" y="43197"/>
                    </a:lnTo>
                    <a:cubicBezTo>
                      <a:pt x="10601098" y="47760"/>
                      <a:pt x="10594228" y="51638"/>
                      <a:pt x="10586877" y="54832"/>
                    </a:cubicBezTo>
                    <a:cubicBezTo>
                      <a:pt x="10579525" y="58027"/>
                      <a:pt x="10571134" y="60840"/>
                      <a:pt x="10561704" y="63274"/>
                    </a:cubicBezTo>
                    <a:lnTo>
                      <a:pt x="10561704" y="33158"/>
                    </a:lnTo>
                    <a:cubicBezTo>
                      <a:pt x="10567585" y="31232"/>
                      <a:pt x="10573264" y="29203"/>
                      <a:pt x="10578739" y="27074"/>
                    </a:cubicBezTo>
                    <a:cubicBezTo>
                      <a:pt x="10584215" y="24945"/>
                      <a:pt x="10589615" y="22561"/>
                      <a:pt x="10594938" y="19925"/>
                    </a:cubicBezTo>
                    <a:cubicBezTo>
                      <a:pt x="10600262" y="17289"/>
                      <a:pt x="10605636" y="14348"/>
                      <a:pt x="10611061" y="11103"/>
                    </a:cubicBezTo>
                    <a:cubicBezTo>
                      <a:pt x="10616486" y="7859"/>
                      <a:pt x="10622088" y="4157"/>
                      <a:pt x="10627868" y="0"/>
                    </a:cubicBezTo>
                    <a:close/>
                    <a:moveTo>
                      <a:pt x="10479011" y="0"/>
                    </a:moveTo>
                    <a:lnTo>
                      <a:pt x="10493917" y="0"/>
                    </a:lnTo>
                    <a:lnTo>
                      <a:pt x="10493917" y="222980"/>
                    </a:lnTo>
                    <a:lnTo>
                      <a:pt x="10458629" y="222980"/>
                    </a:lnTo>
                    <a:lnTo>
                      <a:pt x="10458629" y="43197"/>
                    </a:lnTo>
                    <a:cubicBezTo>
                      <a:pt x="10452241" y="47760"/>
                      <a:pt x="10445371" y="51638"/>
                      <a:pt x="10438020" y="54832"/>
                    </a:cubicBezTo>
                    <a:cubicBezTo>
                      <a:pt x="10430668" y="58027"/>
                      <a:pt x="10422277" y="60840"/>
                      <a:pt x="10412847" y="63274"/>
                    </a:cubicBezTo>
                    <a:lnTo>
                      <a:pt x="10412847" y="33158"/>
                    </a:lnTo>
                    <a:cubicBezTo>
                      <a:pt x="10418728" y="31232"/>
                      <a:pt x="10424407" y="29203"/>
                      <a:pt x="10429882" y="27074"/>
                    </a:cubicBezTo>
                    <a:cubicBezTo>
                      <a:pt x="10435358" y="24945"/>
                      <a:pt x="10440758" y="22561"/>
                      <a:pt x="10446081" y="19925"/>
                    </a:cubicBezTo>
                    <a:cubicBezTo>
                      <a:pt x="10451405" y="17289"/>
                      <a:pt x="10456779" y="14348"/>
                      <a:pt x="10462204" y="11103"/>
                    </a:cubicBezTo>
                    <a:cubicBezTo>
                      <a:pt x="10467629" y="7859"/>
                      <a:pt x="10473231" y="4157"/>
                      <a:pt x="10479011" y="0"/>
                    </a:cubicBezTo>
                    <a:close/>
                    <a:moveTo>
                      <a:pt x="9757620" y="0"/>
                    </a:moveTo>
                    <a:lnTo>
                      <a:pt x="9772526" y="0"/>
                    </a:lnTo>
                    <a:lnTo>
                      <a:pt x="9772526" y="222980"/>
                    </a:lnTo>
                    <a:lnTo>
                      <a:pt x="9737238" y="222980"/>
                    </a:lnTo>
                    <a:lnTo>
                      <a:pt x="9737238" y="43197"/>
                    </a:lnTo>
                    <a:cubicBezTo>
                      <a:pt x="9730850" y="47760"/>
                      <a:pt x="9723980" y="51638"/>
                      <a:pt x="9716629" y="54832"/>
                    </a:cubicBezTo>
                    <a:cubicBezTo>
                      <a:pt x="9709277" y="58027"/>
                      <a:pt x="9700886" y="60840"/>
                      <a:pt x="9691456" y="63274"/>
                    </a:cubicBezTo>
                    <a:lnTo>
                      <a:pt x="9691456" y="33158"/>
                    </a:lnTo>
                    <a:cubicBezTo>
                      <a:pt x="9697337" y="31232"/>
                      <a:pt x="9703016" y="29203"/>
                      <a:pt x="9708491" y="27074"/>
                    </a:cubicBezTo>
                    <a:cubicBezTo>
                      <a:pt x="9713967" y="24945"/>
                      <a:pt x="9719367" y="22561"/>
                      <a:pt x="9724690" y="19925"/>
                    </a:cubicBezTo>
                    <a:cubicBezTo>
                      <a:pt x="9730014" y="17289"/>
                      <a:pt x="9735388" y="14348"/>
                      <a:pt x="9740813" y="11103"/>
                    </a:cubicBezTo>
                    <a:cubicBezTo>
                      <a:pt x="9746238" y="7859"/>
                      <a:pt x="9751840" y="4157"/>
                      <a:pt x="9757620" y="0"/>
                    </a:cubicBezTo>
                    <a:close/>
                    <a:moveTo>
                      <a:pt x="9608763" y="0"/>
                    </a:moveTo>
                    <a:lnTo>
                      <a:pt x="9623669" y="0"/>
                    </a:lnTo>
                    <a:lnTo>
                      <a:pt x="9623669" y="222980"/>
                    </a:lnTo>
                    <a:lnTo>
                      <a:pt x="9588381" y="222980"/>
                    </a:lnTo>
                    <a:lnTo>
                      <a:pt x="9588381" y="43197"/>
                    </a:lnTo>
                    <a:cubicBezTo>
                      <a:pt x="9581993" y="47760"/>
                      <a:pt x="9575123" y="51638"/>
                      <a:pt x="9567772" y="54832"/>
                    </a:cubicBezTo>
                    <a:cubicBezTo>
                      <a:pt x="9560420" y="58027"/>
                      <a:pt x="9552029" y="60840"/>
                      <a:pt x="9542599" y="63274"/>
                    </a:cubicBezTo>
                    <a:lnTo>
                      <a:pt x="9542599" y="33158"/>
                    </a:lnTo>
                    <a:cubicBezTo>
                      <a:pt x="9548480" y="31232"/>
                      <a:pt x="9554159" y="29203"/>
                      <a:pt x="9559634" y="27074"/>
                    </a:cubicBezTo>
                    <a:cubicBezTo>
                      <a:pt x="9565110" y="24945"/>
                      <a:pt x="9570510" y="22561"/>
                      <a:pt x="9575833" y="19925"/>
                    </a:cubicBezTo>
                    <a:cubicBezTo>
                      <a:pt x="9581157" y="17289"/>
                      <a:pt x="9586531" y="14348"/>
                      <a:pt x="9591956" y="11103"/>
                    </a:cubicBezTo>
                    <a:cubicBezTo>
                      <a:pt x="9597381" y="7859"/>
                      <a:pt x="9602983" y="4157"/>
                      <a:pt x="9608763" y="0"/>
                    </a:cubicBezTo>
                    <a:close/>
                    <a:moveTo>
                      <a:pt x="8805658" y="0"/>
                    </a:moveTo>
                    <a:lnTo>
                      <a:pt x="8820564" y="0"/>
                    </a:lnTo>
                    <a:lnTo>
                      <a:pt x="8820564" y="222980"/>
                    </a:lnTo>
                    <a:lnTo>
                      <a:pt x="8785276" y="222980"/>
                    </a:lnTo>
                    <a:lnTo>
                      <a:pt x="8785276" y="43197"/>
                    </a:lnTo>
                    <a:cubicBezTo>
                      <a:pt x="8778888" y="47760"/>
                      <a:pt x="8772018" y="51638"/>
                      <a:pt x="8764667" y="54832"/>
                    </a:cubicBezTo>
                    <a:cubicBezTo>
                      <a:pt x="8757315" y="58027"/>
                      <a:pt x="8748924" y="60840"/>
                      <a:pt x="8739494" y="63274"/>
                    </a:cubicBezTo>
                    <a:lnTo>
                      <a:pt x="8739494" y="33158"/>
                    </a:lnTo>
                    <a:cubicBezTo>
                      <a:pt x="8745375" y="31232"/>
                      <a:pt x="8751054" y="29203"/>
                      <a:pt x="8756529" y="27074"/>
                    </a:cubicBezTo>
                    <a:cubicBezTo>
                      <a:pt x="8762005" y="24945"/>
                      <a:pt x="8767405" y="22561"/>
                      <a:pt x="8772728" y="19925"/>
                    </a:cubicBezTo>
                    <a:cubicBezTo>
                      <a:pt x="8778052" y="17289"/>
                      <a:pt x="8783426" y="14348"/>
                      <a:pt x="8788851" y="11103"/>
                    </a:cubicBezTo>
                    <a:cubicBezTo>
                      <a:pt x="8794276" y="7859"/>
                      <a:pt x="8799878" y="4157"/>
                      <a:pt x="8805658" y="0"/>
                    </a:cubicBezTo>
                    <a:close/>
                    <a:moveTo>
                      <a:pt x="8427051" y="0"/>
                    </a:moveTo>
                    <a:lnTo>
                      <a:pt x="8441957" y="0"/>
                    </a:lnTo>
                    <a:lnTo>
                      <a:pt x="8441957" y="222980"/>
                    </a:lnTo>
                    <a:lnTo>
                      <a:pt x="8406669" y="222980"/>
                    </a:lnTo>
                    <a:lnTo>
                      <a:pt x="8406669" y="43197"/>
                    </a:lnTo>
                    <a:cubicBezTo>
                      <a:pt x="8400281" y="47760"/>
                      <a:pt x="8393411" y="51638"/>
                      <a:pt x="8386060" y="54832"/>
                    </a:cubicBezTo>
                    <a:cubicBezTo>
                      <a:pt x="8378708" y="58027"/>
                      <a:pt x="8370317" y="60840"/>
                      <a:pt x="8360887" y="63274"/>
                    </a:cubicBezTo>
                    <a:lnTo>
                      <a:pt x="8360887" y="33158"/>
                    </a:lnTo>
                    <a:cubicBezTo>
                      <a:pt x="8366768" y="31232"/>
                      <a:pt x="8372447" y="29203"/>
                      <a:pt x="8377922" y="27074"/>
                    </a:cubicBezTo>
                    <a:cubicBezTo>
                      <a:pt x="8383398" y="24945"/>
                      <a:pt x="8388798" y="22561"/>
                      <a:pt x="8394121" y="19925"/>
                    </a:cubicBezTo>
                    <a:cubicBezTo>
                      <a:pt x="8399445" y="17289"/>
                      <a:pt x="8404819" y="14348"/>
                      <a:pt x="8410244" y="11103"/>
                    </a:cubicBezTo>
                    <a:cubicBezTo>
                      <a:pt x="8415669" y="7859"/>
                      <a:pt x="8421271" y="4157"/>
                      <a:pt x="8427051" y="0"/>
                    </a:cubicBezTo>
                    <a:close/>
                    <a:moveTo>
                      <a:pt x="8278194" y="0"/>
                    </a:moveTo>
                    <a:lnTo>
                      <a:pt x="8293100" y="0"/>
                    </a:lnTo>
                    <a:lnTo>
                      <a:pt x="8293100" y="222980"/>
                    </a:lnTo>
                    <a:lnTo>
                      <a:pt x="8257812" y="222980"/>
                    </a:lnTo>
                    <a:lnTo>
                      <a:pt x="8257812" y="43197"/>
                    </a:lnTo>
                    <a:cubicBezTo>
                      <a:pt x="8251424" y="47760"/>
                      <a:pt x="8244555" y="51638"/>
                      <a:pt x="8237203" y="54832"/>
                    </a:cubicBezTo>
                    <a:cubicBezTo>
                      <a:pt x="8229851" y="58027"/>
                      <a:pt x="8221461" y="60840"/>
                      <a:pt x="8212030" y="63274"/>
                    </a:cubicBezTo>
                    <a:lnTo>
                      <a:pt x="8212030" y="33158"/>
                    </a:lnTo>
                    <a:cubicBezTo>
                      <a:pt x="8217911" y="31232"/>
                      <a:pt x="8223590" y="29203"/>
                      <a:pt x="8229065" y="27074"/>
                    </a:cubicBezTo>
                    <a:cubicBezTo>
                      <a:pt x="8234541" y="24945"/>
                      <a:pt x="8239941" y="22561"/>
                      <a:pt x="8245264" y="19925"/>
                    </a:cubicBezTo>
                    <a:cubicBezTo>
                      <a:pt x="8250588" y="17289"/>
                      <a:pt x="8255962" y="14348"/>
                      <a:pt x="8261387" y="11103"/>
                    </a:cubicBezTo>
                    <a:cubicBezTo>
                      <a:pt x="8266812" y="7859"/>
                      <a:pt x="8272414" y="4157"/>
                      <a:pt x="8278194" y="0"/>
                    </a:cubicBezTo>
                    <a:close/>
                    <a:moveTo>
                      <a:pt x="8124276" y="0"/>
                    </a:moveTo>
                    <a:lnTo>
                      <a:pt x="8139182" y="0"/>
                    </a:lnTo>
                    <a:lnTo>
                      <a:pt x="8139182" y="222980"/>
                    </a:lnTo>
                    <a:lnTo>
                      <a:pt x="8103894" y="222980"/>
                    </a:lnTo>
                    <a:lnTo>
                      <a:pt x="8103894" y="43197"/>
                    </a:lnTo>
                    <a:cubicBezTo>
                      <a:pt x="8097506" y="47760"/>
                      <a:pt x="8090637" y="51638"/>
                      <a:pt x="8083285" y="54832"/>
                    </a:cubicBezTo>
                    <a:cubicBezTo>
                      <a:pt x="8075933" y="58027"/>
                      <a:pt x="8067543" y="60840"/>
                      <a:pt x="8058112" y="63274"/>
                    </a:cubicBezTo>
                    <a:lnTo>
                      <a:pt x="8058112" y="33158"/>
                    </a:lnTo>
                    <a:cubicBezTo>
                      <a:pt x="8063993" y="31232"/>
                      <a:pt x="8069672" y="29203"/>
                      <a:pt x="8075147" y="27074"/>
                    </a:cubicBezTo>
                    <a:cubicBezTo>
                      <a:pt x="8080623" y="24945"/>
                      <a:pt x="8086023" y="22561"/>
                      <a:pt x="8091346" y="19925"/>
                    </a:cubicBezTo>
                    <a:cubicBezTo>
                      <a:pt x="8096670" y="17289"/>
                      <a:pt x="8102044" y="14348"/>
                      <a:pt x="8107469" y="11103"/>
                    </a:cubicBezTo>
                    <a:cubicBezTo>
                      <a:pt x="8112894" y="7859"/>
                      <a:pt x="8118496" y="4157"/>
                      <a:pt x="8124276" y="0"/>
                    </a:cubicBezTo>
                    <a:close/>
                    <a:moveTo>
                      <a:pt x="7975419" y="0"/>
                    </a:moveTo>
                    <a:lnTo>
                      <a:pt x="7990325" y="0"/>
                    </a:lnTo>
                    <a:lnTo>
                      <a:pt x="7990325" y="222980"/>
                    </a:lnTo>
                    <a:lnTo>
                      <a:pt x="7955037" y="222980"/>
                    </a:lnTo>
                    <a:lnTo>
                      <a:pt x="7955037" y="43197"/>
                    </a:lnTo>
                    <a:cubicBezTo>
                      <a:pt x="7948649" y="47760"/>
                      <a:pt x="7941780" y="51638"/>
                      <a:pt x="7934428" y="54832"/>
                    </a:cubicBezTo>
                    <a:cubicBezTo>
                      <a:pt x="7927076" y="58027"/>
                      <a:pt x="7918686" y="60840"/>
                      <a:pt x="7909255" y="63274"/>
                    </a:cubicBezTo>
                    <a:lnTo>
                      <a:pt x="7909255" y="33158"/>
                    </a:lnTo>
                    <a:cubicBezTo>
                      <a:pt x="7915136" y="31232"/>
                      <a:pt x="7920815" y="29203"/>
                      <a:pt x="7926290" y="27074"/>
                    </a:cubicBezTo>
                    <a:cubicBezTo>
                      <a:pt x="7931766" y="24945"/>
                      <a:pt x="7937166" y="22561"/>
                      <a:pt x="7942489" y="19925"/>
                    </a:cubicBezTo>
                    <a:cubicBezTo>
                      <a:pt x="7947813" y="17289"/>
                      <a:pt x="7953187" y="14348"/>
                      <a:pt x="7958612" y="11103"/>
                    </a:cubicBezTo>
                    <a:cubicBezTo>
                      <a:pt x="7964037" y="7859"/>
                      <a:pt x="7969639" y="4157"/>
                      <a:pt x="7975419" y="0"/>
                    </a:cubicBezTo>
                    <a:close/>
                    <a:moveTo>
                      <a:pt x="7826562" y="0"/>
                    </a:moveTo>
                    <a:lnTo>
                      <a:pt x="7841468" y="0"/>
                    </a:lnTo>
                    <a:lnTo>
                      <a:pt x="7841468" y="222980"/>
                    </a:lnTo>
                    <a:lnTo>
                      <a:pt x="7806180" y="222980"/>
                    </a:lnTo>
                    <a:lnTo>
                      <a:pt x="7806180" y="43197"/>
                    </a:lnTo>
                    <a:cubicBezTo>
                      <a:pt x="7799792" y="47760"/>
                      <a:pt x="7792923" y="51638"/>
                      <a:pt x="7785571" y="54832"/>
                    </a:cubicBezTo>
                    <a:cubicBezTo>
                      <a:pt x="7778219" y="58027"/>
                      <a:pt x="7769829" y="60840"/>
                      <a:pt x="7760398" y="63274"/>
                    </a:cubicBezTo>
                    <a:lnTo>
                      <a:pt x="7760398" y="33158"/>
                    </a:lnTo>
                    <a:cubicBezTo>
                      <a:pt x="7766279" y="31232"/>
                      <a:pt x="7771958" y="29203"/>
                      <a:pt x="7777433" y="27074"/>
                    </a:cubicBezTo>
                    <a:cubicBezTo>
                      <a:pt x="7782909" y="24945"/>
                      <a:pt x="7788309" y="22561"/>
                      <a:pt x="7793632" y="19925"/>
                    </a:cubicBezTo>
                    <a:cubicBezTo>
                      <a:pt x="7798956" y="17289"/>
                      <a:pt x="7804330" y="14348"/>
                      <a:pt x="7809755" y="11103"/>
                    </a:cubicBezTo>
                    <a:cubicBezTo>
                      <a:pt x="7815180" y="7859"/>
                      <a:pt x="7820782" y="4157"/>
                      <a:pt x="7826562" y="0"/>
                    </a:cubicBezTo>
                    <a:close/>
                    <a:moveTo>
                      <a:pt x="7474475" y="0"/>
                    </a:moveTo>
                    <a:lnTo>
                      <a:pt x="7489381" y="0"/>
                    </a:lnTo>
                    <a:lnTo>
                      <a:pt x="7489381" y="222980"/>
                    </a:lnTo>
                    <a:lnTo>
                      <a:pt x="7454093" y="222980"/>
                    </a:lnTo>
                    <a:lnTo>
                      <a:pt x="7454093" y="43197"/>
                    </a:lnTo>
                    <a:cubicBezTo>
                      <a:pt x="7447705" y="47760"/>
                      <a:pt x="7440836" y="51638"/>
                      <a:pt x="7433484" y="54832"/>
                    </a:cubicBezTo>
                    <a:cubicBezTo>
                      <a:pt x="7426132" y="58027"/>
                      <a:pt x="7417742" y="60840"/>
                      <a:pt x="7408311" y="63274"/>
                    </a:cubicBezTo>
                    <a:lnTo>
                      <a:pt x="7408311" y="33158"/>
                    </a:lnTo>
                    <a:cubicBezTo>
                      <a:pt x="7414192" y="31232"/>
                      <a:pt x="7419871" y="29203"/>
                      <a:pt x="7425346" y="27074"/>
                    </a:cubicBezTo>
                    <a:cubicBezTo>
                      <a:pt x="7430822" y="24945"/>
                      <a:pt x="7436222" y="22561"/>
                      <a:pt x="7441545" y="19925"/>
                    </a:cubicBezTo>
                    <a:cubicBezTo>
                      <a:pt x="7446869" y="17289"/>
                      <a:pt x="7452243" y="14348"/>
                      <a:pt x="7457668" y="11103"/>
                    </a:cubicBezTo>
                    <a:cubicBezTo>
                      <a:pt x="7463093" y="7859"/>
                      <a:pt x="7468695" y="4157"/>
                      <a:pt x="7474475" y="0"/>
                    </a:cubicBezTo>
                    <a:close/>
                    <a:moveTo>
                      <a:pt x="7176761" y="0"/>
                    </a:moveTo>
                    <a:lnTo>
                      <a:pt x="7191667" y="0"/>
                    </a:lnTo>
                    <a:lnTo>
                      <a:pt x="7191667" y="222980"/>
                    </a:lnTo>
                    <a:lnTo>
                      <a:pt x="7156379" y="222980"/>
                    </a:lnTo>
                    <a:lnTo>
                      <a:pt x="7156379" y="43197"/>
                    </a:lnTo>
                    <a:cubicBezTo>
                      <a:pt x="7149991" y="47760"/>
                      <a:pt x="7143122" y="51638"/>
                      <a:pt x="7135770" y="54832"/>
                    </a:cubicBezTo>
                    <a:cubicBezTo>
                      <a:pt x="7128418" y="58027"/>
                      <a:pt x="7120028" y="60840"/>
                      <a:pt x="7110597" y="63274"/>
                    </a:cubicBezTo>
                    <a:lnTo>
                      <a:pt x="7110597" y="33158"/>
                    </a:lnTo>
                    <a:cubicBezTo>
                      <a:pt x="7116478" y="31232"/>
                      <a:pt x="7122157" y="29203"/>
                      <a:pt x="7127632" y="27074"/>
                    </a:cubicBezTo>
                    <a:cubicBezTo>
                      <a:pt x="7133108" y="24945"/>
                      <a:pt x="7138508" y="22561"/>
                      <a:pt x="7143831" y="19925"/>
                    </a:cubicBezTo>
                    <a:cubicBezTo>
                      <a:pt x="7149155" y="17289"/>
                      <a:pt x="7154529" y="14348"/>
                      <a:pt x="7159954" y="11103"/>
                    </a:cubicBezTo>
                    <a:cubicBezTo>
                      <a:pt x="7165379" y="7859"/>
                      <a:pt x="7170981" y="4157"/>
                      <a:pt x="7176761" y="0"/>
                    </a:cubicBezTo>
                    <a:close/>
                    <a:moveTo>
                      <a:pt x="6967349" y="0"/>
                    </a:moveTo>
                    <a:cubicBezTo>
                      <a:pt x="7014794" y="0"/>
                      <a:pt x="7038516" y="36863"/>
                      <a:pt x="7038516" y="110587"/>
                    </a:cubicBezTo>
                    <a:cubicBezTo>
                      <a:pt x="7038516" y="147099"/>
                      <a:pt x="7031821" y="174959"/>
                      <a:pt x="7018430" y="194167"/>
                    </a:cubicBezTo>
                    <a:cubicBezTo>
                      <a:pt x="7005039" y="213375"/>
                      <a:pt x="6986307" y="222980"/>
                      <a:pt x="6962233" y="222980"/>
                    </a:cubicBezTo>
                    <a:cubicBezTo>
                      <a:pt x="6939765" y="222980"/>
                      <a:pt x="6922236" y="213802"/>
                      <a:pt x="6909648" y="195446"/>
                    </a:cubicBezTo>
                    <a:cubicBezTo>
                      <a:pt x="6897059" y="177090"/>
                      <a:pt x="6890765" y="150559"/>
                      <a:pt x="6890765" y="115854"/>
                    </a:cubicBezTo>
                    <a:cubicBezTo>
                      <a:pt x="6890765" y="77737"/>
                      <a:pt x="6897335" y="48899"/>
                      <a:pt x="6910475" y="29339"/>
                    </a:cubicBezTo>
                    <a:cubicBezTo>
                      <a:pt x="6923616" y="9780"/>
                      <a:pt x="6942573" y="0"/>
                      <a:pt x="6967349" y="0"/>
                    </a:cubicBezTo>
                    <a:close/>
                    <a:moveTo>
                      <a:pt x="6750839" y="0"/>
                    </a:moveTo>
                    <a:cubicBezTo>
                      <a:pt x="6798284" y="0"/>
                      <a:pt x="6822006" y="36863"/>
                      <a:pt x="6822006" y="110587"/>
                    </a:cubicBezTo>
                    <a:cubicBezTo>
                      <a:pt x="6822006" y="147099"/>
                      <a:pt x="6815311" y="174959"/>
                      <a:pt x="6801920" y="194167"/>
                    </a:cubicBezTo>
                    <a:cubicBezTo>
                      <a:pt x="6788529" y="213375"/>
                      <a:pt x="6769797" y="222980"/>
                      <a:pt x="6745723" y="222980"/>
                    </a:cubicBezTo>
                    <a:cubicBezTo>
                      <a:pt x="6723255" y="222980"/>
                      <a:pt x="6705726" y="213802"/>
                      <a:pt x="6693138" y="195446"/>
                    </a:cubicBezTo>
                    <a:cubicBezTo>
                      <a:pt x="6680549" y="177090"/>
                      <a:pt x="6674255" y="150559"/>
                      <a:pt x="6674255" y="115854"/>
                    </a:cubicBezTo>
                    <a:cubicBezTo>
                      <a:pt x="6674255" y="77737"/>
                      <a:pt x="6680825" y="48899"/>
                      <a:pt x="6693965" y="29339"/>
                    </a:cubicBezTo>
                    <a:cubicBezTo>
                      <a:pt x="6707106" y="9780"/>
                      <a:pt x="6726063" y="0"/>
                      <a:pt x="6750839" y="0"/>
                    </a:cubicBezTo>
                    <a:close/>
                    <a:moveTo>
                      <a:pt x="6604532" y="0"/>
                    </a:moveTo>
                    <a:lnTo>
                      <a:pt x="6619438" y="0"/>
                    </a:lnTo>
                    <a:lnTo>
                      <a:pt x="6619438" y="222980"/>
                    </a:lnTo>
                    <a:lnTo>
                      <a:pt x="6584150" y="222980"/>
                    </a:lnTo>
                    <a:lnTo>
                      <a:pt x="6584150" y="43197"/>
                    </a:lnTo>
                    <a:cubicBezTo>
                      <a:pt x="6577762" y="47760"/>
                      <a:pt x="6570893" y="51638"/>
                      <a:pt x="6563541" y="54832"/>
                    </a:cubicBezTo>
                    <a:cubicBezTo>
                      <a:pt x="6556189" y="58027"/>
                      <a:pt x="6547799" y="60840"/>
                      <a:pt x="6538368" y="63274"/>
                    </a:cubicBezTo>
                    <a:lnTo>
                      <a:pt x="6538368" y="33158"/>
                    </a:lnTo>
                    <a:cubicBezTo>
                      <a:pt x="6544249" y="31232"/>
                      <a:pt x="6549928" y="29203"/>
                      <a:pt x="6555403" y="27074"/>
                    </a:cubicBezTo>
                    <a:cubicBezTo>
                      <a:pt x="6560879" y="24945"/>
                      <a:pt x="6566279" y="22561"/>
                      <a:pt x="6571602" y="19925"/>
                    </a:cubicBezTo>
                    <a:cubicBezTo>
                      <a:pt x="6576926" y="17289"/>
                      <a:pt x="6582300" y="14348"/>
                      <a:pt x="6587725" y="11103"/>
                    </a:cubicBezTo>
                    <a:cubicBezTo>
                      <a:pt x="6593150" y="7859"/>
                      <a:pt x="6598752" y="4157"/>
                      <a:pt x="6604532" y="0"/>
                    </a:cubicBezTo>
                    <a:close/>
                    <a:moveTo>
                      <a:pt x="6306818" y="0"/>
                    </a:moveTo>
                    <a:lnTo>
                      <a:pt x="6321724" y="0"/>
                    </a:lnTo>
                    <a:lnTo>
                      <a:pt x="6321724" y="222980"/>
                    </a:lnTo>
                    <a:lnTo>
                      <a:pt x="6286436" y="222980"/>
                    </a:lnTo>
                    <a:lnTo>
                      <a:pt x="6286436" y="43197"/>
                    </a:lnTo>
                    <a:cubicBezTo>
                      <a:pt x="6280048" y="47760"/>
                      <a:pt x="6273179" y="51638"/>
                      <a:pt x="6265827" y="54832"/>
                    </a:cubicBezTo>
                    <a:cubicBezTo>
                      <a:pt x="6258475" y="58027"/>
                      <a:pt x="6250085" y="60840"/>
                      <a:pt x="6240654" y="63274"/>
                    </a:cubicBezTo>
                    <a:lnTo>
                      <a:pt x="6240654" y="33158"/>
                    </a:lnTo>
                    <a:cubicBezTo>
                      <a:pt x="6246535" y="31232"/>
                      <a:pt x="6252214" y="29203"/>
                      <a:pt x="6257689" y="27074"/>
                    </a:cubicBezTo>
                    <a:cubicBezTo>
                      <a:pt x="6263165" y="24945"/>
                      <a:pt x="6268565" y="22561"/>
                      <a:pt x="6273888" y="19925"/>
                    </a:cubicBezTo>
                    <a:cubicBezTo>
                      <a:pt x="6279212" y="17289"/>
                      <a:pt x="6284586" y="14348"/>
                      <a:pt x="6290011" y="11103"/>
                    </a:cubicBezTo>
                    <a:cubicBezTo>
                      <a:pt x="6295436" y="7859"/>
                      <a:pt x="6301038" y="4157"/>
                      <a:pt x="6306818" y="0"/>
                    </a:cubicBezTo>
                    <a:close/>
                    <a:moveTo>
                      <a:pt x="6133062" y="0"/>
                    </a:moveTo>
                    <a:cubicBezTo>
                      <a:pt x="6180507" y="0"/>
                      <a:pt x="6204229" y="36863"/>
                      <a:pt x="6204229" y="110587"/>
                    </a:cubicBezTo>
                    <a:cubicBezTo>
                      <a:pt x="6204229" y="147099"/>
                      <a:pt x="6197534" y="174959"/>
                      <a:pt x="6184143" y="194167"/>
                    </a:cubicBezTo>
                    <a:cubicBezTo>
                      <a:pt x="6170752" y="213375"/>
                      <a:pt x="6152020" y="222980"/>
                      <a:pt x="6127946" y="222980"/>
                    </a:cubicBezTo>
                    <a:cubicBezTo>
                      <a:pt x="6105478" y="222980"/>
                      <a:pt x="6087949" y="213802"/>
                      <a:pt x="6075361" y="195446"/>
                    </a:cubicBezTo>
                    <a:cubicBezTo>
                      <a:pt x="6062772" y="177090"/>
                      <a:pt x="6056478" y="150559"/>
                      <a:pt x="6056478" y="115854"/>
                    </a:cubicBezTo>
                    <a:cubicBezTo>
                      <a:pt x="6056478" y="77737"/>
                      <a:pt x="6063048" y="48899"/>
                      <a:pt x="6076188" y="29339"/>
                    </a:cubicBezTo>
                    <a:cubicBezTo>
                      <a:pt x="6089329" y="9780"/>
                      <a:pt x="6108286" y="0"/>
                      <a:pt x="6133062" y="0"/>
                    </a:cubicBezTo>
                    <a:close/>
                    <a:moveTo>
                      <a:pt x="5916551" y="0"/>
                    </a:moveTo>
                    <a:cubicBezTo>
                      <a:pt x="5963996" y="0"/>
                      <a:pt x="5987719" y="36863"/>
                      <a:pt x="5987719" y="110587"/>
                    </a:cubicBezTo>
                    <a:cubicBezTo>
                      <a:pt x="5987719" y="147099"/>
                      <a:pt x="5981023" y="174959"/>
                      <a:pt x="5967633" y="194167"/>
                    </a:cubicBezTo>
                    <a:cubicBezTo>
                      <a:pt x="5954241" y="213375"/>
                      <a:pt x="5935509" y="222980"/>
                      <a:pt x="5911437" y="222980"/>
                    </a:cubicBezTo>
                    <a:cubicBezTo>
                      <a:pt x="5888967" y="222980"/>
                      <a:pt x="5871439" y="213802"/>
                      <a:pt x="5858850" y="195446"/>
                    </a:cubicBezTo>
                    <a:cubicBezTo>
                      <a:pt x="5846262" y="177090"/>
                      <a:pt x="5839968" y="150559"/>
                      <a:pt x="5839968" y="115854"/>
                    </a:cubicBezTo>
                    <a:cubicBezTo>
                      <a:pt x="5839968" y="77737"/>
                      <a:pt x="5846538" y="48899"/>
                      <a:pt x="5859678" y="29339"/>
                    </a:cubicBezTo>
                    <a:cubicBezTo>
                      <a:pt x="5872818" y="9780"/>
                      <a:pt x="5891776" y="0"/>
                      <a:pt x="5916551" y="0"/>
                    </a:cubicBezTo>
                    <a:close/>
                    <a:moveTo>
                      <a:pt x="5692444" y="0"/>
                    </a:moveTo>
                    <a:cubicBezTo>
                      <a:pt x="5739889" y="0"/>
                      <a:pt x="5763612" y="36863"/>
                      <a:pt x="5763612" y="110587"/>
                    </a:cubicBezTo>
                    <a:cubicBezTo>
                      <a:pt x="5763612" y="147099"/>
                      <a:pt x="5756916" y="174959"/>
                      <a:pt x="5743526" y="194167"/>
                    </a:cubicBezTo>
                    <a:cubicBezTo>
                      <a:pt x="5730134" y="213375"/>
                      <a:pt x="5711402" y="222980"/>
                      <a:pt x="5687330" y="222980"/>
                    </a:cubicBezTo>
                    <a:cubicBezTo>
                      <a:pt x="5664860" y="222980"/>
                      <a:pt x="5647332" y="213802"/>
                      <a:pt x="5634743" y="195446"/>
                    </a:cubicBezTo>
                    <a:cubicBezTo>
                      <a:pt x="5622155" y="177090"/>
                      <a:pt x="5615861" y="150559"/>
                      <a:pt x="5615861" y="115854"/>
                    </a:cubicBezTo>
                    <a:cubicBezTo>
                      <a:pt x="5615861" y="77737"/>
                      <a:pt x="5622431" y="48899"/>
                      <a:pt x="5635571" y="29339"/>
                    </a:cubicBezTo>
                    <a:cubicBezTo>
                      <a:pt x="5648711" y="9780"/>
                      <a:pt x="5667669" y="0"/>
                      <a:pt x="5692444" y="0"/>
                    </a:cubicBezTo>
                    <a:close/>
                    <a:moveTo>
                      <a:pt x="5535164" y="0"/>
                    </a:moveTo>
                    <a:lnTo>
                      <a:pt x="5550072" y="0"/>
                    </a:lnTo>
                    <a:lnTo>
                      <a:pt x="5550072" y="222980"/>
                    </a:lnTo>
                    <a:lnTo>
                      <a:pt x="5514784" y="222980"/>
                    </a:lnTo>
                    <a:lnTo>
                      <a:pt x="5514784" y="43197"/>
                    </a:lnTo>
                    <a:cubicBezTo>
                      <a:pt x="5508395" y="47760"/>
                      <a:pt x="5501525" y="51638"/>
                      <a:pt x="5494174" y="54832"/>
                    </a:cubicBezTo>
                    <a:cubicBezTo>
                      <a:pt x="5486822" y="58027"/>
                      <a:pt x="5478431" y="60840"/>
                      <a:pt x="5469002" y="63274"/>
                    </a:cubicBezTo>
                    <a:lnTo>
                      <a:pt x="5469002" y="33158"/>
                    </a:lnTo>
                    <a:cubicBezTo>
                      <a:pt x="5474882" y="31232"/>
                      <a:pt x="5480560" y="29203"/>
                      <a:pt x="5486036" y="27074"/>
                    </a:cubicBezTo>
                    <a:cubicBezTo>
                      <a:pt x="5491512" y="24945"/>
                      <a:pt x="5496911" y="22561"/>
                      <a:pt x="5502235" y="19925"/>
                    </a:cubicBezTo>
                    <a:cubicBezTo>
                      <a:pt x="5507558" y="17289"/>
                      <a:pt x="5512933" y="14348"/>
                      <a:pt x="5518357" y="11103"/>
                    </a:cubicBezTo>
                    <a:cubicBezTo>
                      <a:pt x="5523783" y="7859"/>
                      <a:pt x="5529385" y="4157"/>
                      <a:pt x="5535164" y="0"/>
                    </a:cubicBezTo>
                    <a:close/>
                    <a:moveTo>
                      <a:pt x="5237450" y="0"/>
                    </a:moveTo>
                    <a:lnTo>
                      <a:pt x="5252357" y="0"/>
                    </a:lnTo>
                    <a:lnTo>
                      <a:pt x="5252357" y="222980"/>
                    </a:lnTo>
                    <a:lnTo>
                      <a:pt x="5217069" y="222980"/>
                    </a:lnTo>
                    <a:lnTo>
                      <a:pt x="5217069" y="43197"/>
                    </a:lnTo>
                    <a:cubicBezTo>
                      <a:pt x="5210682" y="47760"/>
                      <a:pt x="5203812" y="51638"/>
                      <a:pt x="5196459" y="54832"/>
                    </a:cubicBezTo>
                    <a:cubicBezTo>
                      <a:pt x="5189108" y="58027"/>
                      <a:pt x="5180717" y="60840"/>
                      <a:pt x="5171287" y="63274"/>
                    </a:cubicBezTo>
                    <a:lnTo>
                      <a:pt x="5171287" y="33158"/>
                    </a:lnTo>
                    <a:cubicBezTo>
                      <a:pt x="5177168" y="31232"/>
                      <a:pt x="5182846" y="29203"/>
                      <a:pt x="5188322" y="27074"/>
                    </a:cubicBezTo>
                    <a:cubicBezTo>
                      <a:pt x="5193798" y="24945"/>
                      <a:pt x="5199197" y="22561"/>
                      <a:pt x="5204521" y="19925"/>
                    </a:cubicBezTo>
                    <a:cubicBezTo>
                      <a:pt x="5209844" y="17289"/>
                      <a:pt x="5215219" y="14348"/>
                      <a:pt x="5220643" y="11103"/>
                    </a:cubicBezTo>
                    <a:cubicBezTo>
                      <a:pt x="5226069" y="7859"/>
                      <a:pt x="5231671" y="4157"/>
                      <a:pt x="5237450" y="0"/>
                    </a:cubicBezTo>
                    <a:close/>
                    <a:moveTo>
                      <a:pt x="4862705" y="0"/>
                    </a:moveTo>
                    <a:lnTo>
                      <a:pt x="4877612" y="0"/>
                    </a:lnTo>
                    <a:lnTo>
                      <a:pt x="4877612" y="222980"/>
                    </a:lnTo>
                    <a:lnTo>
                      <a:pt x="4842324" y="222980"/>
                    </a:lnTo>
                    <a:lnTo>
                      <a:pt x="4842324" y="43197"/>
                    </a:lnTo>
                    <a:cubicBezTo>
                      <a:pt x="4835936" y="47760"/>
                      <a:pt x="4829066" y="51638"/>
                      <a:pt x="4821714" y="54832"/>
                    </a:cubicBezTo>
                    <a:cubicBezTo>
                      <a:pt x="4814363" y="58027"/>
                      <a:pt x="4805972" y="60840"/>
                      <a:pt x="4796542" y="63274"/>
                    </a:cubicBezTo>
                    <a:lnTo>
                      <a:pt x="4796542" y="33158"/>
                    </a:lnTo>
                    <a:cubicBezTo>
                      <a:pt x="4802423" y="31232"/>
                      <a:pt x="4808101" y="29203"/>
                      <a:pt x="4813577" y="27074"/>
                    </a:cubicBezTo>
                    <a:cubicBezTo>
                      <a:pt x="4819053" y="24945"/>
                      <a:pt x="4824452" y="22561"/>
                      <a:pt x="4829776" y="19925"/>
                    </a:cubicBezTo>
                    <a:cubicBezTo>
                      <a:pt x="4835099" y="17289"/>
                      <a:pt x="4840474" y="14348"/>
                      <a:pt x="4845898" y="11103"/>
                    </a:cubicBezTo>
                    <a:cubicBezTo>
                      <a:pt x="4851324" y="7859"/>
                      <a:pt x="4856926" y="4157"/>
                      <a:pt x="4862705" y="0"/>
                    </a:cubicBezTo>
                    <a:close/>
                    <a:moveTo>
                      <a:pt x="4719097" y="0"/>
                    </a:moveTo>
                    <a:lnTo>
                      <a:pt x="4734004" y="0"/>
                    </a:lnTo>
                    <a:lnTo>
                      <a:pt x="4734004" y="222980"/>
                    </a:lnTo>
                    <a:lnTo>
                      <a:pt x="4698716" y="222980"/>
                    </a:lnTo>
                    <a:lnTo>
                      <a:pt x="4698716" y="43197"/>
                    </a:lnTo>
                    <a:cubicBezTo>
                      <a:pt x="4692328" y="47760"/>
                      <a:pt x="4685458" y="51638"/>
                      <a:pt x="4678106" y="54832"/>
                    </a:cubicBezTo>
                    <a:cubicBezTo>
                      <a:pt x="4670755" y="58027"/>
                      <a:pt x="4662364" y="60840"/>
                      <a:pt x="4652934" y="63274"/>
                    </a:cubicBezTo>
                    <a:lnTo>
                      <a:pt x="4652934" y="33158"/>
                    </a:lnTo>
                    <a:cubicBezTo>
                      <a:pt x="4658815" y="31232"/>
                      <a:pt x="4664493" y="29203"/>
                      <a:pt x="4669969" y="27074"/>
                    </a:cubicBezTo>
                    <a:cubicBezTo>
                      <a:pt x="4675445" y="24945"/>
                      <a:pt x="4680844" y="22561"/>
                      <a:pt x="4686168" y="19925"/>
                    </a:cubicBezTo>
                    <a:cubicBezTo>
                      <a:pt x="4691491" y="17289"/>
                      <a:pt x="4696866" y="14348"/>
                      <a:pt x="4702290" y="11103"/>
                    </a:cubicBezTo>
                    <a:cubicBezTo>
                      <a:pt x="4707717" y="7859"/>
                      <a:pt x="4713318" y="4157"/>
                      <a:pt x="4719097" y="0"/>
                    </a:cubicBezTo>
                    <a:close/>
                    <a:moveTo>
                      <a:pt x="4575489" y="0"/>
                    </a:moveTo>
                    <a:lnTo>
                      <a:pt x="4590396" y="0"/>
                    </a:lnTo>
                    <a:lnTo>
                      <a:pt x="4590396" y="222980"/>
                    </a:lnTo>
                    <a:lnTo>
                      <a:pt x="4555108" y="222980"/>
                    </a:lnTo>
                    <a:lnTo>
                      <a:pt x="4555108" y="43197"/>
                    </a:lnTo>
                    <a:cubicBezTo>
                      <a:pt x="4548720" y="47760"/>
                      <a:pt x="4541850" y="51638"/>
                      <a:pt x="4534498" y="54832"/>
                    </a:cubicBezTo>
                    <a:cubicBezTo>
                      <a:pt x="4527147" y="58027"/>
                      <a:pt x="4518756" y="60840"/>
                      <a:pt x="4509326" y="63274"/>
                    </a:cubicBezTo>
                    <a:lnTo>
                      <a:pt x="4509326" y="33158"/>
                    </a:lnTo>
                    <a:cubicBezTo>
                      <a:pt x="4515207" y="31232"/>
                      <a:pt x="4520885" y="29203"/>
                      <a:pt x="4526361" y="27074"/>
                    </a:cubicBezTo>
                    <a:cubicBezTo>
                      <a:pt x="4531837" y="24945"/>
                      <a:pt x="4537236" y="22561"/>
                      <a:pt x="4542561" y="19925"/>
                    </a:cubicBezTo>
                    <a:cubicBezTo>
                      <a:pt x="4547883" y="17289"/>
                      <a:pt x="4553258" y="14348"/>
                      <a:pt x="4558682" y="11103"/>
                    </a:cubicBezTo>
                    <a:cubicBezTo>
                      <a:pt x="4564109" y="7859"/>
                      <a:pt x="4569710" y="4157"/>
                      <a:pt x="4575489" y="0"/>
                    </a:cubicBezTo>
                    <a:close/>
                    <a:moveTo>
                      <a:pt x="4431882" y="0"/>
                    </a:moveTo>
                    <a:lnTo>
                      <a:pt x="4446788" y="0"/>
                    </a:lnTo>
                    <a:lnTo>
                      <a:pt x="4446788" y="222980"/>
                    </a:lnTo>
                    <a:lnTo>
                      <a:pt x="4411500" y="222980"/>
                    </a:lnTo>
                    <a:lnTo>
                      <a:pt x="4411500" y="43197"/>
                    </a:lnTo>
                    <a:cubicBezTo>
                      <a:pt x="4405112" y="47760"/>
                      <a:pt x="4398242" y="51638"/>
                      <a:pt x="4390890" y="54832"/>
                    </a:cubicBezTo>
                    <a:cubicBezTo>
                      <a:pt x="4383539" y="58027"/>
                      <a:pt x="4375148" y="60840"/>
                      <a:pt x="4365718" y="63274"/>
                    </a:cubicBezTo>
                    <a:lnTo>
                      <a:pt x="4365718" y="33158"/>
                    </a:lnTo>
                    <a:cubicBezTo>
                      <a:pt x="4371599" y="31232"/>
                      <a:pt x="4377277" y="29203"/>
                      <a:pt x="4382753" y="27074"/>
                    </a:cubicBezTo>
                    <a:cubicBezTo>
                      <a:pt x="4388229" y="24945"/>
                      <a:pt x="4393628" y="22561"/>
                      <a:pt x="4398953" y="19925"/>
                    </a:cubicBezTo>
                    <a:cubicBezTo>
                      <a:pt x="4404275" y="17289"/>
                      <a:pt x="4409650" y="14348"/>
                      <a:pt x="4415075" y="11103"/>
                    </a:cubicBezTo>
                    <a:cubicBezTo>
                      <a:pt x="4420501" y="7859"/>
                      <a:pt x="4426102" y="4157"/>
                      <a:pt x="4431882" y="0"/>
                    </a:cubicBezTo>
                    <a:close/>
                    <a:moveTo>
                      <a:pt x="3691712" y="0"/>
                    </a:moveTo>
                    <a:lnTo>
                      <a:pt x="3706617" y="0"/>
                    </a:lnTo>
                    <a:lnTo>
                      <a:pt x="3706617" y="222980"/>
                    </a:lnTo>
                    <a:lnTo>
                      <a:pt x="3671329" y="222980"/>
                    </a:lnTo>
                    <a:lnTo>
                      <a:pt x="3671329" y="43197"/>
                    </a:lnTo>
                    <a:cubicBezTo>
                      <a:pt x="3664942" y="47760"/>
                      <a:pt x="3658072" y="51638"/>
                      <a:pt x="3650721" y="54832"/>
                    </a:cubicBezTo>
                    <a:cubicBezTo>
                      <a:pt x="3643369" y="58027"/>
                      <a:pt x="3634977" y="60840"/>
                      <a:pt x="3625548" y="63274"/>
                    </a:cubicBezTo>
                    <a:lnTo>
                      <a:pt x="3625548" y="33158"/>
                    </a:lnTo>
                    <a:cubicBezTo>
                      <a:pt x="3631429" y="31232"/>
                      <a:pt x="3637107" y="29203"/>
                      <a:pt x="3642583" y="27074"/>
                    </a:cubicBezTo>
                    <a:cubicBezTo>
                      <a:pt x="3648058" y="24945"/>
                      <a:pt x="3653458" y="22561"/>
                      <a:pt x="3658782" y="19925"/>
                    </a:cubicBezTo>
                    <a:cubicBezTo>
                      <a:pt x="3664106" y="17289"/>
                      <a:pt x="3669480" y="14348"/>
                      <a:pt x="3674904" y="11103"/>
                    </a:cubicBezTo>
                    <a:cubicBezTo>
                      <a:pt x="3680330" y="7859"/>
                      <a:pt x="3685932" y="4157"/>
                      <a:pt x="3691712" y="0"/>
                    </a:cubicBezTo>
                    <a:close/>
                    <a:moveTo>
                      <a:pt x="3542855" y="0"/>
                    </a:moveTo>
                    <a:lnTo>
                      <a:pt x="3557761" y="0"/>
                    </a:lnTo>
                    <a:lnTo>
                      <a:pt x="3557761" y="222980"/>
                    </a:lnTo>
                    <a:lnTo>
                      <a:pt x="3522473" y="222980"/>
                    </a:lnTo>
                    <a:lnTo>
                      <a:pt x="3522473" y="43197"/>
                    </a:lnTo>
                    <a:cubicBezTo>
                      <a:pt x="3516085" y="47760"/>
                      <a:pt x="3509215" y="51638"/>
                      <a:pt x="3501864" y="54832"/>
                    </a:cubicBezTo>
                    <a:cubicBezTo>
                      <a:pt x="3494512" y="58027"/>
                      <a:pt x="3486121" y="60840"/>
                      <a:pt x="3476691" y="63274"/>
                    </a:cubicBezTo>
                    <a:lnTo>
                      <a:pt x="3476691" y="33158"/>
                    </a:lnTo>
                    <a:cubicBezTo>
                      <a:pt x="3482572" y="31232"/>
                      <a:pt x="3488251" y="29203"/>
                      <a:pt x="3493726" y="27074"/>
                    </a:cubicBezTo>
                    <a:cubicBezTo>
                      <a:pt x="3499202" y="24945"/>
                      <a:pt x="3504601" y="22561"/>
                      <a:pt x="3509925" y="19925"/>
                    </a:cubicBezTo>
                    <a:cubicBezTo>
                      <a:pt x="3515249" y="17289"/>
                      <a:pt x="3520623" y="14348"/>
                      <a:pt x="3526047" y="11103"/>
                    </a:cubicBezTo>
                    <a:cubicBezTo>
                      <a:pt x="3531473" y="7859"/>
                      <a:pt x="3537075" y="4157"/>
                      <a:pt x="3542855" y="0"/>
                    </a:cubicBezTo>
                    <a:close/>
                    <a:moveTo>
                      <a:pt x="2738186" y="0"/>
                    </a:moveTo>
                    <a:lnTo>
                      <a:pt x="2753092" y="0"/>
                    </a:lnTo>
                    <a:lnTo>
                      <a:pt x="2753092" y="222980"/>
                    </a:lnTo>
                    <a:lnTo>
                      <a:pt x="2717805" y="222980"/>
                    </a:lnTo>
                    <a:lnTo>
                      <a:pt x="2717805" y="43197"/>
                    </a:lnTo>
                    <a:cubicBezTo>
                      <a:pt x="2711417" y="47760"/>
                      <a:pt x="2704546" y="51638"/>
                      <a:pt x="2697195" y="54832"/>
                    </a:cubicBezTo>
                    <a:cubicBezTo>
                      <a:pt x="2689843" y="58027"/>
                      <a:pt x="2681453" y="60840"/>
                      <a:pt x="2672022" y="63274"/>
                    </a:cubicBezTo>
                    <a:lnTo>
                      <a:pt x="2672022" y="33158"/>
                    </a:lnTo>
                    <a:cubicBezTo>
                      <a:pt x="2677904" y="31232"/>
                      <a:pt x="2683582" y="29203"/>
                      <a:pt x="2689058" y="27074"/>
                    </a:cubicBezTo>
                    <a:cubicBezTo>
                      <a:pt x="2694532" y="24945"/>
                      <a:pt x="2699933" y="22561"/>
                      <a:pt x="2705257" y="19925"/>
                    </a:cubicBezTo>
                    <a:cubicBezTo>
                      <a:pt x="2710581" y="17289"/>
                      <a:pt x="2715954" y="14348"/>
                      <a:pt x="2721379" y="11103"/>
                    </a:cubicBezTo>
                    <a:cubicBezTo>
                      <a:pt x="2726804" y="7859"/>
                      <a:pt x="2732406" y="4157"/>
                      <a:pt x="2738186" y="0"/>
                    </a:cubicBezTo>
                    <a:close/>
                    <a:moveTo>
                      <a:pt x="2345427" y="0"/>
                    </a:moveTo>
                    <a:lnTo>
                      <a:pt x="2360334" y="0"/>
                    </a:lnTo>
                    <a:lnTo>
                      <a:pt x="2360334" y="222980"/>
                    </a:lnTo>
                    <a:lnTo>
                      <a:pt x="2325046" y="222980"/>
                    </a:lnTo>
                    <a:lnTo>
                      <a:pt x="2325046" y="43197"/>
                    </a:lnTo>
                    <a:cubicBezTo>
                      <a:pt x="2318658" y="47760"/>
                      <a:pt x="2311788" y="51638"/>
                      <a:pt x="2304436" y="54832"/>
                    </a:cubicBezTo>
                    <a:cubicBezTo>
                      <a:pt x="2297084" y="58027"/>
                      <a:pt x="2288694" y="60840"/>
                      <a:pt x="2279264" y="63274"/>
                    </a:cubicBezTo>
                    <a:lnTo>
                      <a:pt x="2279264" y="33158"/>
                    </a:lnTo>
                    <a:cubicBezTo>
                      <a:pt x="2285145" y="31232"/>
                      <a:pt x="2290823" y="29203"/>
                      <a:pt x="2296299" y="27074"/>
                    </a:cubicBezTo>
                    <a:cubicBezTo>
                      <a:pt x="2301774" y="24945"/>
                      <a:pt x="2307174" y="22561"/>
                      <a:pt x="2312497" y="19925"/>
                    </a:cubicBezTo>
                    <a:cubicBezTo>
                      <a:pt x="2317821" y="17289"/>
                      <a:pt x="2323195" y="14348"/>
                      <a:pt x="2328619" y="11103"/>
                    </a:cubicBezTo>
                    <a:cubicBezTo>
                      <a:pt x="2334045" y="7859"/>
                      <a:pt x="2339647" y="4157"/>
                      <a:pt x="2345427" y="0"/>
                    </a:cubicBezTo>
                    <a:close/>
                    <a:moveTo>
                      <a:pt x="2201820" y="0"/>
                    </a:moveTo>
                    <a:lnTo>
                      <a:pt x="2216726" y="0"/>
                    </a:lnTo>
                    <a:lnTo>
                      <a:pt x="2216726" y="222980"/>
                    </a:lnTo>
                    <a:lnTo>
                      <a:pt x="2181438" y="222980"/>
                    </a:lnTo>
                    <a:lnTo>
                      <a:pt x="2181438" y="43197"/>
                    </a:lnTo>
                    <a:cubicBezTo>
                      <a:pt x="2175050" y="47760"/>
                      <a:pt x="2168180" y="51638"/>
                      <a:pt x="2160828" y="54832"/>
                    </a:cubicBezTo>
                    <a:cubicBezTo>
                      <a:pt x="2153477" y="58027"/>
                      <a:pt x="2145085" y="60840"/>
                      <a:pt x="2135656" y="63274"/>
                    </a:cubicBezTo>
                    <a:lnTo>
                      <a:pt x="2135656" y="33158"/>
                    </a:lnTo>
                    <a:cubicBezTo>
                      <a:pt x="2141537" y="31232"/>
                      <a:pt x="2147215" y="29203"/>
                      <a:pt x="2152690" y="27074"/>
                    </a:cubicBezTo>
                    <a:cubicBezTo>
                      <a:pt x="2158167" y="24945"/>
                      <a:pt x="2163565" y="22561"/>
                      <a:pt x="2168890" y="19925"/>
                    </a:cubicBezTo>
                    <a:cubicBezTo>
                      <a:pt x="2174213" y="17289"/>
                      <a:pt x="2179587" y="14348"/>
                      <a:pt x="2185012" y="11103"/>
                    </a:cubicBezTo>
                    <a:cubicBezTo>
                      <a:pt x="2190437" y="7859"/>
                      <a:pt x="2196038" y="4157"/>
                      <a:pt x="2201820" y="0"/>
                    </a:cubicBezTo>
                    <a:close/>
                    <a:moveTo>
                      <a:pt x="2058211" y="0"/>
                    </a:moveTo>
                    <a:lnTo>
                      <a:pt x="2073118" y="0"/>
                    </a:lnTo>
                    <a:lnTo>
                      <a:pt x="2073118" y="222980"/>
                    </a:lnTo>
                    <a:lnTo>
                      <a:pt x="2037830" y="222980"/>
                    </a:lnTo>
                    <a:lnTo>
                      <a:pt x="2037830" y="43197"/>
                    </a:lnTo>
                    <a:cubicBezTo>
                      <a:pt x="2031442" y="47760"/>
                      <a:pt x="2024573" y="51638"/>
                      <a:pt x="2017220" y="54832"/>
                    </a:cubicBezTo>
                    <a:cubicBezTo>
                      <a:pt x="2009869" y="58027"/>
                      <a:pt x="2001478" y="60840"/>
                      <a:pt x="1992048" y="63274"/>
                    </a:cubicBezTo>
                    <a:lnTo>
                      <a:pt x="1992048" y="33158"/>
                    </a:lnTo>
                    <a:cubicBezTo>
                      <a:pt x="1997929" y="31232"/>
                      <a:pt x="2003608" y="29203"/>
                      <a:pt x="2009083" y="27074"/>
                    </a:cubicBezTo>
                    <a:cubicBezTo>
                      <a:pt x="2014559" y="24945"/>
                      <a:pt x="2019959" y="22561"/>
                      <a:pt x="2025281" y="19925"/>
                    </a:cubicBezTo>
                    <a:cubicBezTo>
                      <a:pt x="2030606" y="17289"/>
                      <a:pt x="2035980" y="14348"/>
                      <a:pt x="2041403" y="11103"/>
                    </a:cubicBezTo>
                    <a:cubicBezTo>
                      <a:pt x="2046829" y="7859"/>
                      <a:pt x="2052431" y="4157"/>
                      <a:pt x="2058211" y="0"/>
                    </a:cubicBezTo>
                    <a:close/>
                    <a:moveTo>
                      <a:pt x="1914604" y="0"/>
                    </a:moveTo>
                    <a:lnTo>
                      <a:pt x="1929510" y="0"/>
                    </a:lnTo>
                    <a:lnTo>
                      <a:pt x="1929510" y="222980"/>
                    </a:lnTo>
                    <a:lnTo>
                      <a:pt x="1894223" y="222980"/>
                    </a:lnTo>
                    <a:lnTo>
                      <a:pt x="1894223" y="43197"/>
                    </a:lnTo>
                    <a:cubicBezTo>
                      <a:pt x="1887835" y="47760"/>
                      <a:pt x="1880964" y="51638"/>
                      <a:pt x="1873613" y="54832"/>
                    </a:cubicBezTo>
                    <a:cubicBezTo>
                      <a:pt x="1866261" y="58027"/>
                      <a:pt x="1857871" y="60840"/>
                      <a:pt x="1848440" y="63274"/>
                    </a:cubicBezTo>
                    <a:lnTo>
                      <a:pt x="1848440" y="33158"/>
                    </a:lnTo>
                    <a:cubicBezTo>
                      <a:pt x="1854322" y="31232"/>
                      <a:pt x="1860000" y="29203"/>
                      <a:pt x="1865476" y="27074"/>
                    </a:cubicBezTo>
                    <a:cubicBezTo>
                      <a:pt x="1870951" y="24945"/>
                      <a:pt x="1876351" y="22561"/>
                      <a:pt x="1881675" y="19925"/>
                    </a:cubicBezTo>
                    <a:cubicBezTo>
                      <a:pt x="1886999" y="17289"/>
                      <a:pt x="1892372" y="14348"/>
                      <a:pt x="1897797" y="11103"/>
                    </a:cubicBezTo>
                    <a:cubicBezTo>
                      <a:pt x="1903223" y="7859"/>
                      <a:pt x="1908824" y="4157"/>
                      <a:pt x="1914604" y="0"/>
                    </a:cubicBezTo>
                    <a:close/>
                    <a:moveTo>
                      <a:pt x="1770996" y="0"/>
                    </a:moveTo>
                    <a:lnTo>
                      <a:pt x="1785902" y="0"/>
                    </a:lnTo>
                    <a:lnTo>
                      <a:pt x="1785902" y="222980"/>
                    </a:lnTo>
                    <a:lnTo>
                      <a:pt x="1750615" y="222980"/>
                    </a:lnTo>
                    <a:lnTo>
                      <a:pt x="1750615" y="43197"/>
                    </a:lnTo>
                    <a:cubicBezTo>
                      <a:pt x="1744227" y="47760"/>
                      <a:pt x="1737357" y="51638"/>
                      <a:pt x="1730005" y="54832"/>
                    </a:cubicBezTo>
                    <a:cubicBezTo>
                      <a:pt x="1722654" y="58027"/>
                      <a:pt x="1714263" y="60840"/>
                      <a:pt x="1704832" y="63274"/>
                    </a:cubicBezTo>
                    <a:lnTo>
                      <a:pt x="1704832" y="33158"/>
                    </a:lnTo>
                    <a:cubicBezTo>
                      <a:pt x="1710714" y="31232"/>
                      <a:pt x="1716392" y="29203"/>
                      <a:pt x="1721868" y="27074"/>
                    </a:cubicBezTo>
                    <a:cubicBezTo>
                      <a:pt x="1727343" y="24945"/>
                      <a:pt x="1732743" y="22561"/>
                      <a:pt x="1738067" y="19925"/>
                    </a:cubicBezTo>
                    <a:cubicBezTo>
                      <a:pt x="1743390" y="17289"/>
                      <a:pt x="1748764" y="14348"/>
                      <a:pt x="1754189" y="11103"/>
                    </a:cubicBezTo>
                    <a:cubicBezTo>
                      <a:pt x="1759614" y="7859"/>
                      <a:pt x="1765216" y="4157"/>
                      <a:pt x="1770996" y="0"/>
                    </a:cubicBezTo>
                    <a:close/>
                    <a:moveTo>
                      <a:pt x="1423298" y="0"/>
                    </a:moveTo>
                    <a:lnTo>
                      <a:pt x="1438205" y="0"/>
                    </a:lnTo>
                    <a:lnTo>
                      <a:pt x="1438205" y="222980"/>
                    </a:lnTo>
                    <a:lnTo>
                      <a:pt x="1402917" y="222980"/>
                    </a:lnTo>
                    <a:lnTo>
                      <a:pt x="1402917" y="43197"/>
                    </a:lnTo>
                    <a:cubicBezTo>
                      <a:pt x="1396529" y="47760"/>
                      <a:pt x="1389659" y="51638"/>
                      <a:pt x="1382307" y="54832"/>
                    </a:cubicBezTo>
                    <a:cubicBezTo>
                      <a:pt x="1374956" y="58027"/>
                      <a:pt x="1366565" y="60840"/>
                      <a:pt x="1357135" y="63274"/>
                    </a:cubicBezTo>
                    <a:lnTo>
                      <a:pt x="1357135" y="33158"/>
                    </a:lnTo>
                    <a:cubicBezTo>
                      <a:pt x="1363016" y="31232"/>
                      <a:pt x="1368694" y="29203"/>
                      <a:pt x="1374170" y="27074"/>
                    </a:cubicBezTo>
                    <a:cubicBezTo>
                      <a:pt x="1379644" y="24945"/>
                      <a:pt x="1385044" y="22561"/>
                      <a:pt x="1390369" y="19925"/>
                    </a:cubicBezTo>
                    <a:cubicBezTo>
                      <a:pt x="1395692" y="17289"/>
                      <a:pt x="1401066" y="14348"/>
                      <a:pt x="1406491" y="11103"/>
                    </a:cubicBezTo>
                    <a:cubicBezTo>
                      <a:pt x="1411916" y="7859"/>
                      <a:pt x="1417519" y="4157"/>
                      <a:pt x="1423298" y="0"/>
                    </a:cubicBezTo>
                    <a:close/>
                    <a:moveTo>
                      <a:pt x="1125585" y="0"/>
                    </a:moveTo>
                    <a:lnTo>
                      <a:pt x="1140491" y="0"/>
                    </a:lnTo>
                    <a:lnTo>
                      <a:pt x="1140491" y="222980"/>
                    </a:lnTo>
                    <a:lnTo>
                      <a:pt x="1105203" y="222980"/>
                    </a:lnTo>
                    <a:lnTo>
                      <a:pt x="1105203" y="43197"/>
                    </a:lnTo>
                    <a:cubicBezTo>
                      <a:pt x="1098815" y="47760"/>
                      <a:pt x="1091945" y="51638"/>
                      <a:pt x="1084594" y="54832"/>
                    </a:cubicBezTo>
                    <a:cubicBezTo>
                      <a:pt x="1077242" y="58027"/>
                      <a:pt x="1068851" y="60840"/>
                      <a:pt x="1059421" y="63274"/>
                    </a:cubicBezTo>
                    <a:lnTo>
                      <a:pt x="1059421" y="33158"/>
                    </a:lnTo>
                    <a:cubicBezTo>
                      <a:pt x="1065302" y="31232"/>
                      <a:pt x="1070981" y="29203"/>
                      <a:pt x="1076456" y="27074"/>
                    </a:cubicBezTo>
                    <a:cubicBezTo>
                      <a:pt x="1081932" y="24945"/>
                      <a:pt x="1087332" y="22561"/>
                      <a:pt x="1092655" y="19925"/>
                    </a:cubicBezTo>
                    <a:cubicBezTo>
                      <a:pt x="1097979" y="17289"/>
                      <a:pt x="1103353" y="14348"/>
                      <a:pt x="1108778" y="11103"/>
                    </a:cubicBezTo>
                    <a:cubicBezTo>
                      <a:pt x="1114203" y="7859"/>
                      <a:pt x="1119805" y="4157"/>
                      <a:pt x="1125585" y="0"/>
                    </a:cubicBezTo>
                    <a:close/>
                    <a:moveTo>
                      <a:pt x="914466" y="0"/>
                    </a:moveTo>
                    <a:cubicBezTo>
                      <a:pt x="961910" y="0"/>
                      <a:pt x="985633" y="36863"/>
                      <a:pt x="985633" y="110587"/>
                    </a:cubicBezTo>
                    <a:cubicBezTo>
                      <a:pt x="985633" y="147099"/>
                      <a:pt x="978938" y="174959"/>
                      <a:pt x="965547" y="194167"/>
                    </a:cubicBezTo>
                    <a:cubicBezTo>
                      <a:pt x="952156" y="213375"/>
                      <a:pt x="933424" y="222980"/>
                      <a:pt x="909351" y="222980"/>
                    </a:cubicBezTo>
                    <a:cubicBezTo>
                      <a:pt x="886882" y="222980"/>
                      <a:pt x="869354" y="213802"/>
                      <a:pt x="856764" y="195446"/>
                    </a:cubicBezTo>
                    <a:cubicBezTo>
                      <a:pt x="844177" y="177090"/>
                      <a:pt x="837883" y="150559"/>
                      <a:pt x="837883" y="115854"/>
                    </a:cubicBezTo>
                    <a:cubicBezTo>
                      <a:pt x="837883" y="77737"/>
                      <a:pt x="844453" y="48899"/>
                      <a:pt x="857593" y="29339"/>
                    </a:cubicBezTo>
                    <a:cubicBezTo>
                      <a:pt x="870733" y="9780"/>
                      <a:pt x="889691" y="0"/>
                      <a:pt x="914466" y="0"/>
                    </a:cubicBezTo>
                    <a:close/>
                    <a:moveTo>
                      <a:pt x="698190" y="0"/>
                    </a:moveTo>
                    <a:cubicBezTo>
                      <a:pt x="745635" y="0"/>
                      <a:pt x="769357" y="36863"/>
                      <a:pt x="769357" y="110587"/>
                    </a:cubicBezTo>
                    <a:cubicBezTo>
                      <a:pt x="769357" y="147099"/>
                      <a:pt x="762661" y="174959"/>
                      <a:pt x="749270" y="194167"/>
                    </a:cubicBezTo>
                    <a:cubicBezTo>
                      <a:pt x="735880" y="213375"/>
                      <a:pt x="717147" y="222980"/>
                      <a:pt x="693075" y="222980"/>
                    </a:cubicBezTo>
                    <a:cubicBezTo>
                      <a:pt x="670605" y="222980"/>
                      <a:pt x="653078" y="213802"/>
                      <a:pt x="640489" y="195446"/>
                    </a:cubicBezTo>
                    <a:cubicBezTo>
                      <a:pt x="627901" y="177090"/>
                      <a:pt x="621607" y="150559"/>
                      <a:pt x="621607" y="115854"/>
                    </a:cubicBezTo>
                    <a:cubicBezTo>
                      <a:pt x="621607" y="77737"/>
                      <a:pt x="628176" y="48899"/>
                      <a:pt x="641317" y="29339"/>
                    </a:cubicBezTo>
                    <a:cubicBezTo>
                      <a:pt x="654457" y="9780"/>
                      <a:pt x="673415" y="0"/>
                      <a:pt x="698190" y="0"/>
                    </a:cubicBezTo>
                    <a:close/>
                    <a:moveTo>
                      <a:pt x="550057" y="0"/>
                    </a:moveTo>
                    <a:lnTo>
                      <a:pt x="564964" y="0"/>
                    </a:lnTo>
                    <a:lnTo>
                      <a:pt x="564964" y="222980"/>
                    </a:lnTo>
                    <a:lnTo>
                      <a:pt x="529676" y="222980"/>
                    </a:lnTo>
                    <a:lnTo>
                      <a:pt x="529676" y="43197"/>
                    </a:lnTo>
                    <a:cubicBezTo>
                      <a:pt x="523288" y="47760"/>
                      <a:pt x="516418" y="51638"/>
                      <a:pt x="509066" y="54832"/>
                    </a:cubicBezTo>
                    <a:cubicBezTo>
                      <a:pt x="501715" y="58027"/>
                      <a:pt x="493323" y="60840"/>
                      <a:pt x="483894" y="63274"/>
                    </a:cubicBezTo>
                    <a:lnTo>
                      <a:pt x="483894" y="33158"/>
                    </a:lnTo>
                    <a:cubicBezTo>
                      <a:pt x="489775" y="31232"/>
                      <a:pt x="495454" y="29203"/>
                      <a:pt x="500929" y="27074"/>
                    </a:cubicBezTo>
                    <a:cubicBezTo>
                      <a:pt x="506405" y="24945"/>
                      <a:pt x="511804" y="22561"/>
                      <a:pt x="517128" y="19925"/>
                    </a:cubicBezTo>
                    <a:cubicBezTo>
                      <a:pt x="522451" y="17289"/>
                      <a:pt x="527826" y="14348"/>
                      <a:pt x="533250" y="11103"/>
                    </a:cubicBezTo>
                    <a:cubicBezTo>
                      <a:pt x="538675" y="7859"/>
                      <a:pt x="544278" y="4157"/>
                      <a:pt x="550057" y="0"/>
                    </a:cubicBezTo>
                    <a:close/>
                    <a:moveTo>
                      <a:pt x="252344" y="0"/>
                    </a:moveTo>
                    <a:lnTo>
                      <a:pt x="267249" y="0"/>
                    </a:lnTo>
                    <a:lnTo>
                      <a:pt x="267249" y="222980"/>
                    </a:lnTo>
                    <a:lnTo>
                      <a:pt x="231962" y="222980"/>
                    </a:lnTo>
                    <a:lnTo>
                      <a:pt x="231962" y="43197"/>
                    </a:lnTo>
                    <a:cubicBezTo>
                      <a:pt x="225574" y="47760"/>
                      <a:pt x="218704" y="51638"/>
                      <a:pt x="211353" y="54832"/>
                    </a:cubicBezTo>
                    <a:cubicBezTo>
                      <a:pt x="204001" y="58027"/>
                      <a:pt x="195611" y="60840"/>
                      <a:pt x="186180" y="63274"/>
                    </a:cubicBezTo>
                    <a:lnTo>
                      <a:pt x="186180" y="33158"/>
                    </a:lnTo>
                    <a:cubicBezTo>
                      <a:pt x="192061" y="31232"/>
                      <a:pt x="197740" y="29203"/>
                      <a:pt x="203214" y="27074"/>
                    </a:cubicBezTo>
                    <a:cubicBezTo>
                      <a:pt x="208691" y="24945"/>
                      <a:pt x="214091" y="22561"/>
                      <a:pt x="219413" y="19925"/>
                    </a:cubicBezTo>
                    <a:cubicBezTo>
                      <a:pt x="224738" y="17289"/>
                      <a:pt x="230111" y="14348"/>
                      <a:pt x="235537" y="11103"/>
                    </a:cubicBezTo>
                    <a:cubicBezTo>
                      <a:pt x="240962" y="7859"/>
                      <a:pt x="246564" y="4157"/>
                      <a:pt x="252344" y="0"/>
                    </a:cubicBezTo>
                    <a:close/>
                    <a:moveTo>
                      <a:pt x="76583" y="0"/>
                    </a:moveTo>
                    <a:cubicBezTo>
                      <a:pt x="124028" y="0"/>
                      <a:pt x="147751" y="36863"/>
                      <a:pt x="147751" y="110587"/>
                    </a:cubicBezTo>
                    <a:cubicBezTo>
                      <a:pt x="147751" y="147099"/>
                      <a:pt x="141055"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9" name="Freeform 408"/>
              <p:cNvSpPr/>
              <p:nvPr/>
            </p:nvSpPr>
            <p:spPr>
              <a:xfrm>
                <a:off x="2493569" y="398324"/>
                <a:ext cx="8739616" cy="222980"/>
              </a:xfrm>
              <a:custGeom>
                <a:avLst/>
                <a:gdLst>
                  <a:gd name="connsiteX0" fmla="*/ 8660987 w 8739617"/>
                  <a:gd name="connsiteY0" fmla="*/ 0 h 222980"/>
                  <a:gd name="connsiteX1" fmla="*/ 8715673 w 8739617"/>
                  <a:gd name="connsiteY1" fmla="*/ 39021 h 222980"/>
                  <a:gd name="connsiteX2" fmla="*/ 8715673 w 8739617"/>
                  <a:gd name="connsiteY2" fmla="*/ 75382 h 222980"/>
                  <a:gd name="connsiteX3" fmla="*/ 8739617 w 8739617"/>
                  <a:gd name="connsiteY3" fmla="*/ 102242 h 222980"/>
                  <a:gd name="connsiteX4" fmla="*/ 8739617 w 8739617"/>
                  <a:gd name="connsiteY4" fmla="*/ 120738 h 222980"/>
                  <a:gd name="connsiteX5" fmla="*/ 8715673 w 8739617"/>
                  <a:gd name="connsiteY5" fmla="*/ 147091 h 222980"/>
                  <a:gd name="connsiteX6" fmla="*/ 8715673 w 8739617"/>
                  <a:gd name="connsiteY6" fmla="*/ 184466 h 222980"/>
                  <a:gd name="connsiteX7" fmla="*/ 8660987 w 8739617"/>
                  <a:gd name="connsiteY7" fmla="*/ 222980 h 222980"/>
                  <a:gd name="connsiteX8" fmla="*/ 8660987 w 8739617"/>
                  <a:gd name="connsiteY8" fmla="*/ 203469 h 222980"/>
                  <a:gd name="connsiteX9" fmla="*/ 8680065 w 8739617"/>
                  <a:gd name="connsiteY9" fmla="*/ 197388 h 222980"/>
                  <a:gd name="connsiteX10" fmla="*/ 8685704 w 8739617"/>
                  <a:gd name="connsiteY10" fmla="*/ 178131 h 222980"/>
                  <a:gd name="connsiteX11" fmla="*/ 8685704 w 8739617"/>
                  <a:gd name="connsiteY11" fmla="*/ 142783 h 222980"/>
                  <a:gd name="connsiteX12" fmla="*/ 8716136 w 8739617"/>
                  <a:gd name="connsiteY12" fmla="*/ 111490 h 222980"/>
                  <a:gd name="connsiteX13" fmla="*/ 8716136 w 8739617"/>
                  <a:gd name="connsiteY13" fmla="*/ 111110 h 222980"/>
                  <a:gd name="connsiteX14" fmla="*/ 8685704 w 8739617"/>
                  <a:gd name="connsiteY14" fmla="*/ 79563 h 222980"/>
                  <a:gd name="connsiteX15" fmla="*/ 8685704 w 8739617"/>
                  <a:gd name="connsiteY15" fmla="*/ 43836 h 222980"/>
                  <a:gd name="connsiteX16" fmla="*/ 8660987 w 8739617"/>
                  <a:gd name="connsiteY16" fmla="*/ 19638 h 222980"/>
                  <a:gd name="connsiteX17" fmla="*/ 8639668 w 8739617"/>
                  <a:gd name="connsiteY17" fmla="*/ 0 h 222980"/>
                  <a:gd name="connsiteX18" fmla="*/ 8639668 w 8739617"/>
                  <a:gd name="connsiteY18" fmla="*/ 19638 h 222980"/>
                  <a:gd name="connsiteX19" fmla="*/ 8615106 w 8739617"/>
                  <a:gd name="connsiteY19" fmla="*/ 43836 h 222980"/>
                  <a:gd name="connsiteX20" fmla="*/ 8615106 w 8739617"/>
                  <a:gd name="connsiteY20" fmla="*/ 79563 h 222980"/>
                  <a:gd name="connsiteX21" fmla="*/ 8584365 w 8739617"/>
                  <a:gd name="connsiteY21" fmla="*/ 111110 h 222980"/>
                  <a:gd name="connsiteX22" fmla="*/ 8584365 w 8739617"/>
                  <a:gd name="connsiteY22" fmla="*/ 111490 h 222980"/>
                  <a:gd name="connsiteX23" fmla="*/ 8615106 w 8739617"/>
                  <a:gd name="connsiteY23" fmla="*/ 142783 h 222980"/>
                  <a:gd name="connsiteX24" fmla="*/ 8615106 w 8739617"/>
                  <a:gd name="connsiteY24" fmla="*/ 178131 h 222980"/>
                  <a:gd name="connsiteX25" fmla="*/ 8620590 w 8739617"/>
                  <a:gd name="connsiteY25" fmla="*/ 197451 h 222980"/>
                  <a:gd name="connsiteX26" fmla="*/ 8639668 w 8739617"/>
                  <a:gd name="connsiteY26" fmla="*/ 203469 h 222980"/>
                  <a:gd name="connsiteX27" fmla="*/ 8639668 w 8739617"/>
                  <a:gd name="connsiteY27" fmla="*/ 222980 h 222980"/>
                  <a:gd name="connsiteX28" fmla="*/ 8584674 w 8739617"/>
                  <a:gd name="connsiteY28" fmla="*/ 184466 h 222980"/>
                  <a:gd name="connsiteX29" fmla="*/ 8584674 w 8739617"/>
                  <a:gd name="connsiteY29" fmla="*/ 147091 h 222980"/>
                  <a:gd name="connsiteX30" fmla="*/ 8560575 w 8739617"/>
                  <a:gd name="connsiteY30" fmla="*/ 120738 h 222980"/>
                  <a:gd name="connsiteX31" fmla="*/ 8560575 w 8739617"/>
                  <a:gd name="connsiteY31" fmla="*/ 102242 h 222980"/>
                  <a:gd name="connsiteX32" fmla="*/ 8584674 w 8739617"/>
                  <a:gd name="connsiteY32" fmla="*/ 75382 h 222980"/>
                  <a:gd name="connsiteX33" fmla="*/ 8584674 w 8739617"/>
                  <a:gd name="connsiteY33" fmla="*/ 39021 h 222980"/>
                  <a:gd name="connsiteX34" fmla="*/ 8639668 w 8739617"/>
                  <a:gd name="connsiteY34" fmla="*/ 0 h 222980"/>
                  <a:gd name="connsiteX35" fmla="*/ 6155081 w 8739617"/>
                  <a:gd name="connsiteY35" fmla="*/ 0 h 222980"/>
                  <a:gd name="connsiteX36" fmla="*/ 6209767 w 8739617"/>
                  <a:gd name="connsiteY36" fmla="*/ 39021 h 222980"/>
                  <a:gd name="connsiteX37" fmla="*/ 6209767 w 8739617"/>
                  <a:gd name="connsiteY37" fmla="*/ 75382 h 222980"/>
                  <a:gd name="connsiteX38" fmla="*/ 6233711 w 8739617"/>
                  <a:gd name="connsiteY38" fmla="*/ 102242 h 222980"/>
                  <a:gd name="connsiteX39" fmla="*/ 6233711 w 8739617"/>
                  <a:gd name="connsiteY39" fmla="*/ 120738 h 222980"/>
                  <a:gd name="connsiteX40" fmla="*/ 6209767 w 8739617"/>
                  <a:gd name="connsiteY40" fmla="*/ 147091 h 222980"/>
                  <a:gd name="connsiteX41" fmla="*/ 6209767 w 8739617"/>
                  <a:gd name="connsiteY41" fmla="*/ 184466 h 222980"/>
                  <a:gd name="connsiteX42" fmla="*/ 6155081 w 8739617"/>
                  <a:gd name="connsiteY42" fmla="*/ 222980 h 222980"/>
                  <a:gd name="connsiteX43" fmla="*/ 6155081 w 8739617"/>
                  <a:gd name="connsiteY43" fmla="*/ 203469 h 222980"/>
                  <a:gd name="connsiteX44" fmla="*/ 6174159 w 8739617"/>
                  <a:gd name="connsiteY44" fmla="*/ 197388 h 222980"/>
                  <a:gd name="connsiteX45" fmla="*/ 6179798 w 8739617"/>
                  <a:gd name="connsiteY45" fmla="*/ 178131 h 222980"/>
                  <a:gd name="connsiteX46" fmla="*/ 6179798 w 8739617"/>
                  <a:gd name="connsiteY46" fmla="*/ 142783 h 222980"/>
                  <a:gd name="connsiteX47" fmla="*/ 6210230 w 8739617"/>
                  <a:gd name="connsiteY47" fmla="*/ 111490 h 222980"/>
                  <a:gd name="connsiteX48" fmla="*/ 6210230 w 8739617"/>
                  <a:gd name="connsiteY48" fmla="*/ 111110 h 222980"/>
                  <a:gd name="connsiteX49" fmla="*/ 6179798 w 8739617"/>
                  <a:gd name="connsiteY49" fmla="*/ 79563 h 222980"/>
                  <a:gd name="connsiteX50" fmla="*/ 6179798 w 8739617"/>
                  <a:gd name="connsiteY50" fmla="*/ 43836 h 222980"/>
                  <a:gd name="connsiteX51" fmla="*/ 6155081 w 8739617"/>
                  <a:gd name="connsiteY51" fmla="*/ 19638 h 222980"/>
                  <a:gd name="connsiteX52" fmla="*/ 6133762 w 8739617"/>
                  <a:gd name="connsiteY52" fmla="*/ 0 h 222980"/>
                  <a:gd name="connsiteX53" fmla="*/ 6133762 w 8739617"/>
                  <a:gd name="connsiteY53" fmla="*/ 19638 h 222980"/>
                  <a:gd name="connsiteX54" fmla="*/ 6109200 w 8739617"/>
                  <a:gd name="connsiteY54" fmla="*/ 43836 h 222980"/>
                  <a:gd name="connsiteX55" fmla="*/ 6109200 w 8739617"/>
                  <a:gd name="connsiteY55" fmla="*/ 79563 h 222980"/>
                  <a:gd name="connsiteX56" fmla="*/ 6078459 w 8739617"/>
                  <a:gd name="connsiteY56" fmla="*/ 111110 h 222980"/>
                  <a:gd name="connsiteX57" fmla="*/ 6078459 w 8739617"/>
                  <a:gd name="connsiteY57" fmla="*/ 111490 h 222980"/>
                  <a:gd name="connsiteX58" fmla="*/ 6109200 w 8739617"/>
                  <a:gd name="connsiteY58" fmla="*/ 142783 h 222980"/>
                  <a:gd name="connsiteX59" fmla="*/ 6109200 w 8739617"/>
                  <a:gd name="connsiteY59" fmla="*/ 178131 h 222980"/>
                  <a:gd name="connsiteX60" fmla="*/ 6114684 w 8739617"/>
                  <a:gd name="connsiteY60" fmla="*/ 197451 h 222980"/>
                  <a:gd name="connsiteX61" fmla="*/ 6133762 w 8739617"/>
                  <a:gd name="connsiteY61" fmla="*/ 203469 h 222980"/>
                  <a:gd name="connsiteX62" fmla="*/ 6133762 w 8739617"/>
                  <a:gd name="connsiteY62" fmla="*/ 222980 h 222980"/>
                  <a:gd name="connsiteX63" fmla="*/ 6078768 w 8739617"/>
                  <a:gd name="connsiteY63" fmla="*/ 184466 h 222980"/>
                  <a:gd name="connsiteX64" fmla="*/ 6078768 w 8739617"/>
                  <a:gd name="connsiteY64" fmla="*/ 147091 h 222980"/>
                  <a:gd name="connsiteX65" fmla="*/ 6054669 w 8739617"/>
                  <a:gd name="connsiteY65" fmla="*/ 120738 h 222980"/>
                  <a:gd name="connsiteX66" fmla="*/ 6054669 w 8739617"/>
                  <a:gd name="connsiteY66" fmla="*/ 102242 h 222980"/>
                  <a:gd name="connsiteX67" fmla="*/ 6078768 w 8739617"/>
                  <a:gd name="connsiteY67" fmla="*/ 75382 h 222980"/>
                  <a:gd name="connsiteX68" fmla="*/ 6078768 w 8739617"/>
                  <a:gd name="connsiteY68" fmla="*/ 39021 h 222980"/>
                  <a:gd name="connsiteX69" fmla="*/ 6133762 w 8739617"/>
                  <a:gd name="connsiteY69" fmla="*/ 0 h 222980"/>
                  <a:gd name="connsiteX70" fmla="*/ 2605015 w 8739617"/>
                  <a:gd name="connsiteY70" fmla="*/ 0 h 222980"/>
                  <a:gd name="connsiteX71" fmla="*/ 2659700 w 8739617"/>
                  <a:gd name="connsiteY71" fmla="*/ 39021 h 222980"/>
                  <a:gd name="connsiteX72" fmla="*/ 2659700 w 8739617"/>
                  <a:gd name="connsiteY72" fmla="*/ 75382 h 222980"/>
                  <a:gd name="connsiteX73" fmla="*/ 2683645 w 8739617"/>
                  <a:gd name="connsiteY73" fmla="*/ 102242 h 222980"/>
                  <a:gd name="connsiteX74" fmla="*/ 2683645 w 8739617"/>
                  <a:gd name="connsiteY74" fmla="*/ 120738 h 222980"/>
                  <a:gd name="connsiteX75" fmla="*/ 2659700 w 8739617"/>
                  <a:gd name="connsiteY75" fmla="*/ 147091 h 222980"/>
                  <a:gd name="connsiteX76" fmla="*/ 2659700 w 8739617"/>
                  <a:gd name="connsiteY76" fmla="*/ 184466 h 222980"/>
                  <a:gd name="connsiteX77" fmla="*/ 2605015 w 8739617"/>
                  <a:gd name="connsiteY77" fmla="*/ 222980 h 222980"/>
                  <a:gd name="connsiteX78" fmla="*/ 2605015 w 8739617"/>
                  <a:gd name="connsiteY78" fmla="*/ 203469 h 222980"/>
                  <a:gd name="connsiteX79" fmla="*/ 2624093 w 8739617"/>
                  <a:gd name="connsiteY79" fmla="*/ 197388 h 222980"/>
                  <a:gd name="connsiteX80" fmla="*/ 2629732 w 8739617"/>
                  <a:gd name="connsiteY80" fmla="*/ 178131 h 222980"/>
                  <a:gd name="connsiteX81" fmla="*/ 2629732 w 8739617"/>
                  <a:gd name="connsiteY81" fmla="*/ 142783 h 222980"/>
                  <a:gd name="connsiteX82" fmla="*/ 2660164 w 8739617"/>
                  <a:gd name="connsiteY82" fmla="*/ 111490 h 222980"/>
                  <a:gd name="connsiteX83" fmla="*/ 2660164 w 8739617"/>
                  <a:gd name="connsiteY83" fmla="*/ 111110 h 222980"/>
                  <a:gd name="connsiteX84" fmla="*/ 2629732 w 8739617"/>
                  <a:gd name="connsiteY84" fmla="*/ 79563 h 222980"/>
                  <a:gd name="connsiteX85" fmla="*/ 2629732 w 8739617"/>
                  <a:gd name="connsiteY85" fmla="*/ 43836 h 222980"/>
                  <a:gd name="connsiteX86" fmla="*/ 2605015 w 8739617"/>
                  <a:gd name="connsiteY86" fmla="*/ 19638 h 222980"/>
                  <a:gd name="connsiteX87" fmla="*/ 2583696 w 8739617"/>
                  <a:gd name="connsiteY87" fmla="*/ 0 h 222980"/>
                  <a:gd name="connsiteX88" fmla="*/ 2583696 w 8739617"/>
                  <a:gd name="connsiteY88" fmla="*/ 19638 h 222980"/>
                  <a:gd name="connsiteX89" fmla="*/ 2559134 w 8739617"/>
                  <a:gd name="connsiteY89" fmla="*/ 43836 h 222980"/>
                  <a:gd name="connsiteX90" fmla="*/ 2559134 w 8739617"/>
                  <a:gd name="connsiteY90" fmla="*/ 79563 h 222980"/>
                  <a:gd name="connsiteX91" fmla="*/ 2528392 w 8739617"/>
                  <a:gd name="connsiteY91" fmla="*/ 111110 h 222980"/>
                  <a:gd name="connsiteX92" fmla="*/ 2528392 w 8739617"/>
                  <a:gd name="connsiteY92" fmla="*/ 111490 h 222980"/>
                  <a:gd name="connsiteX93" fmla="*/ 2559134 w 8739617"/>
                  <a:gd name="connsiteY93" fmla="*/ 142783 h 222980"/>
                  <a:gd name="connsiteX94" fmla="*/ 2559134 w 8739617"/>
                  <a:gd name="connsiteY94" fmla="*/ 178131 h 222980"/>
                  <a:gd name="connsiteX95" fmla="*/ 2564618 w 8739617"/>
                  <a:gd name="connsiteY95" fmla="*/ 197451 h 222980"/>
                  <a:gd name="connsiteX96" fmla="*/ 2583696 w 8739617"/>
                  <a:gd name="connsiteY96" fmla="*/ 203469 h 222980"/>
                  <a:gd name="connsiteX97" fmla="*/ 2583696 w 8739617"/>
                  <a:gd name="connsiteY97" fmla="*/ 222980 h 222980"/>
                  <a:gd name="connsiteX98" fmla="*/ 2528702 w 8739617"/>
                  <a:gd name="connsiteY98" fmla="*/ 184466 h 222980"/>
                  <a:gd name="connsiteX99" fmla="*/ 2528702 w 8739617"/>
                  <a:gd name="connsiteY99" fmla="*/ 147091 h 222980"/>
                  <a:gd name="connsiteX100" fmla="*/ 2504603 w 8739617"/>
                  <a:gd name="connsiteY100" fmla="*/ 120738 h 222980"/>
                  <a:gd name="connsiteX101" fmla="*/ 2504603 w 8739617"/>
                  <a:gd name="connsiteY101" fmla="*/ 102242 h 222980"/>
                  <a:gd name="connsiteX102" fmla="*/ 2528702 w 8739617"/>
                  <a:gd name="connsiteY102" fmla="*/ 75382 h 222980"/>
                  <a:gd name="connsiteX103" fmla="*/ 2528702 w 8739617"/>
                  <a:gd name="connsiteY103" fmla="*/ 39021 h 222980"/>
                  <a:gd name="connsiteX104" fmla="*/ 2583696 w 8739617"/>
                  <a:gd name="connsiteY104" fmla="*/ 0 h 222980"/>
                  <a:gd name="connsiteX105" fmla="*/ 100412 w 8739617"/>
                  <a:gd name="connsiteY105" fmla="*/ 0 h 222980"/>
                  <a:gd name="connsiteX106" fmla="*/ 155098 w 8739617"/>
                  <a:gd name="connsiteY106" fmla="*/ 39021 h 222980"/>
                  <a:gd name="connsiteX107" fmla="*/ 155098 w 8739617"/>
                  <a:gd name="connsiteY107" fmla="*/ 75382 h 222980"/>
                  <a:gd name="connsiteX108" fmla="*/ 179042 w 8739617"/>
                  <a:gd name="connsiteY108" fmla="*/ 102242 h 222980"/>
                  <a:gd name="connsiteX109" fmla="*/ 179042 w 8739617"/>
                  <a:gd name="connsiteY109" fmla="*/ 120738 h 222980"/>
                  <a:gd name="connsiteX110" fmla="*/ 155098 w 8739617"/>
                  <a:gd name="connsiteY110" fmla="*/ 147091 h 222980"/>
                  <a:gd name="connsiteX111" fmla="*/ 155098 w 8739617"/>
                  <a:gd name="connsiteY111" fmla="*/ 184466 h 222980"/>
                  <a:gd name="connsiteX112" fmla="*/ 100412 w 8739617"/>
                  <a:gd name="connsiteY112" fmla="*/ 222980 h 222980"/>
                  <a:gd name="connsiteX113" fmla="*/ 100412 w 8739617"/>
                  <a:gd name="connsiteY113" fmla="*/ 203469 h 222980"/>
                  <a:gd name="connsiteX114" fmla="*/ 119490 w 8739617"/>
                  <a:gd name="connsiteY114" fmla="*/ 197388 h 222980"/>
                  <a:gd name="connsiteX115" fmla="*/ 125129 w 8739617"/>
                  <a:gd name="connsiteY115" fmla="*/ 178131 h 222980"/>
                  <a:gd name="connsiteX116" fmla="*/ 125129 w 8739617"/>
                  <a:gd name="connsiteY116" fmla="*/ 142783 h 222980"/>
                  <a:gd name="connsiteX117" fmla="*/ 155561 w 8739617"/>
                  <a:gd name="connsiteY117" fmla="*/ 111490 h 222980"/>
                  <a:gd name="connsiteX118" fmla="*/ 155561 w 8739617"/>
                  <a:gd name="connsiteY118" fmla="*/ 111110 h 222980"/>
                  <a:gd name="connsiteX119" fmla="*/ 125129 w 8739617"/>
                  <a:gd name="connsiteY119" fmla="*/ 79563 h 222980"/>
                  <a:gd name="connsiteX120" fmla="*/ 125129 w 8739617"/>
                  <a:gd name="connsiteY120" fmla="*/ 43836 h 222980"/>
                  <a:gd name="connsiteX121" fmla="*/ 100412 w 8739617"/>
                  <a:gd name="connsiteY121" fmla="*/ 19638 h 222980"/>
                  <a:gd name="connsiteX122" fmla="*/ 79093 w 8739617"/>
                  <a:gd name="connsiteY122" fmla="*/ 0 h 222980"/>
                  <a:gd name="connsiteX123" fmla="*/ 79093 w 8739617"/>
                  <a:gd name="connsiteY123" fmla="*/ 19638 h 222980"/>
                  <a:gd name="connsiteX124" fmla="*/ 54531 w 8739617"/>
                  <a:gd name="connsiteY124" fmla="*/ 43836 h 222980"/>
                  <a:gd name="connsiteX125" fmla="*/ 54531 w 8739617"/>
                  <a:gd name="connsiteY125" fmla="*/ 79563 h 222980"/>
                  <a:gd name="connsiteX126" fmla="*/ 23790 w 8739617"/>
                  <a:gd name="connsiteY126" fmla="*/ 111110 h 222980"/>
                  <a:gd name="connsiteX127" fmla="*/ 23790 w 8739617"/>
                  <a:gd name="connsiteY127" fmla="*/ 111490 h 222980"/>
                  <a:gd name="connsiteX128" fmla="*/ 54531 w 8739617"/>
                  <a:gd name="connsiteY128" fmla="*/ 142783 h 222980"/>
                  <a:gd name="connsiteX129" fmla="*/ 54531 w 8739617"/>
                  <a:gd name="connsiteY129" fmla="*/ 178131 h 222980"/>
                  <a:gd name="connsiteX130" fmla="*/ 60016 w 8739617"/>
                  <a:gd name="connsiteY130" fmla="*/ 197451 h 222980"/>
                  <a:gd name="connsiteX131" fmla="*/ 79093 w 8739617"/>
                  <a:gd name="connsiteY131" fmla="*/ 203469 h 222980"/>
                  <a:gd name="connsiteX132" fmla="*/ 79093 w 8739617"/>
                  <a:gd name="connsiteY132" fmla="*/ 222980 h 222980"/>
                  <a:gd name="connsiteX133" fmla="*/ 24099 w 8739617"/>
                  <a:gd name="connsiteY133" fmla="*/ 184466 h 222980"/>
                  <a:gd name="connsiteX134" fmla="*/ 24099 w 8739617"/>
                  <a:gd name="connsiteY134" fmla="*/ 147091 h 222980"/>
                  <a:gd name="connsiteX135" fmla="*/ 0 w 8739617"/>
                  <a:gd name="connsiteY135" fmla="*/ 120738 h 222980"/>
                  <a:gd name="connsiteX136" fmla="*/ 0 w 8739617"/>
                  <a:gd name="connsiteY136" fmla="*/ 102242 h 222980"/>
                  <a:gd name="connsiteX137" fmla="*/ 24099 w 8739617"/>
                  <a:gd name="connsiteY137" fmla="*/ 75382 h 222980"/>
                  <a:gd name="connsiteX138" fmla="*/ 24099 w 8739617"/>
                  <a:gd name="connsiteY138" fmla="*/ 39021 h 222980"/>
                  <a:gd name="connsiteX139" fmla="*/ 79093 w 8739617"/>
                  <a:gd name="connsiteY13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8739617" h="222980">
                    <a:moveTo>
                      <a:pt x="8660987" y="0"/>
                    </a:moveTo>
                    <a:cubicBezTo>
                      <a:pt x="8697444" y="338"/>
                      <a:pt x="8715673" y="13345"/>
                      <a:pt x="8715673" y="39021"/>
                    </a:cubicBezTo>
                    <a:lnTo>
                      <a:pt x="8715673" y="75382"/>
                    </a:lnTo>
                    <a:cubicBezTo>
                      <a:pt x="8715673" y="92444"/>
                      <a:pt x="8723654" y="101397"/>
                      <a:pt x="8739617" y="102242"/>
                    </a:cubicBezTo>
                    <a:lnTo>
                      <a:pt x="8739617" y="120738"/>
                    </a:lnTo>
                    <a:cubicBezTo>
                      <a:pt x="8723654" y="121583"/>
                      <a:pt x="8715673" y="130367"/>
                      <a:pt x="8715673" y="147091"/>
                    </a:cubicBezTo>
                    <a:lnTo>
                      <a:pt x="8715673" y="184466"/>
                    </a:lnTo>
                    <a:cubicBezTo>
                      <a:pt x="8715673" y="209804"/>
                      <a:pt x="8697444" y="222642"/>
                      <a:pt x="8660987" y="222980"/>
                    </a:cubicBezTo>
                    <a:lnTo>
                      <a:pt x="8660987" y="203469"/>
                    </a:lnTo>
                    <a:cubicBezTo>
                      <a:pt x="8669947" y="203300"/>
                      <a:pt x="8676306" y="201273"/>
                      <a:pt x="8680065" y="197388"/>
                    </a:cubicBezTo>
                    <a:cubicBezTo>
                      <a:pt x="8683824" y="193503"/>
                      <a:pt x="8685704" y="187084"/>
                      <a:pt x="8685704" y="178131"/>
                    </a:cubicBezTo>
                    <a:lnTo>
                      <a:pt x="8685704" y="142783"/>
                    </a:lnTo>
                    <a:cubicBezTo>
                      <a:pt x="8685704" y="125638"/>
                      <a:pt x="8695848" y="115206"/>
                      <a:pt x="8716136" y="111490"/>
                    </a:cubicBezTo>
                    <a:lnTo>
                      <a:pt x="8716136" y="111110"/>
                    </a:lnTo>
                    <a:cubicBezTo>
                      <a:pt x="8695848" y="107140"/>
                      <a:pt x="8685704" y="96625"/>
                      <a:pt x="8685704" y="79563"/>
                    </a:cubicBezTo>
                    <a:lnTo>
                      <a:pt x="8685704" y="43836"/>
                    </a:lnTo>
                    <a:cubicBezTo>
                      <a:pt x="8685704" y="28041"/>
                      <a:pt x="8677465" y="19975"/>
                      <a:pt x="8660987" y="19638"/>
                    </a:cubicBezTo>
                    <a:close/>
                    <a:moveTo>
                      <a:pt x="8639668" y="0"/>
                    </a:moveTo>
                    <a:lnTo>
                      <a:pt x="8639668" y="19638"/>
                    </a:lnTo>
                    <a:cubicBezTo>
                      <a:pt x="8623294" y="19975"/>
                      <a:pt x="8615106" y="28041"/>
                      <a:pt x="8615106" y="43836"/>
                    </a:cubicBezTo>
                    <a:lnTo>
                      <a:pt x="8615106" y="79563"/>
                    </a:lnTo>
                    <a:cubicBezTo>
                      <a:pt x="8615106" y="96625"/>
                      <a:pt x="8604859" y="107140"/>
                      <a:pt x="8584365" y="111110"/>
                    </a:cubicBezTo>
                    <a:lnTo>
                      <a:pt x="8584365" y="111490"/>
                    </a:lnTo>
                    <a:cubicBezTo>
                      <a:pt x="8604859" y="115206"/>
                      <a:pt x="8615106" y="125638"/>
                      <a:pt x="8615106" y="142783"/>
                    </a:cubicBezTo>
                    <a:lnTo>
                      <a:pt x="8615106" y="178131"/>
                    </a:lnTo>
                    <a:cubicBezTo>
                      <a:pt x="8615106" y="187168"/>
                      <a:pt x="8616934" y="193608"/>
                      <a:pt x="8620590" y="197451"/>
                    </a:cubicBezTo>
                    <a:cubicBezTo>
                      <a:pt x="8624246" y="201294"/>
                      <a:pt x="8630606" y="203300"/>
                      <a:pt x="8639668" y="203469"/>
                    </a:cubicBezTo>
                    <a:lnTo>
                      <a:pt x="8639668" y="222980"/>
                    </a:lnTo>
                    <a:cubicBezTo>
                      <a:pt x="8603005" y="222642"/>
                      <a:pt x="8584674" y="209804"/>
                      <a:pt x="8584674" y="184466"/>
                    </a:cubicBezTo>
                    <a:lnTo>
                      <a:pt x="8584674" y="147091"/>
                    </a:lnTo>
                    <a:cubicBezTo>
                      <a:pt x="8584674" y="130367"/>
                      <a:pt x="8576641" y="121583"/>
                      <a:pt x="8560575" y="120738"/>
                    </a:cubicBezTo>
                    <a:lnTo>
                      <a:pt x="8560575" y="102242"/>
                    </a:lnTo>
                    <a:cubicBezTo>
                      <a:pt x="8576641" y="101397"/>
                      <a:pt x="8584674" y="92444"/>
                      <a:pt x="8584674" y="75382"/>
                    </a:cubicBezTo>
                    <a:lnTo>
                      <a:pt x="8584674" y="39021"/>
                    </a:lnTo>
                    <a:cubicBezTo>
                      <a:pt x="8584674" y="13345"/>
                      <a:pt x="8603005" y="338"/>
                      <a:pt x="8639668" y="0"/>
                    </a:cubicBezTo>
                    <a:close/>
                    <a:moveTo>
                      <a:pt x="6155081" y="0"/>
                    </a:moveTo>
                    <a:cubicBezTo>
                      <a:pt x="6191538" y="338"/>
                      <a:pt x="6209767" y="13345"/>
                      <a:pt x="6209767" y="39021"/>
                    </a:cubicBezTo>
                    <a:lnTo>
                      <a:pt x="6209767" y="75382"/>
                    </a:lnTo>
                    <a:cubicBezTo>
                      <a:pt x="6209767" y="92444"/>
                      <a:pt x="6217748" y="101397"/>
                      <a:pt x="6233711" y="102242"/>
                    </a:cubicBezTo>
                    <a:lnTo>
                      <a:pt x="6233711" y="120738"/>
                    </a:lnTo>
                    <a:cubicBezTo>
                      <a:pt x="6217748" y="121583"/>
                      <a:pt x="6209767" y="130367"/>
                      <a:pt x="6209767" y="147091"/>
                    </a:cubicBezTo>
                    <a:lnTo>
                      <a:pt x="6209767" y="184466"/>
                    </a:lnTo>
                    <a:cubicBezTo>
                      <a:pt x="6209767" y="209804"/>
                      <a:pt x="6191538" y="222642"/>
                      <a:pt x="6155081" y="222980"/>
                    </a:cubicBezTo>
                    <a:lnTo>
                      <a:pt x="6155081" y="203469"/>
                    </a:lnTo>
                    <a:cubicBezTo>
                      <a:pt x="6164041" y="203300"/>
                      <a:pt x="6170400" y="201273"/>
                      <a:pt x="6174159" y="197388"/>
                    </a:cubicBezTo>
                    <a:cubicBezTo>
                      <a:pt x="6177918" y="193503"/>
                      <a:pt x="6179798" y="187084"/>
                      <a:pt x="6179798" y="178131"/>
                    </a:cubicBezTo>
                    <a:lnTo>
                      <a:pt x="6179798" y="142783"/>
                    </a:lnTo>
                    <a:cubicBezTo>
                      <a:pt x="6179798" y="125638"/>
                      <a:pt x="6189942" y="115206"/>
                      <a:pt x="6210230" y="111490"/>
                    </a:cubicBezTo>
                    <a:lnTo>
                      <a:pt x="6210230" y="111110"/>
                    </a:lnTo>
                    <a:cubicBezTo>
                      <a:pt x="6189942" y="107140"/>
                      <a:pt x="6179798" y="96625"/>
                      <a:pt x="6179798" y="79563"/>
                    </a:cubicBezTo>
                    <a:lnTo>
                      <a:pt x="6179798" y="43836"/>
                    </a:lnTo>
                    <a:cubicBezTo>
                      <a:pt x="6179798" y="28041"/>
                      <a:pt x="6171559" y="19975"/>
                      <a:pt x="6155081" y="19638"/>
                    </a:cubicBezTo>
                    <a:close/>
                    <a:moveTo>
                      <a:pt x="6133762" y="0"/>
                    </a:moveTo>
                    <a:lnTo>
                      <a:pt x="6133762" y="19638"/>
                    </a:lnTo>
                    <a:cubicBezTo>
                      <a:pt x="6117388" y="19975"/>
                      <a:pt x="6109200" y="28041"/>
                      <a:pt x="6109200" y="43836"/>
                    </a:cubicBezTo>
                    <a:lnTo>
                      <a:pt x="6109200" y="79563"/>
                    </a:lnTo>
                    <a:cubicBezTo>
                      <a:pt x="6109200" y="96625"/>
                      <a:pt x="6098953" y="107140"/>
                      <a:pt x="6078459" y="111110"/>
                    </a:cubicBezTo>
                    <a:lnTo>
                      <a:pt x="6078459" y="111490"/>
                    </a:lnTo>
                    <a:cubicBezTo>
                      <a:pt x="6098953" y="115206"/>
                      <a:pt x="6109200" y="125638"/>
                      <a:pt x="6109200" y="142783"/>
                    </a:cubicBezTo>
                    <a:lnTo>
                      <a:pt x="6109200" y="178131"/>
                    </a:lnTo>
                    <a:cubicBezTo>
                      <a:pt x="6109200" y="187168"/>
                      <a:pt x="6111028" y="193608"/>
                      <a:pt x="6114684" y="197451"/>
                    </a:cubicBezTo>
                    <a:cubicBezTo>
                      <a:pt x="6118340" y="201294"/>
                      <a:pt x="6124700" y="203300"/>
                      <a:pt x="6133762" y="203469"/>
                    </a:cubicBezTo>
                    <a:lnTo>
                      <a:pt x="6133762" y="222980"/>
                    </a:lnTo>
                    <a:cubicBezTo>
                      <a:pt x="6097099" y="222642"/>
                      <a:pt x="6078768" y="209804"/>
                      <a:pt x="6078768" y="184466"/>
                    </a:cubicBezTo>
                    <a:lnTo>
                      <a:pt x="6078768" y="147091"/>
                    </a:lnTo>
                    <a:cubicBezTo>
                      <a:pt x="6078768" y="130367"/>
                      <a:pt x="6070735" y="121583"/>
                      <a:pt x="6054669" y="120738"/>
                    </a:cubicBezTo>
                    <a:lnTo>
                      <a:pt x="6054669" y="102242"/>
                    </a:lnTo>
                    <a:cubicBezTo>
                      <a:pt x="6070735" y="101397"/>
                      <a:pt x="6078768" y="92444"/>
                      <a:pt x="6078768" y="75382"/>
                    </a:cubicBezTo>
                    <a:lnTo>
                      <a:pt x="6078768" y="39021"/>
                    </a:lnTo>
                    <a:cubicBezTo>
                      <a:pt x="6078768" y="13345"/>
                      <a:pt x="6097099" y="338"/>
                      <a:pt x="6133762" y="0"/>
                    </a:cubicBezTo>
                    <a:close/>
                    <a:moveTo>
                      <a:pt x="2605015" y="0"/>
                    </a:moveTo>
                    <a:cubicBezTo>
                      <a:pt x="2641472" y="338"/>
                      <a:pt x="2659700" y="13345"/>
                      <a:pt x="2659700" y="39021"/>
                    </a:cubicBezTo>
                    <a:lnTo>
                      <a:pt x="2659700" y="75382"/>
                    </a:lnTo>
                    <a:cubicBezTo>
                      <a:pt x="2659700" y="92444"/>
                      <a:pt x="2667682" y="101397"/>
                      <a:pt x="2683645" y="102242"/>
                    </a:cubicBezTo>
                    <a:lnTo>
                      <a:pt x="2683645" y="120738"/>
                    </a:lnTo>
                    <a:cubicBezTo>
                      <a:pt x="2667682" y="121583"/>
                      <a:pt x="2659700" y="130367"/>
                      <a:pt x="2659700" y="147091"/>
                    </a:cubicBezTo>
                    <a:lnTo>
                      <a:pt x="2659700" y="184466"/>
                    </a:lnTo>
                    <a:cubicBezTo>
                      <a:pt x="2659700" y="209804"/>
                      <a:pt x="2641472" y="222642"/>
                      <a:pt x="2605015" y="222980"/>
                    </a:cubicBezTo>
                    <a:lnTo>
                      <a:pt x="2605015" y="203469"/>
                    </a:lnTo>
                    <a:cubicBezTo>
                      <a:pt x="2613975" y="203300"/>
                      <a:pt x="2620334" y="201273"/>
                      <a:pt x="2624093" y="197388"/>
                    </a:cubicBezTo>
                    <a:cubicBezTo>
                      <a:pt x="2627852" y="193503"/>
                      <a:pt x="2629732" y="187084"/>
                      <a:pt x="2629732" y="178131"/>
                    </a:cubicBezTo>
                    <a:lnTo>
                      <a:pt x="2629732" y="142783"/>
                    </a:lnTo>
                    <a:cubicBezTo>
                      <a:pt x="2629732" y="125638"/>
                      <a:pt x="2639876" y="115206"/>
                      <a:pt x="2660164" y="111490"/>
                    </a:cubicBezTo>
                    <a:lnTo>
                      <a:pt x="2660164" y="111110"/>
                    </a:lnTo>
                    <a:cubicBezTo>
                      <a:pt x="2639876" y="107140"/>
                      <a:pt x="2629732" y="96625"/>
                      <a:pt x="2629732" y="79563"/>
                    </a:cubicBezTo>
                    <a:lnTo>
                      <a:pt x="2629732" y="43836"/>
                    </a:lnTo>
                    <a:cubicBezTo>
                      <a:pt x="2629732" y="28041"/>
                      <a:pt x="2621493" y="19975"/>
                      <a:pt x="2605015" y="19638"/>
                    </a:cubicBezTo>
                    <a:close/>
                    <a:moveTo>
                      <a:pt x="2583696" y="0"/>
                    </a:moveTo>
                    <a:lnTo>
                      <a:pt x="2583696" y="19638"/>
                    </a:lnTo>
                    <a:cubicBezTo>
                      <a:pt x="2567322" y="19975"/>
                      <a:pt x="2559134" y="28041"/>
                      <a:pt x="2559134" y="43836"/>
                    </a:cubicBezTo>
                    <a:lnTo>
                      <a:pt x="2559134" y="79563"/>
                    </a:lnTo>
                    <a:cubicBezTo>
                      <a:pt x="2559134" y="96625"/>
                      <a:pt x="2548887" y="107140"/>
                      <a:pt x="2528392" y="111110"/>
                    </a:cubicBezTo>
                    <a:lnTo>
                      <a:pt x="2528392" y="111490"/>
                    </a:lnTo>
                    <a:cubicBezTo>
                      <a:pt x="2548887" y="115206"/>
                      <a:pt x="2559134" y="125638"/>
                      <a:pt x="2559134" y="142783"/>
                    </a:cubicBezTo>
                    <a:lnTo>
                      <a:pt x="2559134" y="178131"/>
                    </a:lnTo>
                    <a:cubicBezTo>
                      <a:pt x="2559134" y="187168"/>
                      <a:pt x="2560962" y="193608"/>
                      <a:pt x="2564618" y="197451"/>
                    </a:cubicBezTo>
                    <a:cubicBezTo>
                      <a:pt x="2568274" y="201294"/>
                      <a:pt x="2574634" y="203300"/>
                      <a:pt x="2583696" y="203469"/>
                    </a:cubicBezTo>
                    <a:lnTo>
                      <a:pt x="2583696" y="222980"/>
                    </a:lnTo>
                    <a:cubicBezTo>
                      <a:pt x="2547033" y="222642"/>
                      <a:pt x="2528702" y="209804"/>
                      <a:pt x="2528702" y="184466"/>
                    </a:cubicBezTo>
                    <a:lnTo>
                      <a:pt x="2528702" y="147091"/>
                    </a:lnTo>
                    <a:cubicBezTo>
                      <a:pt x="2528702" y="130367"/>
                      <a:pt x="2520668" y="121583"/>
                      <a:pt x="2504603" y="120738"/>
                    </a:cubicBezTo>
                    <a:lnTo>
                      <a:pt x="2504603" y="102242"/>
                    </a:lnTo>
                    <a:cubicBezTo>
                      <a:pt x="2520668" y="101397"/>
                      <a:pt x="2528702" y="92444"/>
                      <a:pt x="2528702" y="75382"/>
                    </a:cubicBezTo>
                    <a:lnTo>
                      <a:pt x="2528702" y="39021"/>
                    </a:lnTo>
                    <a:cubicBezTo>
                      <a:pt x="2528702" y="13345"/>
                      <a:pt x="2547033" y="338"/>
                      <a:pt x="2583696" y="0"/>
                    </a:cubicBezTo>
                    <a:close/>
                    <a:moveTo>
                      <a:pt x="100412" y="0"/>
                    </a:moveTo>
                    <a:cubicBezTo>
                      <a:pt x="136869" y="338"/>
                      <a:pt x="155098" y="13345"/>
                      <a:pt x="155098" y="39021"/>
                    </a:cubicBezTo>
                    <a:lnTo>
                      <a:pt x="155098" y="75382"/>
                    </a:lnTo>
                    <a:cubicBezTo>
                      <a:pt x="155098" y="92444"/>
                      <a:pt x="163079" y="101397"/>
                      <a:pt x="179042" y="102242"/>
                    </a:cubicBezTo>
                    <a:lnTo>
                      <a:pt x="179042" y="120738"/>
                    </a:lnTo>
                    <a:cubicBezTo>
                      <a:pt x="163079" y="121583"/>
                      <a:pt x="155098" y="130367"/>
                      <a:pt x="155098" y="147091"/>
                    </a:cubicBezTo>
                    <a:lnTo>
                      <a:pt x="155098" y="184466"/>
                    </a:lnTo>
                    <a:cubicBezTo>
                      <a:pt x="155098"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6" y="197451"/>
                    </a:cubicBezTo>
                    <a:cubicBezTo>
                      <a:pt x="63671" y="201294"/>
                      <a:pt x="70031" y="203300"/>
                      <a:pt x="79093" y="203469"/>
                    </a:cubicBezTo>
                    <a:lnTo>
                      <a:pt x="79093" y="222980"/>
                    </a:lnTo>
                    <a:cubicBezTo>
                      <a:pt x="42430" y="222642"/>
                      <a:pt x="24099" y="209804"/>
                      <a:pt x="24099" y="184466"/>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7" name="Group 386"/>
            <p:cNvGrpSpPr/>
            <p:nvPr/>
          </p:nvGrpSpPr>
          <p:grpSpPr>
            <a:xfrm>
              <a:off x="9183914" y="2695597"/>
              <a:ext cx="2059520" cy="39026"/>
              <a:chOff x="87923" y="68248"/>
              <a:chExt cx="12064389" cy="228614"/>
            </a:xfrm>
            <a:grpFill/>
          </p:grpSpPr>
          <p:sp>
            <p:nvSpPr>
              <p:cNvPr id="400" name="Freeform 399"/>
              <p:cNvSpPr/>
              <p:nvPr/>
            </p:nvSpPr>
            <p:spPr>
              <a:xfrm>
                <a:off x="2269482" y="68248"/>
                <a:ext cx="9542688" cy="228614"/>
              </a:xfrm>
              <a:custGeom>
                <a:avLst/>
                <a:gdLst>
                  <a:gd name="connsiteX0" fmla="*/ 9427595 w 9542687"/>
                  <a:gd name="connsiteY0" fmla="*/ 91551 h 228614"/>
                  <a:gd name="connsiteX1" fmla="*/ 9417133 w 9542687"/>
                  <a:gd name="connsiteY1" fmla="*/ 139680 h 228614"/>
                  <a:gd name="connsiteX2" fmla="*/ 9459856 w 9542687"/>
                  <a:gd name="connsiteY2" fmla="*/ 139680 h 228614"/>
                  <a:gd name="connsiteX3" fmla="*/ 9470144 w 9542687"/>
                  <a:gd name="connsiteY3" fmla="*/ 91551 h 228614"/>
                  <a:gd name="connsiteX4" fmla="*/ 3363258 w 9542687"/>
                  <a:gd name="connsiteY4" fmla="*/ 91551 h 228614"/>
                  <a:gd name="connsiteX5" fmla="*/ 3352795 w 9542687"/>
                  <a:gd name="connsiteY5" fmla="*/ 139680 h 228614"/>
                  <a:gd name="connsiteX6" fmla="*/ 3395518 w 9542687"/>
                  <a:gd name="connsiteY6" fmla="*/ 139680 h 228614"/>
                  <a:gd name="connsiteX7" fmla="*/ 3405807 w 9542687"/>
                  <a:gd name="connsiteY7" fmla="*/ 91551 h 228614"/>
                  <a:gd name="connsiteX8" fmla="*/ 9214687 w 9542687"/>
                  <a:gd name="connsiteY8" fmla="*/ 5634 h 228614"/>
                  <a:gd name="connsiteX9" fmla="*/ 9269373 w 9542687"/>
                  <a:gd name="connsiteY9" fmla="*/ 44655 h 228614"/>
                  <a:gd name="connsiteX10" fmla="*/ 9269373 w 9542687"/>
                  <a:gd name="connsiteY10" fmla="*/ 81016 h 228614"/>
                  <a:gd name="connsiteX11" fmla="*/ 9293317 w 9542687"/>
                  <a:gd name="connsiteY11" fmla="*/ 107876 h 228614"/>
                  <a:gd name="connsiteX12" fmla="*/ 9293317 w 9542687"/>
                  <a:gd name="connsiteY12" fmla="*/ 126372 h 228614"/>
                  <a:gd name="connsiteX13" fmla="*/ 9269373 w 9542687"/>
                  <a:gd name="connsiteY13" fmla="*/ 152725 h 228614"/>
                  <a:gd name="connsiteX14" fmla="*/ 9269373 w 9542687"/>
                  <a:gd name="connsiteY14" fmla="*/ 190099 h 228614"/>
                  <a:gd name="connsiteX15" fmla="*/ 9214687 w 9542687"/>
                  <a:gd name="connsiteY15" fmla="*/ 228614 h 228614"/>
                  <a:gd name="connsiteX16" fmla="*/ 9214687 w 9542687"/>
                  <a:gd name="connsiteY16" fmla="*/ 209103 h 228614"/>
                  <a:gd name="connsiteX17" fmla="*/ 9233765 w 9542687"/>
                  <a:gd name="connsiteY17" fmla="*/ 203022 h 228614"/>
                  <a:gd name="connsiteX18" fmla="*/ 9239404 w 9542687"/>
                  <a:gd name="connsiteY18" fmla="*/ 183765 h 228614"/>
                  <a:gd name="connsiteX19" fmla="*/ 9239404 w 9542687"/>
                  <a:gd name="connsiteY19" fmla="*/ 148417 h 228614"/>
                  <a:gd name="connsiteX20" fmla="*/ 9269836 w 9542687"/>
                  <a:gd name="connsiteY20" fmla="*/ 117124 h 228614"/>
                  <a:gd name="connsiteX21" fmla="*/ 9269836 w 9542687"/>
                  <a:gd name="connsiteY21" fmla="*/ 116744 h 228614"/>
                  <a:gd name="connsiteX22" fmla="*/ 9239404 w 9542687"/>
                  <a:gd name="connsiteY22" fmla="*/ 85197 h 228614"/>
                  <a:gd name="connsiteX23" fmla="*/ 9239404 w 9542687"/>
                  <a:gd name="connsiteY23" fmla="*/ 49470 h 228614"/>
                  <a:gd name="connsiteX24" fmla="*/ 9214687 w 9542687"/>
                  <a:gd name="connsiteY24" fmla="*/ 25272 h 228614"/>
                  <a:gd name="connsiteX25" fmla="*/ 9193368 w 9542687"/>
                  <a:gd name="connsiteY25" fmla="*/ 5634 h 228614"/>
                  <a:gd name="connsiteX26" fmla="*/ 9193368 w 9542687"/>
                  <a:gd name="connsiteY26" fmla="*/ 25272 h 228614"/>
                  <a:gd name="connsiteX27" fmla="*/ 9168806 w 9542687"/>
                  <a:gd name="connsiteY27" fmla="*/ 49470 h 228614"/>
                  <a:gd name="connsiteX28" fmla="*/ 9168806 w 9542687"/>
                  <a:gd name="connsiteY28" fmla="*/ 85197 h 228614"/>
                  <a:gd name="connsiteX29" fmla="*/ 9138065 w 9542687"/>
                  <a:gd name="connsiteY29" fmla="*/ 116744 h 228614"/>
                  <a:gd name="connsiteX30" fmla="*/ 9138065 w 9542687"/>
                  <a:gd name="connsiteY30" fmla="*/ 117124 h 228614"/>
                  <a:gd name="connsiteX31" fmla="*/ 9168806 w 9542687"/>
                  <a:gd name="connsiteY31" fmla="*/ 148417 h 228614"/>
                  <a:gd name="connsiteX32" fmla="*/ 9168806 w 9542687"/>
                  <a:gd name="connsiteY32" fmla="*/ 183765 h 228614"/>
                  <a:gd name="connsiteX33" fmla="*/ 9174290 w 9542687"/>
                  <a:gd name="connsiteY33" fmla="*/ 203085 h 228614"/>
                  <a:gd name="connsiteX34" fmla="*/ 9193368 w 9542687"/>
                  <a:gd name="connsiteY34" fmla="*/ 209103 h 228614"/>
                  <a:gd name="connsiteX35" fmla="*/ 9193368 w 9542687"/>
                  <a:gd name="connsiteY35" fmla="*/ 228614 h 228614"/>
                  <a:gd name="connsiteX36" fmla="*/ 9138374 w 9542687"/>
                  <a:gd name="connsiteY36" fmla="*/ 190099 h 228614"/>
                  <a:gd name="connsiteX37" fmla="*/ 9138374 w 9542687"/>
                  <a:gd name="connsiteY37" fmla="*/ 152725 h 228614"/>
                  <a:gd name="connsiteX38" fmla="*/ 9114275 w 9542687"/>
                  <a:gd name="connsiteY38" fmla="*/ 126372 h 228614"/>
                  <a:gd name="connsiteX39" fmla="*/ 9114275 w 9542687"/>
                  <a:gd name="connsiteY39" fmla="*/ 107876 h 228614"/>
                  <a:gd name="connsiteX40" fmla="*/ 9138374 w 9542687"/>
                  <a:gd name="connsiteY40" fmla="*/ 81016 h 228614"/>
                  <a:gd name="connsiteX41" fmla="*/ 9138374 w 9542687"/>
                  <a:gd name="connsiteY41" fmla="*/ 44655 h 228614"/>
                  <a:gd name="connsiteX42" fmla="*/ 9193368 w 9542687"/>
                  <a:gd name="connsiteY42" fmla="*/ 5634 h 228614"/>
                  <a:gd name="connsiteX43" fmla="*/ 6163937 w 9542687"/>
                  <a:gd name="connsiteY43" fmla="*/ 5634 h 228614"/>
                  <a:gd name="connsiteX44" fmla="*/ 6218623 w 9542687"/>
                  <a:gd name="connsiteY44" fmla="*/ 44655 h 228614"/>
                  <a:gd name="connsiteX45" fmla="*/ 6218623 w 9542687"/>
                  <a:gd name="connsiteY45" fmla="*/ 81016 h 228614"/>
                  <a:gd name="connsiteX46" fmla="*/ 6242567 w 9542687"/>
                  <a:gd name="connsiteY46" fmla="*/ 107876 h 228614"/>
                  <a:gd name="connsiteX47" fmla="*/ 6242567 w 9542687"/>
                  <a:gd name="connsiteY47" fmla="*/ 126372 h 228614"/>
                  <a:gd name="connsiteX48" fmla="*/ 6218623 w 9542687"/>
                  <a:gd name="connsiteY48" fmla="*/ 152725 h 228614"/>
                  <a:gd name="connsiteX49" fmla="*/ 6218623 w 9542687"/>
                  <a:gd name="connsiteY49" fmla="*/ 190099 h 228614"/>
                  <a:gd name="connsiteX50" fmla="*/ 6163937 w 9542687"/>
                  <a:gd name="connsiteY50" fmla="*/ 228614 h 228614"/>
                  <a:gd name="connsiteX51" fmla="*/ 6163937 w 9542687"/>
                  <a:gd name="connsiteY51" fmla="*/ 209103 h 228614"/>
                  <a:gd name="connsiteX52" fmla="*/ 6183015 w 9542687"/>
                  <a:gd name="connsiteY52" fmla="*/ 203022 h 228614"/>
                  <a:gd name="connsiteX53" fmla="*/ 6188654 w 9542687"/>
                  <a:gd name="connsiteY53" fmla="*/ 183765 h 228614"/>
                  <a:gd name="connsiteX54" fmla="*/ 6188654 w 9542687"/>
                  <a:gd name="connsiteY54" fmla="*/ 148417 h 228614"/>
                  <a:gd name="connsiteX55" fmla="*/ 6219086 w 9542687"/>
                  <a:gd name="connsiteY55" fmla="*/ 117124 h 228614"/>
                  <a:gd name="connsiteX56" fmla="*/ 6219086 w 9542687"/>
                  <a:gd name="connsiteY56" fmla="*/ 116744 h 228614"/>
                  <a:gd name="connsiteX57" fmla="*/ 6188654 w 9542687"/>
                  <a:gd name="connsiteY57" fmla="*/ 85197 h 228614"/>
                  <a:gd name="connsiteX58" fmla="*/ 6188654 w 9542687"/>
                  <a:gd name="connsiteY58" fmla="*/ 49470 h 228614"/>
                  <a:gd name="connsiteX59" fmla="*/ 6163937 w 9542687"/>
                  <a:gd name="connsiteY59" fmla="*/ 25272 h 228614"/>
                  <a:gd name="connsiteX60" fmla="*/ 6142618 w 9542687"/>
                  <a:gd name="connsiteY60" fmla="*/ 5634 h 228614"/>
                  <a:gd name="connsiteX61" fmla="*/ 6142618 w 9542687"/>
                  <a:gd name="connsiteY61" fmla="*/ 25272 h 228614"/>
                  <a:gd name="connsiteX62" fmla="*/ 6118057 w 9542687"/>
                  <a:gd name="connsiteY62" fmla="*/ 49470 h 228614"/>
                  <a:gd name="connsiteX63" fmla="*/ 6118057 w 9542687"/>
                  <a:gd name="connsiteY63" fmla="*/ 85197 h 228614"/>
                  <a:gd name="connsiteX64" fmla="*/ 6087315 w 9542687"/>
                  <a:gd name="connsiteY64" fmla="*/ 116744 h 228614"/>
                  <a:gd name="connsiteX65" fmla="*/ 6087315 w 9542687"/>
                  <a:gd name="connsiteY65" fmla="*/ 117124 h 228614"/>
                  <a:gd name="connsiteX66" fmla="*/ 6118057 w 9542687"/>
                  <a:gd name="connsiteY66" fmla="*/ 148417 h 228614"/>
                  <a:gd name="connsiteX67" fmla="*/ 6118057 w 9542687"/>
                  <a:gd name="connsiteY67" fmla="*/ 183765 h 228614"/>
                  <a:gd name="connsiteX68" fmla="*/ 6123540 w 9542687"/>
                  <a:gd name="connsiteY68" fmla="*/ 203085 h 228614"/>
                  <a:gd name="connsiteX69" fmla="*/ 6142618 w 9542687"/>
                  <a:gd name="connsiteY69" fmla="*/ 209103 h 228614"/>
                  <a:gd name="connsiteX70" fmla="*/ 6142618 w 9542687"/>
                  <a:gd name="connsiteY70" fmla="*/ 228614 h 228614"/>
                  <a:gd name="connsiteX71" fmla="*/ 6087624 w 9542687"/>
                  <a:gd name="connsiteY71" fmla="*/ 190099 h 228614"/>
                  <a:gd name="connsiteX72" fmla="*/ 6087624 w 9542687"/>
                  <a:gd name="connsiteY72" fmla="*/ 152725 h 228614"/>
                  <a:gd name="connsiteX73" fmla="*/ 6063525 w 9542687"/>
                  <a:gd name="connsiteY73" fmla="*/ 126372 h 228614"/>
                  <a:gd name="connsiteX74" fmla="*/ 6063525 w 9542687"/>
                  <a:gd name="connsiteY74" fmla="*/ 107876 h 228614"/>
                  <a:gd name="connsiteX75" fmla="*/ 6087624 w 9542687"/>
                  <a:gd name="connsiteY75" fmla="*/ 81016 h 228614"/>
                  <a:gd name="connsiteX76" fmla="*/ 6087624 w 9542687"/>
                  <a:gd name="connsiteY76" fmla="*/ 44655 h 228614"/>
                  <a:gd name="connsiteX77" fmla="*/ 6142618 w 9542687"/>
                  <a:gd name="connsiteY77" fmla="*/ 5634 h 228614"/>
                  <a:gd name="connsiteX78" fmla="*/ 3154027 w 9542687"/>
                  <a:gd name="connsiteY78" fmla="*/ 5634 h 228614"/>
                  <a:gd name="connsiteX79" fmla="*/ 3208713 w 9542687"/>
                  <a:gd name="connsiteY79" fmla="*/ 44655 h 228614"/>
                  <a:gd name="connsiteX80" fmla="*/ 3208713 w 9542687"/>
                  <a:gd name="connsiteY80" fmla="*/ 81016 h 228614"/>
                  <a:gd name="connsiteX81" fmla="*/ 3232657 w 9542687"/>
                  <a:gd name="connsiteY81" fmla="*/ 107876 h 228614"/>
                  <a:gd name="connsiteX82" fmla="*/ 3232657 w 9542687"/>
                  <a:gd name="connsiteY82" fmla="*/ 126372 h 228614"/>
                  <a:gd name="connsiteX83" fmla="*/ 3208713 w 9542687"/>
                  <a:gd name="connsiteY83" fmla="*/ 152725 h 228614"/>
                  <a:gd name="connsiteX84" fmla="*/ 3208713 w 9542687"/>
                  <a:gd name="connsiteY84" fmla="*/ 190099 h 228614"/>
                  <a:gd name="connsiteX85" fmla="*/ 3154027 w 9542687"/>
                  <a:gd name="connsiteY85" fmla="*/ 228614 h 228614"/>
                  <a:gd name="connsiteX86" fmla="*/ 3154027 w 9542687"/>
                  <a:gd name="connsiteY86" fmla="*/ 209103 h 228614"/>
                  <a:gd name="connsiteX87" fmla="*/ 3173105 w 9542687"/>
                  <a:gd name="connsiteY87" fmla="*/ 203022 h 228614"/>
                  <a:gd name="connsiteX88" fmla="*/ 3178744 w 9542687"/>
                  <a:gd name="connsiteY88" fmla="*/ 183765 h 228614"/>
                  <a:gd name="connsiteX89" fmla="*/ 3178744 w 9542687"/>
                  <a:gd name="connsiteY89" fmla="*/ 148417 h 228614"/>
                  <a:gd name="connsiteX90" fmla="*/ 3209176 w 9542687"/>
                  <a:gd name="connsiteY90" fmla="*/ 117124 h 228614"/>
                  <a:gd name="connsiteX91" fmla="*/ 3209176 w 9542687"/>
                  <a:gd name="connsiteY91" fmla="*/ 116744 h 228614"/>
                  <a:gd name="connsiteX92" fmla="*/ 3178744 w 9542687"/>
                  <a:gd name="connsiteY92" fmla="*/ 85197 h 228614"/>
                  <a:gd name="connsiteX93" fmla="*/ 3178744 w 9542687"/>
                  <a:gd name="connsiteY93" fmla="*/ 49470 h 228614"/>
                  <a:gd name="connsiteX94" fmla="*/ 3154027 w 9542687"/>
                  <a:gd name="connsiteY94" fmla="*/ 25272 h 228614"/>
                  <a:gd name="connsiteX95" fmla="*/ 3132709 w 9542687"/>
                  <a:gd name="connsiteY95" fmla="*/ 5634 h 228614"/>
                  <a:gd name="connsiteX96" fmla="*/ 3132709 w 9542687"/>
                  <a:gd name="connsiteY96" fmla="*/ 25272 h 228614"/>
                  <a:gd name="connsiteX97" fmla="*/ 3108147 w 9542687"/>
                  <a:gd name="connsiteY97" fmla="*/ 49470 h 228614"/>
                  <a:gd name="connsiteX98" fmla="*/ 3108147 w 9542687"/>
                  <a:gd name="connsiteY98" fmla="*/ 85197 h 228614"/>
                  <a:gd name="connsiteX99" fmla="*/ 3077405 w 9542687"/>
                  <a:gd name="connsiteY99" fmla="*/ 116744 h 228614"/>
                  <a:gd name="connsiteX100" fmla="*/ 3077405 w 9542687"/>
                  <a:gd name="connsiteY100" fmla="*/ 117124 h 228614"/>
                  <a:gd name="connsiteX101" fmla="*/ 3108147 w 9542687"/>
                  <a:gd name="connsiteY101" fmla="*/ 148417 h 228614"/>
                  <a:gd name="connsiteX102" fmla="*/ 3108147 w 9542687"/>
                  <a:gd name="connsiteY102" fmla="*/ 183765 h 228614"/>
                  <a:gd name="connsiteX103" fmla="*/ 3113631 w 9542687"/>
                  <a:gd name="connsiteY103" fmla="*/ 203085 h 228614"/>
                  <a:gd name="connsiteX104" fmla="*/ 3132709 w 9542687"/>
                  <a:gd name="connsiteY104" fmla="*/ 209103 h 228614"/>
                  <a:gd name="connsiteX105" fmla="*/ 3132709 w 9542687"/>
                  <a:gd name="connsiteY105" fmla="*/ 228614 h 228614"/>
                  <a:gd name="connsiteX106" fmla="*/ 3077714 w 9542687"/>
                  <a:gd name="connsiteY106" fmla="*/ 190099 h 228614"/>
                  <a:gd name="connsiteX107" fmla="*/ 3077714 w 9542687"/>
                  <a:gd name="connsiteY107" fmla="*/ 152725 h 228614"/>
                  <a:gd name="connsiteX108" fmla="*/ 3053615 w 9542687"/>
                  <a:gd name="connsiteY108" fmla="*/ 126372 h 228614"/>
                  <a:gd name="connsiteX109" fmla="*/ 3053615 w 9542687"/>
                  <a:gd name="connsiteY109" fmla="*/ 107876 h 228614"/>
                  <a:gd name="connsiteX110" fmla="*/ 3077714 w 9542687"/>
                  <a:gd name="connsiteY110" fmla="*/ 81016 h 228614"/>
                  <a:gd name="connsiteX111" fmla="*/ 3077714 w 9542687"/>
                  <a:gd name="connsiteY111" fmla="*/ 44655 h 228614"/>
                  <a:gd name="connsiteX112" fmla="*/ 3132709 w 9542687"/>
                  <a:gd name="connsiteY112" fmla="*/ 5634 h 228614"/>
                  <a:gd name="connsiteX113" fmla="*/ 100413 w 9542687"/>
                  <a:gd name="connsiteY113" fmla="*/ 5634 h 228614"/>
                  <a:gd name="connsiteX114" fmla="*/ 155098 w 9542687"/>
                  <a:gd name="connsiteY114" fmla="*/ 44655 h 228614"/>
                  <a:gd name="connsiteX115" fmla="*/ 155098 w 9542687"/>
                  <a:gd name="connsiteY115" fmla="*/ 81016 h 228614"/>
                  <a:gd name="connsiteX116" fmla="*/ 179043 w 9542687"/>
                  <a:gd name="connsiteY116" fmla="*/ 107876 h 228614"/>
                  <a:gd name="connsiteX117" fmla="*/ 179043 w 9542687"/>
                  <a:gd name="connsiteY117" fmla="*/ 126372 h 228614"/>
                  <a:gd name="connsiteX118" fmla="*/ 155098 w 9542687"/>
                  <a:gd name="connsiteY118" fmla="*/ 152725 h 228614"/>
                  <a:gd name="connsiteX119" fmla="*/ 155098 w 9542687"/>
                  <a:gd name="connsiteY119" fmla="*/ 190099 h 228614"/>
                  <a:gd name="connsiteX120" fmla="*/ 100413 w 9542687"/>
                  <a:gd name="connsiteY120" fmla="*/ 228614 h 228614"/>
                  <a:gd name="connsiteX121" fmla="*/ 100413 w 9542687"/>
                  <a:gd name="connsiteY121" fmla="*/ 209103 h 228614"/>
                  <a:gd name="connsiteX122" fmla="*/ 119491 w 9542687"/>
                  <a:gd name="connsiteY122" fmla="*/ 203022 h 228614"/>
                  <a:gd name="connsiteX123" fmla="*/ 125129 w 9542687"/>
                  <a:gd name="connsiteY123" fmla="*/ 183765 h 228614"/>
                  <a:gd name="connsiteX124" fmla="*/ 125129 w 9542687"/>
                  <a:gd name="connsiteY124" fmla="*/ 148417 h 228614"/>
                  <a:gd name="connsiteX125" fmla="*/ 155561 w 9542687"/>
                  <a:gd name="connsiteY125" fmla="*/ 117124 h 228614"/>
                  <a:gd name="connsiteX126" fmla="*/ 155561 w 9542687"/>
                  <a:gd name="connsiteY126" fmla="*/ 116744 h 228614"/>
                  <a:gd name="connsiteX127" fmla="*/ 125129 w 9542687"/>
                  <a:gd name="connsiteY127" fmla="*/ 85197 h 228614"/>
                  <a:gd name="connsiteX128" fmla="*/ 125129 w 9542687"/>
                  <a:gd name="connsiteY128" fmla="*/ 49470 h 228614"/>
                  <a:gd name="connsiteX129" fmla="*/ 100413 w 9542687"/>
                  <a:gd name="connsiteY129" fmla="*/ 25272 h 228614"/>
                  <a:gd name="connsiteX130" fmla="*/ 79093 w 9542687"/>
                  <a:gd name="connsiteY130" fmla="*/ 5634 h 228614"/>
                  <a:gd name="connsiteX131" fmla="*/ 79093 w 9542687"/>
                  <a:gd name="connsiteY131" fmla="*/ 25272 h 228614"/>
                  <a:gd name="connsiteX132" fmla="*/ 54531 w 9542687"/>
                  <a:gd name="connsiteY132" fmla="*/ 49470 h 228614"/>
                  <a:gd name="connsiteX133" fmla="*/ 54531 w 9542687"/>
                  <a:gd name="connsiteY133" fmla="*/ 85197 h 228614"/>
                  <a:gd name="connsiteX134" fmla="*/ 23790 w 9542687"/>
                  <a:gd name="connsiteY134" fmla="*/ 116744 h 228614"/>
                  <a:gd name="connsiteX135" fmla="*/ 23790 w 9542687"/>
                  <a:gd name="connsiteY135" fmla="*/ 117124 h 228614"/>
                  <a:gd name="connsiteX136" fmla="*/ 54531 w 9542687"/>
                  <a:gd name="connsiteY136" fmla="*/ 148417 h 228614"/>
                  <a:gd name="connsiteX137" fmla="*/ 54531 w 9542687"/>
                  <a:gd name="connsiteY137" fmla="*/ 183765 h 228614"/>
                  <a:gd name="connsiteX138" fmla="*/ 60016 w 9542687"/>
                  <a:gd name="connsiteY138" fmla="*/ 203085 h 228614"/>
                  <a:gd name="connsiteX139" fmla="*/ 79093 w 9542687"/>
                  <a:gd name="connsiteY139" fmla="*/ 209103 h 228614"/>
                  <a:gd name="connsiteX140" fmla="*/ 79093 w 9542687"/>
                  <a:gd name="connsiteY140" fmla="*/ 228614 h 228614"/>
                  <a:gd name="connsiteX141" fmla="*/ 24099 w 9542687"/>
                  <a:gd name="connsiteY141" fmla="*/ 190099 h 228614"/>
                  <a:gd name="connsiteX142" fmla="*/ 24099 w 9542687"/>
                  <a:gd name="connsiteY142" fmla="*/ 152725 h 228614"/>
                  <a:gd name="connsiteX143" fmla="*/ 0 w 9542687"/>
                  <a:gd name="connsiteY143" fmla="*/ 126372 h 228614"/>
                  <a:gd name="connsiteX144" fmla="*/ 0 w 9542687"/>
                  <a:gd name="connsiteY144" fmla="*/ 107876 h 228614"/>
                  <a:gd name="connsiteX145" fmla="*/ 24099 w 9542687"/>
                  <a:gd name="connsiteY145" fmla="*/ 81016 h 228614"/>
                  <a:gd name="connsiteX146" fmla="*/ 24099 w 9542687"/>
                  <a:gd name="connsiteY146" fmla="*/ 44655 h 228614"/>
                  <a:gd name="connsiteX147" fmla="*/ 79093 w 9542687"/>
                  <a:gd name="connsiteY147" fmla="*/ 5634 h 228614"/>
                  <a:gd name="connsiteX148" fmla="*/ 9418528 w 9542687"/>
                  <a:gd name="connsiteY148" fmla="*/ 0 h 228614"/>
                  <a:gd name="connsiteX149" fmla="*/ 9446603 w 9542687"/>
                  <a:gd name="connsiteY149" fmla="*/ 0 h 228614"/>
                  <a:gd name="connsiteX150" fmla="*/ 9432827 w 9542687"/>
                  <a:gd name="connsiteY150" fmla="*/ 67137 h 228614"/>
                  <a:gd name="connsiteX151" fmla="*/ 9475027 w 9542687"/>
                  <a:gd name="connsiteY151" fmla="*/ 67137 h 228614"/>
                  <a:gd name="connsiteX152" fmla="*/ 9489326 w 9542687"/>
                  <a:gd name="connsiteY152" fmla="*/ 0 h 228614"/>
                  <a:gd name="connsiteX153" fmla="*/ 9516879 w 9542687"/>
                  <a:gd name="connsiteY153" fmla="*/ 0 h 228614"/>
                  <a:gd name="connsiteX154" fmla="*/ 9502928 w 9542687"/>
                  <a:gd name="connsiteY154" fmla="*/ 67137 h 228614"/>
                  <a:gd name="connsiteX155" fmla="*/ 9542687 w 9542687"/>
                  <a:gd name="connsiteY155" fmla="*/ 67137 h 228614"/>
                  <a:gd name="connsiteX156" fmla="*/ 9537281 w 9542687"/>
                  <a:gd name="connsiteY156" fmla="*/ 91551 h 228614"/>
                  <a:gd name="connsiteX157" fmla="*/ 9497697 w 9542687"/>
                  <a:gd name="connsiteY157" fmla="*/ 91551 h 228614"/>
                  <a:gd name="connsiteX158" fmla="*/ 9487583 w 9542687"/>
                  <a:gd name="connsiteY158" fmla="*/ 139680 h 228614"/>
                  <a:gd name="connsiteX159" fmla="*/ 9530829 w 9542687"/>
                  <a:gd name="connsiteY159" fmla="*/ 139680 h 228614"/>
                  <a:gd name="connsiteX160" fmla="*/ 9524725 w 9542687"/>
                  <a:gd name="connsiteY160" fmla="*/ 164093 h 228614"/>
                  <a:gd name="connsiteX161" fmla="*/ 9482526 w 9542687"/>
                  <a:gd name="connsiteY161" fmla="*/ 164093 h 228614"/>
                  <a:gd name="connsiteX162" fmla="*/ 9468226 w 9542687"/>
                  <a:gd name="connsiteY162" fmla="*/ 228614 h 228614"/>
                  <a:gd name="connsiteX163" fmla="*/ 9440499 w 9542687"/>
                  <a:gd name="connsiteY163" fmla="*/ 228614 h 228614"/>
                  <a:gd name="connsiteX164" fmla="*/ 9454450 w 9542687"/>
                  <a:gd name="connsiteY164" fmla="*/ 164093 h 228614"/>
                  <a:gd name="connsiteX165" fmla="*/ 9412250 w 9542687"/>
                  <a:gd name="connsiteY165" fmla="*/ 164093 h 228614"/>
                  <a:gd name="connsiteX166" fmla="*/ 9398648 w 9542687"/>
                  <a:gd name="connsiteY166" fmla="*/ 228614 h 228614"/>
                  <a:gd name="connsiteX167" fmla="*/ 9370922 w 9542687"/>
                  <a:gd name="connsiteY167" fmla="*/ 228614 h 228614"/>
                  <a:gd name="connsiteX168" fmla="*/ 9384523 w 9542687"/>
                  <a:gd name="connsiteY168" fmla="*/ 164093 h 228614"/>
                  <a:gd name="connsiteX169" fmla="*/ 9344590 w 9542687"/>
                  <a:gd name="connsiteY169" fmla="*/ 164093 h 228614"/>
                  <a:gd name="connsiteX170" fmla="*/ 9349472 w 9542687"/>
                  <a:gd name="connsiteY170" fmla="*/ 139680 h 228614"/>
                  <a:gd name="connsiteX171" fmla="*/ 9389929 w 9542687"/>
                  <a:gd name="connsiteY171" fmla="*/ 139680 h 228614"/>
                  <a:gd name="connsiteX172" fmla="*/ 9399520 w 9542687"/>
                  <a:gd name="connsiteY172" fmla="*/ 91551 h 228614"/>
                  <a:gd name="connsiteX173" fmla="*/ 9356971 w 9542687"/>
                  <a:gd name="connsiteY173" fmla="*/ 91551 h 228614"/>
                  <a:gd name="connsiteX174" fmla="*/ 9362028 w 9542687"/>
                  <a:gd name="connsiteY174" fmla="*/ 67137 h 228614"/>
                  <a:gd name="connsiteX175" fmla="*/ 9404577 w 9542687"/>
                  <a:gd name="connsiteY175" fmla="*/ 67137 h 228614"/>
                  <a:gd name="connsiteX176" fmla="*/ 3354190 w 9542687"/>
                  <a:gd name="connsiteY176" fmla="*/ 0 h 228614"/>
                  <a:gd name="connsiteX177" fmla="*/ 3382265 w 9542687"/>
                  <a:gd name="connsiteY177" fmla="*/ 0 h 228614"/>
                  <a:gd name="connsiteX178" fmla="*/ 3368489 w 9542687"/>
                  <a:gd name="connsiteY178" fmla="*/ 67137 h 228614"/>
                  <a:gd name="connsiteX179" fmla="*/ 3410689 w 9542687"/>
                  <a:gd name="connsiteY179" fmla="*/ 67137 h 228614"/>
                  <a:gd name="connsiteX180" fmla="*/ 3424988 w 9542687"/>
                  <a:gd name="connsiteY180" fmla="*/ 0 h 228614"/>
                  <a:gd name="connsiteX181" fmla="*/ 3452541 w 9542687"/>
                  <a:gd name="connsiteY181" fmla="*/ 0 h 228614"/>
                  <a:gd name="connsiteX182" fmla="*/ 3438590 w 9542687"/>
                  <a:gd name="connsiteY182" fmla="*/ 67137 h 228614"/>
                  <a:gd name="connsiteX183" fmla="*/ 3478349 w 9542687"/>
                  <a:gd name="connsiteY183" fmla="*/ 67137 h 228614"/>
                  <a:gd name="connsiteX184" fmla="*/ 3472944 w 9542687"/>
                  <a:gd name="connsiteY184" fmla="*/ 91551 h 228614"/>
                  <a:gd name="connsiteX185" fmla="*/ 3433359 w 9542687"/>
                  <a:gd name="connsiteY185" fmla="*/ 91551 h 228614"/>
                  <a:gd name="connsiteX186" fmla="*/ 3423245 w 9542687"/>
                  <a:gd name="connsiteY186" fmla="*/ 139680 h 228614"/>
                  <a:gd name="connsiteX187" fmla="*/ 3466491 w 9542687"/>
                  <a:gd name="connsiteY187" fmla="*/ 139680 h 228614"/>
                  <a:gd name="connsiteX188" fmla="*/ 3460388 w 9542687"/>
                  <a:gd name="connsiteY188" fmla="*/ 164093 h 228614"/>
                  <a:gd name="connsiteX189" fmla="*/ 3418188 w 9542687"/>
                  <a:gd name="connsiteY189" fmla="*/ 164093 h 228614"/>
                  <a:gd name="connsiteX190" fmla="*/ 3403889 w 9542687"/>
                  <a:gd name="connsiteY190" fmla="*/ 228614 h 228614"/>
                  <a:gd name="connsiteX191" fmla="*/ 3376161 w 9542687"/>
                  <a:gd name="connsiteY191" fmla="*/ 228614 h 228614"/>
                  <a:gd name="connsiteX192" fmla="*/ 3390112 w 9542687"/>
                  <a:gd name="connsiteY192" fmla="*/ 164093 h 228614"/>
                  <a:gd name="connsiteX193" fmla="*/ 3347912 w 9542687"/>
                  <a:gd name="connsiteY193" fmla="*/ 164093 h 228614"/>
                  <a:gd name="connsiteX194" fmla="*/ 3334310 w 9542687"/>
                  <a:gd name="connsiteY194" fmla="*/ 228614 h 228614"/>
                  <a:gd name="connsiteX195" fmla="*/ 3306584 w 9542687"/>
                  <a:gd name="connsiteY195" fmla="*/ 228614 h 228614"/>
                  <a:gd name="connsiteX196" fmla="*/ 3320185 w 9542687"/>
                  <a:gd name="connsiteY196" fmla="*/ 164093 h 228614"/>
                  <a:gd name="connsiteX197" fmla="*/ 3280252 w 9542687"/>
                  <a:gd name="connsiteY197" fmla="*/ 164093 h 228614"/>
                  <a:gd name="connsiteX198" fmla="*/ 3285135 w 9542687"/>
                  <a:gd name="connsiteY198" fmla="*/ 139680 h 228614"/>
                  <a:gd name="connsiteX199" fmla="*/ 3325591 w 9542687"/>
                  <a:gd name="connsiteY199" fmla="*/ 139680 h 228614"/>
                  <a:gd name="connsiteX200" fmla="*/ 3335182 w 9542687"/>
                  <a:gd name="connsiteY200" fmla="*/ 91551 h 228614"/>
                  <a:gd name="connsiteX201" fmla="*/ 3292633 w 9542687"/>
                  <a:gd name="connsiteY201" fmla="*/ 91551 h 228614"/>
                  <a:gd name="connsiteX202" fmla="*/ 3297690 w 9542687"/>
                  <a:gd name="connsiteY202" fmla="*/ 67137 h 228614"/>
                  <a:gd name="connsiteX203" fmla="*/ 3340239 w 9542687"/>
                  <a:gd name="connsiteY203"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542687" h="228614">
                    <a:moveTo>
                      <a:pt x="9427595" y="91551"/>
                    </a:moveTo>
                    <a:lnTo>
                      <a:pt x="9417133" y="139680"/>
                    </a:lnTo>
                    <a:lnTo>
                      <a:pt x="9459856" y="139680"/>
                    </a:lnTo>
                    <a:lnTo>
                      <a:pt x="9470144" y="91551"/>
                    </a:lnTo>
                    <a:close/>
                    <a:moveTo>
                      <a:pt x="3363258" y="91551"/>
                    </a:moveTo>
                    <a:lnTo>
                      <a:pt x="3352795" y="139680"/>
                    </a:lnTo>
                    <a:lnTo>
                      <a:pt x="3395518" y="139680"/>
                    </a:lnTo>
                    <a:lnTo>
                      <a:pt x="3405807" y="91551"/>
                    </a:lnTo>
                    <a:close/>
                    <a:moveTo>
                      <a:pt x="9214687" y="5634"/>
                    </a:moveTo>
                    <a:cubicBezTo>
                      <a:pt x="9251144" y="5972"/>
                      <a:pt x="9269373" y="18979"/>
                      <a:pt x="9269373" y="44655"/>
                    </a:cubicBezTo>
                    <a:lnTo>
                      <a:pt x="9269373" y="81016"/>
                    </a:lnTo>
                    <a:cubicBezTo>
                      <a:pt x="9269373" y="98078"/>
                      <a:pt x="9277354" y="107031"/>
                      <a:pt x="9293317" y="107876"/>
                    </a:cubicBezTo>
                    <a:lnTo>
                      <a:pt x="9293317" y="126372"/>
                    </a:lnTo>
                    <a:cubicBezTo>
                      <a:pt x="9277354" y="127217"/>
                      <a:pt x="9269373" y="136001"/>
                      <a:pt x="9269373" y="152725"/>
                    </a:cubicBezTo>
                    <a:lnTo>
                      <a:pt x="9269373" y="190099"/>
                    </a:lnTo>
                    <a:cubicBezTo>
                      <a:pt x="9269373" y="215438"/>
                      <a:pt x="9251144" y="228276"/>
                      <a:pt x="9214687" y="228614"/>
                    </a:cubicBezTo>
                    <a:lnTo>
                      <a:pt x="9214687" y="209103"/>
                    </a:lnTo>
                    <a:cubicBezTo>
                      <a:pt x="9223647" y="208934"/>
                      <a:pt x="9230006" y="206907"/>
                      <a:pt x="9233765" y="203022"/>
                    </a:cubicBezTo>
                    <a:cubicBezTo>
                      <a:pt x="9237524" y="199137"/>
                      <a:pt x="9239404" y="192718"/>
                      <a:pt x="9239404" y="183765"/>
                    </a:cubicBezTo>
                    <a:lnTo>
                      <a:pt x="9239404" y="148417"/>
                    </a:lnTo>
                    <a:cubicBezTo>
                      <a:pt x="9239404" y="131272"/>
                      <a:pt x="9249548" y="120840"/>
                      <a:pt x="9269836" y="117124"/>
                    </a:cubicBezTo>
                    <a:lnTo>
                      <a:pt x="9269836" y="116744"/>
                    </a:lnTo>
                    <a:cubicBezTo>
                      <a:pt x="9249548" y="112774"/>
                      <a:pt x="9239404" y="102259"/>
                      <a:pt x="9239404" y="85197"/>
                    </a:cubicBezTo>
                    <a:lnTo>
                      <a:pt x="9239404" y="49470"/>
                    </a:lnTo>
                    <a:cubicBezTo>
                      <a:pt x="9239404" y="33675"/>
                      <a:pt x="9231165" y="25609"/>
                      <a:pt x="9214687" y="25272"/>
                    </a:cubicBezTo>
                    <a:close/>
                    <a:moveTo>
                      <a:pt x="9193368" y="5634"/>
                    </a:moveTo>
                    <a:lnTo>
                      <a:pt x="9193368" y="25272"/>
                    </a:lnTo>
                    <a:cubicBezTo>
                      <a:pt x="9176994" y="25609"/>
                      <a:pt x="9168806" y="33675"/>
                      <a:pt x="9168806" y="49470"/>
                    </a:cubicBezTo>
                    <a:lnTo>
                      <a:pt x="9168806" y="85197"/>
                    </a:lnTo>
                    <a:cubicBezTo>
                      <a:pt x="9168806" y="102259"/>
                      <a:pt x="9158559" y="112774"/>
                      <a:pt x="9138065" y="116744"/>
                    </a:cubicBezTo>
                    <a:lnTo>
                      <a:pt x="9138065" y="117124"/>
                    </a:lnTo>
                    <a:cubicBezTo>
                      <a:pt x="9158559" y="120840"/>
                      <a:pt x="9168806" y="131272"/>
                      <a:pt x="9168806" y="148417"/>
                    </a:cubicBezTo>
                    <a:lnTo>
                      <a:pt x="9168806" y="183765"/>
                    </a:lnTo>
                    <a:cubicBezTo>
                      <a:pt x="9168806" y="192802"/>
                      <a:pt x="9170634" y="199242"/>
                      <a:pt x="9174290" y="203085"/>
                    </a:cubicBezTo>
                    <a:cubicBezTo>
                      <a:pt x="9177946" y="206928"/>
                      <a:pt x="9184306" y="208934"/>
                      <a:pt x="9193368" y="209103"/>
                    </a:cubicBezTo>
                    <a:lnTo>
                      <a:pt x="9193368" y="228614"/>
                    </a:lnTo>
                    <a:cubicBezTo>
                      <a:pt x="9156705" y="228276"/>
                      <a:pt x="9138374" y="215438"/>
                      <a:pt x="9138374" y="190099"/>
                    </a:cubicBezTo>
                    <a:lnTo>
                      <a:pt x="9138374" y="152725"/>
                    </a:lnTo>
                    <a:cubicBezTo>
                      <a:pt x="9138374" y="136001"/>
                      <a:pt x="9130341" y="127217"/>
                      <a:pt x="9114275" y="126372"/>
                    </a:cubicBezTo>
                    <a:lnTo>
                      <a:pt x="9114275" y="107876"/>
                    </a:lnTo>
                    <a:cubicBezTo>
                      <a:pt x="9130341" y="107031"/>
                      <a:pt x="9138374" y="98078"/>
                      <a:pt x="9138374" y="81016"/>
                    </a:cubicBezTo>
                    <a:lnTo>
                      <a:pt x="9138374" y="44655"/>
                    </a:lnTo>
                    <a:cubicBezTo>
                      <a:pt x="9138374" y="18979"/>
                      <a:pt x="9156705" y="5972"/>
                      <a:pt x="9193368" y="5634"/>
                    </a:cubicBezTo>
                    <a:close/>
                    <a:moveTo>
                      <a:pt x="6163937" y="5634"/>
                    </a:moveTo>
                    <a:cubicBezTo>
                      <a:pt x="6200394" y="5972"/>
                      <a:pt x="6218623" y="18979"/>
                      <a:pt x="6218623" y="44655"/>
                    </a:cubicBezTo>
                    <a:lnTo>
                      <a:pt x="6218623" y="81016"/>
                    </a:lnTo>
                    <a:cubicBezTo>
                      <a:pt x="6218623" y="98078"/>
                      <a:pt x="6226604" y="107031"/>
                      <a:pt x="6242567" y="107876"/>
                    </a:cubicBezTo>
                    <a:lnTo>
                      <a:pt x="6242567" y="126372"/>
                    </a:lnTo>
                    <a:cubicBezTo>
                      <a:pt x="6226604" y="127217"/>
                      <a:pt x="6218623" y="136001"/>
                      <a:pt x="6218623" y="152725"/>
                    </a:cubicBezTo>
                    <a:lnTo>
                      <a:pt x="6218623" y="190099"/>
                    </a:lnTo>
                    <a:cubicBezTo>
                      <a:pt x="6218623" y="215438"/>
                      <a:pt x="6200394" y="228276"/>
                      <a:pt x="6163937" y="228614"/>
                    </a:cubicBezTo>
                    <a:lnTo>
                      <a:pt x="6163937" y="209103"/>
                    </a:lnTo>
                    <a:cubicBezTo>
                      <a:pt x="6172897" y="208934"/>
                      <a:pt x="6179256" y="206907"/>
                      <a:pt x="6183015" y="203022"/>
                    </a:cubicBezTo>
                    <a:cubicBezTo>
                      <a:pt x="6186774" y="199137"/>
                      <a:pt x="6188654" y="192718"/>
                      <a:pt x="6188654" y="183765"/>
                    </a:cubicBezTo>
                    <a:lnTo>
                      <a:pt x="6188654" y="148417"/>
                    </a:lnTo>
                    <a:cubicBezTo>
                      <a:pt x="6188654" y="131272"/>
                      <a:pt x="6198798" y="120840"/>
                      <a:pt x="6219086" y="117124"/>
                    </a:cubicBezTo>
                    <a:lnTo>
                      <a:pt x="6219086" y="116744"/>
                    </a:lnTo>
                    <a:cubicBezTo>
                      <a:pt x="6198798" y="112774"/>
                      <a:pt x="6188654" y="102259"/>
                      <a:pt x="6188654" y="85197"/>
                    </a:cubicBezTo>
                    <a:lnTo>
                      <a:pt x="6188654" y="49470"/>
                    </a:lnTo>
                    <a:cubicBezTo>
                      <a:pt x="6188654" y="33675"/>
                      <a:pt x="6180415" y="25609"/>
                      <a:pt x="6163937" y="25272"/>
                    </a:cubicBezTo>
                    <a:close/>
                    <a:moveTo>
                      <a:pt x="6142618" y="5634"/>
                    </a:moveTo>
                    <a:lnTo>
                      <a:pt x="6142618" y="25272"/>
                    </a:lnTo>
                    <a:cubicBezTo>
                      <a:pt x="6126244" y="25609"/>
                      <a:pt x="6118057" y="33675"/>
                      <a:pt x="6118057" y="49470"/>
                    </a:cubicBezTo>
                    <a:lnTo>
                      <a:pt x="6118057" y="85197"/>
                    </a:lnTo>
                    <a:cubicBezTo>
                      <a:pt x="6118057" y="102259"/>
                      <a:pt x="6107809" y="112774"/>
                      <a:pt x="6087315" y="116744"/>
                    </a:cubicBezTo>
                    <a:lnTo>
                      <a:pt x="6087315" y="117124"/>
                    </a:lnTo>
                    <a:cubicBezTo>
                      <a:pt x="6107809" y="120840"/>
                      <a:pt x="6118057" y="131272"/>
                      <a:pt x="6118057" y="148417"/>
                    </a:cubicBezTo>
                    <a:lnTo>
                      <a:pt x="6118057" y="183765"/>
                    </a:lnTo>
                    <a:cubicBezTo>
                      <a:pt x="6118057" y="192802"/>
                      <a:pt x="6119884" y="199242"/>
                      <a:pt x="6123540" y="203085"/>
                    </a:cubicBezTo>
                    <a:cubicBezTo>
                      <a:pt x="6127196" y="206928"/>
                      <a:pt x="6133556" y="208934"/>
                      <a:pt x="6142618" y="209103"/>
                    </a:cubicBezTo>
                    <a:lnTo>
                      <a:pt x="6142618" y="228614"/>
                    </a:lnTo>
                    <a:cubicBezTo>
                      <a:pt x="6105955" y="228276"/>
                      <a:pt x="6087624" y="215438"/>
                      <a:pt x="6087624" y="190099"/>
                    </a:cubicBezTo>
                    <a:lnTo>
                      <a:pt x="6087624" y="152725"/>
                    </a:lnTo>
                    <a:cubicBezTo>
                      <a:pt x="6087624" y="136001"/>
                      <a:pt x="6079591" y="127217"/>
                      <a:pt x="6063525" y="126372"/>
                    </a:cubicBezTo>
                    <a:lnTo>
                      <a:pt x="6063525" y="107876"/>
                    </a:lnTo>
                    <a:cubicBezTo>
                      <a:pt x="6079591" y="107031"/>
                      <a:pt x="6087624" y="98078"/>
                      <a:pt x="6087624" y="81016"/>
                    </a:cubicBezTo>
                    <a:lnTo>
                      <a:pt x="6087624" y="44655"/>
                    </a:lnTo>
                    <a:cubicBezTo>
                      <a:pt x="6087624" y="18979"/>
                      <a:pt x="6105955" y="5972"/>
                      <a:pt x="6142618" y="5634"/>
                    </a:cubicBezTo>
                    <a:close/>
                    <a:moveTo>
                      <a:pt x="3154027" y="5634"/>
                    </a:moveTo>
                    <a:cubicBezTo>
                      <a:pt x="3190485" y="5972"/>
                      <a:pt x="3208713" y="18979"/>
                      <a:pt x="3208713" y="44655"/>
                    </a:cubicBezTo>
                    <a:lnTo>
                      <a:pt x="3208713" y="81016"/>
                    </a:lnTo>
                    <a:cubicBezTo>
                      <a:pt x="3208713" y="98078"/>
                      <a:pt x="3216694" y="107031"/>
                      <a:pt x="3232657" y="107876"/>
                    </a:cubicBezTo>
                    <a:lnTo>
                      <a:pt x="3232657" y="126372"/>
                    </a:lnTo>
                    <a:cubicBezTo>
                      <a:pt x="3216694" y="127217"/>
                      <a:pt x="3208713" y="136001"/>
                      <a:pt x="3208713" y="152725"/>
                    </a:cubicBezTo>
                    <a:lnTo>
                      <a:pt x="3208713" y="190099"/>
                    </a:lnTo>
                    <a:cubicBezTo>
                      <a:pt x="3208713" y="215438"/>
                      <a:pt x="3190485" y="228276"/>
                      <a:pt x="3154027" y="228614"/>
                    </a:cubicBezTo>
                    <a:lnTo>
                      <a:pt x="3154027" y="209103"/>
                    </a:lnTo>
                    <a:cubicBezTo>
                      <a:pt x="3162987" y="208934"/>
                      <a:pt x="3169346" y="206907"/>
                      <a:pt x="3173105" y="203022"/>
                    </a:cubicBezTo>
                    <a:cubicBezTo>
                      <a:pt x="3176864" y="199137"/>
                      <a:pt x="3178744" y="192718"/>
                      <a:pt x="3178744" y="183765"/>
                    </a:cubicBezTo>
                    <a:lnTo>
                      <a:pt x="3178744" y="148417"/>
                    </a:lnTo>
                    <a:cubicBezTo>
                      <a:pt x="3178744" y="131272"/>
                      <a:pt x="3188888" y="120840"/>
                      <a:pt x="3209176" y="117124"/>
                    </a:cubicBezTo>
                    <a:lnTo>
                      <a:pt x="3209176" y="116744"/>
                    </a:lnTo>
                    <a:cubicBezTo>
                      <a:pt x="3188888" y="112774"/>
                      <a:pt x="3178744" y="102259"/>
                      <a:pt x="3178744" y="85197"/>
                    </a:cubicBezTo>
                    <a:lnTo>
                      <a:pt x="3178744" y="49470"/>
                    </a:lnTo>
                    <a:cubicBezTo>
                      <a:pt x="3178744" y="33675"/>
                      <a:pt x="3170505" y="25609"/>
                      <a:pt x="3154027" y="25272"/>
                    </a:cubicBezTo>
                    <a:close/>
                    <a:moveTo>
                      <a:pt x="3132709" y="5634"/>
                    </a:moveTo>
                    <a:lnTo>
                      <a:pt x="3132709" y="25272"/>
                    </a:lnTo>
                    <a:cubicBezTo>
                      <a:pt x="3116334" y="25609"/>
                      <a:pt x="3108147" y="33675"/>
                      <a:pt x="3108147" y="49470"/>
                    </a:cubicBezTo>
                    <a:lnTo>
                      <a:pt x="3108147" y="85197"/>
                    </a:lnTo>
                    <a:cubicBezTo>
                      <a:pt x="3108147" y="102259"/>
                      <a:pt x="3097899" y="112774"/>
                      <a:pt x="3077405" y="116744"/>
                    </a:cubicBezTo>
                    <a:lnTo>
                      <a:pt x="3077405" y="117124"/>
                    </a:lnTo>
                    <a:cubicBezTo>
                      <a:pt x="3097899" y="120840"/>
                      <a:pt x="3108147" y="131272"/>
                      <a:pt x="3108147" y="148417"/>
                    </a:cubicBezTo>
                    <a:lnTo>
                      <a:pt x="3108147" y="183765"/>
                    </a:lnTo>
                    <a:cubicBezTo>
                      <a:pt x="3108147" y="192802"/>
                      <a:pt x="3109974" y="199242"/>
                      <a:pt x="3113631" y="203085"/>
                    </a:cubicBezTo>
                    <a:cubicBezTo>
                      <a:pt x="3117286" y="206928"/>
                      <a:pt x="3123646" y="208934"/>
                      <a:pt x="3132709" y="209103"/>
                    </a:cubicBezTo>
                    <a:lnTo>
                      <a:pt x="3132709" y="228614"/>
                    </a:lnTo>
                    <a:cubicBezTo>
                      <a:pt x="3096045" y="228276"/>
                      <a:pt x="3077714" y="215438"/>
                      <a:pt x="3077714" y="190099"/>
                    </a:cubicBezTo>
                    <a:lnTo>
                      <a:pt x="3077714" y="152725"/>
                    </a:lnTo>
                    <a:cubicBezTo>
                      <a:pt x="3077714" y="136001"/>
                      <a:pt x="3069681" y="127217"/>
                      <a:pt x="3053615" y="126372"/>
                    </a:cubicBezTo>
                    <a:lnTo>
                      <a:pt x="3053615" y="107876"/>
                    </a:lnTo>
                    <a:cubicBezTo>
                      <a:pt x="3069681" y="107031"/>
                      <a:pt x="3077714" y="98078"/>
                      <a:pt x="3077714" y="81016"/>
                    </a:cubicBezTo>
                    <a:lnTo>
                      <a:pt x="3077714" y="44655"/>
                    </a:lnTo>
                    <a:cubicBezTo>
                      <a:pt x="3077714" y="18979"/>
                      <a:pt x="3096045" y="5972"/>
                      <a:pt x="3132709" y="5634"/>
                    </a:cubicBezTo>
                    <a:close/>
                    <a:moveTo>
                      <a:pt x="100413" y="5634"/>
                    </a:moveTo>
                    <a:cubicBezTo>
                      <a:pt x="136869" y="5972"/>
                      <a:pt x="155098" y="18979"/>
                      <a:pt x="155098" y="44655"/>
                    </a:cubicBezTo>
                    <a:lnTo>
                      <a:pt x="155098" y="81016"/>
                    </a:lnTo>
                    <a:cubicBezTo>
                      <a:pt x="155098" y="98078"/>
                      <a:pt x="163079" y="107031"/>
                      <a:pt x="179043" y="107876"/>
                    </a:cubicBezTo>
                    <a:lnTo>
                      <a:pt x="179043" y="126372"/>
                    </a:lnTo>
                    <a:cubicBezTo>
                      <a:pt x="163079" y="127217"/>
                      <a:pt x="155098" y="136001"/>
                      <a:pt x="155098" y="152725"/>
                    </a:cubicBezTo>
                    <a:lnTo>
                      <a:pt x="155098" y="190099"/>
                    </a:lnTo>
                    <a:cubicBezTo>
                      <a:pt x="155098" y="215438"/>
                      <a:pt x="136869" y="228276"/>
                      <a:pt x="100413" y="228614"/>
                    </a:cubicBezTo>
                    <a:lnTo>
                      <a:pt x="100413" y="209103"/>
                    </a:lnTo>
                    <a:cubicBezTo>
                      <a:pt x="109372" y="208934"/>
                      <a:pt x="115731" y="206907"/>
                      <a:pt x="119491" y="203022"/>
                    </a:cubicBezTo>
                    <a:cubicBezTo>
                      <a:pt x="123249" y="199137"/>
                      <a:pt x="125129" y="192718"/>
                      <a:pt x="125129" y="183765"/>
                    </a:cubicBezTo>
                    <a:lnTo>
                      <a:pt x="125129" y="148417"/>
                    </a:lnTo>
                    <a:cubicBezTo>
                      <a:pt x="125129" y="131272"/>
                      <a:pt x="135273" y="120840"/>
                      <a:pt x="155561" y="117124"/>
                    </a:cubicBezTo>
                    <a:lnTo>
                      <a:pt x="155561" y="116744"/>
                    </a:lnTo>
                    <a:cubicBezTo>
                      <a:pt x="135273" y="112774"/>
                      <a:pt x="125129" y="102259"/>
                      <a:pt x="125129" y="85197"/>
                    </a:cubicBezTo>
                    <a:lnTo>
                      <a:pt x="125129" y="49470"/>
                    </a:lnTo>
                    <a:cubicBezTo>
                      <a:pt x="125129" y="33675"/>
                      <a:pt x="116890" y="25609"/>
                      <a:pt x="100413" y="25272"/>
                    </a:cubicBezTo>
                    <a:close/>
                    <a:moveTo>
                      <a:pt x="79093" y="5634"/>
                    </a:moveTo>
                    <a:lnTo>
                      <a:pt x="79093" y="25272"/>
                    </a:lnTo>
                    <a:cubicBezTo>
                      <a:pt x="62719" y="25609"/>
                      <a:pt x="54531" y="33675"/>
                      <a:pt x="54531" y="49470"/>
                    </a:cubicBezTo>
                    <a:lnTo>
                      <a:pt x="54531" y="85197"/>
                    </a:lnTo>
                    <a:cubicBezTo>
                      <a:pt x="54531" y="102259"/>
                      <a:pt x="44284" y="112774"/>
                      <a:pt x="23790" y="116744"/>
                    </a:cubicBezTo>
                    <a:lnTo>
                      <a:pt x="23790" y="117124"/>
                    </a:lnTo>
                    <a:cubicBezTo>
                      <a:pt x="44284" y="120840"/>
                      <a:pt x="54531" y="131272"/>
                      <a:pt x="54531" y="148417"/>
                    </a:cubicBezTo>
                    <a:lnTo>
                      <a:pt x="54531" y="183765"/>
                    </a:lnTo>
                    <a:cubicBezTo>
                      <a:pt x="54531" y="192802"/>
                      <a:pt x="56360" y="199242"/>
                      <a:pt x="60016" y="203085"/>
                    </a:cubicBezTo>
                    <a:cubicBezTo>
                      <a:pt x="63672" y="206928"/>
                      <a:pt x="70031" y="208934"/>
                      <a:pt x="79093" y="209103"/>
                    </a:cubicBezTo>
                    <a:lnTo>
                      <a:pt x="79093" y="228614"/>
                    </a:lnTo>
                    <a:cubicBezTo>
                      <a:pt x="42431" y="228276"/>
                      <a:pt x="24099" y="215438"/>
                      <a:pt x="24099" y="190099"/>
                    </a:cubicBezTo>
                    <a:lnTo>
                      <a:pt x="24099" y="152725"/>
                    </a:lnTo>
                    <a:cubicBezTo>
                      <a:pt x="24099" y="136001"/>
                      <a:pt x="16066" y="127217"/>
                      <a:pt x="0" y="126372"/>
                    </a:cubicBezTo>
                    <a:lnTo>
                      <a:pt x="0" y="107876"/>
                    </a:lnTo>
                    <a:cubicBezTo>
                      <a:pt x="16066" y="107031"/>
                      <a:pt x="24099" y="98078"/>
                      <a:pt x="24099" y="81016"/>
                    </a:cubicBezTo>
                    <a:lnTo>
                      <a:pt x="24099" y="44655"/>
                    </a:lnTo>
                    <a:cubicBezTo>
                      <a:pt x="24099" y="18979"/>
                      <a:pt x="42431" y="5972"/>
                      <a:pt x="79093" y="5634"/>
                    </a:cubicBezTo>
                    <a:close/>
                    <a:moveTo>
                      <a:pt x="9418528" y="0"/>
                    </a:moveTo>
                    <a:lnTo>
                      <a:pt x="9446603" y="0"/>
                    </a:lnTo>
                    <a:lnTo>
                      <a:pt x="9432827" y="67137"/>
                    </a:lnTo>
                    <a:lnTo>
                      <a:pt x="9475027" y="67137"/>
                    </a:lnTo>
                    <a:lnTo>
                      <a:pt x="9489326" y="0"/>
                    </a:lnTo>
                    <a:lnTo>
                      <a:pt x="9516879" y="0"/>
                    </a:lnTo>
                    <a:lnTo>
                      <a:pt x="9502928" y="67137"/>
                    </a:lnTo>
                    <a:lnTo>
                      <a:pt x="9542687" y="67137"/>
                    </a:lnTo>
                    <a:lnTo>
                      <a:pt x="9537281" y="91551"/>
                    </a:lnTo>
                    <a:lnTo>
                      <a:pt x="9497697" y="91551"/>
                    </a:lnTo>
                    <a:lnTo>
                      <a:pt x="9487583" y="139680"/>
                    </a:lnTo>
                    <a:lnTo>
                      <a:pt x="9530829" y="139680"/>
                    </a:lnTo>
                    <a:lnTo>
                      <a:pt x="9524725" y="164093"/>
                    </a:lnTo>
                    <a:lnTo>
                      <a:pt x="9482526" y="164093"/>
                    </a:lnTo>
                    <a:lnTo>
                      <a:pt x="9468226" y="228614"/>
                    </a:lnTo>
                    <a:lnTo>
                      <a:pt x="9440499" y="228614"/>
                    </a:lnTo>
                    <a:lnTo>
                      <a:pt x="9454450" y="164093"/>
                    </a:lnTo>
                    <a:lnTo>
                      <a:pt x="9412250" y="164093"/>
                    </a:lnTo>
                    <a:lnTo>
                      <a:pt x="9398648" y="228614"/>
                    </a:lnTo>
                    <a:lnTo>
                      <a:pt x="9370922" y="228614"/>
                    </a:lnTo>
                    <a:lnTo>
                      <a:pt x="9384523" y="164093"/>
                    </a:lnTo>
                    <a:lnTo>
                      <a:pt x="9344590" y="164093"/>
                    </a:lnTo>
                    <a:lnTo>
                      <a:pt x="9349472" y="139680"/>
                    </a:lnTo>
                    <a:lnTo>
                      <a:pt x="9389929" y="139680"/>
                    </a:lnTo>
                    <a:lnTo>
                      <a:pt x="9399520" y="91551"/>
                    </a:lnTo>
                    <a:lnTo>
                      <a:pt x="9356971" y="91551"/>
                    </a:lnTo>
                    <a:lnTo>
                      <a:pt x="9362028" y="67137"/>
                    </a:lnTo>
                    <a:lnTo>
                      <a:pt x="9404577" y="67137"/>
                    </a:lnTo>
                    <a:close/>
                    <a:moveTo>
                      <a:pt x="3354190" y="0"/>
                    </a:moveTo>
                    <a:lnTo>
                      <a:pt x="3382265" y="0"/>
                    </a:lnTo>
                    <a:lnTo>
                      <a:pt x="3368489" y="67137"/>
                    </a:lnTo>
                    <a:lnTo>
                      <a:pt x="3410689" y="67137"/>
                    </a:lnTo>
                    <a:lnTo>
                      <a:pt x="3424988" y="0"/>
                    </a:lnTo>
                    <a:lnTo>
                      <a:pt x="3452541" y="0"/>
                    </a:lnTo>
                    <a:lnTo>
                      <a:pt x="3438590" y="67137"/>
                    </a:lnTo>
                    <a:lnTo>
                      <a:pt x="3478349" y="67137"/>
                    </a:lnTo>
                    <a:lnTo>
                      <a:pt x="3472944" y="91551"/>
                    </a:lnTo>
                    <a:lnTo>
                      <a:pt x="3433359" y="91551"/>
                    </a:lnTo>
                    <a:lnTo>
                      <a:pt x="3423245" y="139680"/>
                    </a:lnTo>
                    <a:lnTo>
                      <a:pt x="3466491" y="139680"/>
                    </a:lnTo>
                    <a:lnTo>
                      <a:pt x="3460388" y="164093"/>
                    </a:lnTo>
                    <a:lnTo>
                      <a:pt x="3418188" y="164093"/>
                    </a:lnTo>
                    <a:lnTo>
                      <a:pt x="3403889" y="228614"/>
                    </a:lnTo>
                    <a:lnTo>
                      <a:pt x="3376161" y="228614"/>
                    </a:lnTo>
                    <a:lnTo>
                      <a:pt x="3390112" y="164093"/>
                    </a:lnTo>
                    <a:lnTo>
                      <a:pt x="3347912" y="164093"/>
                    </a:lnTo>
                    <a:lnTo>
                      <a:pt x="3334310" y="228614"/>
                    </a:lnTo>
                    <a:lnTo>
                      <a:pt x="3306584" y="228614"/>
                    </a:lnTo>
                    <a:lnTo>
                      <a:pt x="3320185" y="164093"/>
                    </a:lnTo>
                    <a:lnTo>
                      <a:pt x="3280252" y="164093"/>
                    </a:lnTo>
                    <a:lnTo>
                      <a:pt x="3285135" y="139680"/>
                    </a:lnTo>
                    <a:lnTo>
                      <a:pt x="3325591" y="139680"/>
                    </a:lnTo>
                    <a:lnTo>
                      <a:pt x="3335182" y="91551"/>
                    </a:lnTo>
                    <a:lnTo>
                      <a:pt x="3292633" y="91551"/>
                    </a:lnTo>
                    <a:lnTo>
                      <a:pt x="3297690" y="67137"/>
                    </a:lnTo>
                    <a:lnTo>
                      <a:pt x="3340239"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1" name="Freeform 400"/>
              <p:cNvSpPr/>
              <p:nvPr/>
            </p:nvSpPr>
            <p:spPr>
              <a:xfrm>
                <a:off x="87923" y="73882"/>
                <a:ext cx="10276619" cy="222980"/>
              </a:xfrm>
              <a:custGeom>
                <a:avLst/>
                <a:gdLst>
                  <a:gd name="connsiteX0" fmla="*/ 10261713 w 10276619"/>
                  <a:gd name="connsiteY0" fmla="*/ 0 h 222980"/>
                  <a:gd name="connsiteX1" fmla="*/ 10276619 w 10276619"/>
                  <a:gd name="connsiteY1" fmla="*/ 0 h 222980"/>
                  <a:gd name="connsiteX2" fmla="*/ 10276619 w 10276619"/>
                  <a:gd name="connsiteY2" fmla="*/ 222980 h 222980"/>
                  <a:gd name="connsiteX3" fmla="*/ 10241331 w 10276619"/>
                  <a:gd name="connsiteY3" fmla="*/ 222980 h 222980"/>
                  <a:gd name="connsiteX4" fmla="*/ 10241331 w 10276619"/>
                  <a:gd name="connsiteY4" fmla="*/ 43196 h 222980"/>
                  <a:gd name="connsiteX5" fmla="*/ 10220722 w 10276619"/>
                  <a:gd name="connsiteY5" fmla="*/ 54832 h 222980"/>
                  <a:gd name="connsiteX6" fmla="*/ 10195549 w 10276619"/>
                  <a:gd name="connsiteY6" fmla="*/ 63274 h 222980"/>
                  <a:gd name="connsiteX7" fmla="*/ 10195549 w 10276619"/>
                  <a:gd name="connsiteY7" fmla="*/ 33158 h 222980"/>
                  <a:gd name="connsiteX8" fmla="*/ 10212584 w 10276619"/>
                  <a:gd name="connsiteY8" fmla="*/ 27074 h 222980"/>
                  <a:gd name="connsiteX9" fmla="*/ 10228783 w 10276619"/>
                  <a:gd name="connsiteY9" fmla="*/ 19925 h 222980"/>
                  <a:gd name="connsiteX10" fmla="*/ 10244906 w 10276619"/>
                  <a:gd name="connsiteY10" fmla="*/ 11103 h 222980"/>
                  <a:gd name="connsiteX11" fmla="*/ 10261713 w 10276619"/>
                  <a:gd name="connsiteY11" fmla="*/ 0 h 222980"/>
                  <a:gd name="connsiteX12" fmla="*/ 9373689 w 10276619"/>
                  <a:gd name="connsiteY12" fmla="*/ 0 h 222980"/>
                  <a:gd name="connsiteX13" fmla="*/ 9388595 w 10276619"/>
                  <a:gd name="connsiteY13" fmla="*/ 0 h 222980"/>
                  <a:gd name="connsiteX14" fmla="*/ 9388595 w 10276619"/>
                  <a:gd name="connsiteY14" fmla="*/ 222980 h 222980"/>
                  <a:gd name="connsiteX15" fmla="*/ 9353307 w 10276619"/>
                  <a:gd name="connsiteY15" fmla="*/ 222980 h 222980"/>
                  <a:gd name="connsiteX16" fmla="*/ 9353307 w 10276619"/>
                  <a:gd name="connsiteY16" fmla="*/ 43196 h 222980"/>
                  <a:gd name="connsiteX17" fmla="*/ 9332698 w 10276619"/>
                  <a:gd name="connsiteY17" fmla="*/ 54832 h 222980"/>
                  <a:gd name="connsiteX18" fmla="*/ 9307525 w 10276619"/>
                  <a:gd name="connsiteY18" fmla="*/ 63274 h 222980"/>
                  <a:gd name="connsiteX19" fmla="*/ 9307525 w 10276619"/>
                  <a:gd name="connsiteY19" fmla="*/ 33158 h 222980"/>
                  <a:gd name="connsiteX20" fmla="*/ 9324560 w 10276619"/>
                  <a:gd name="connsiteY20" fmla="*/ 27074 h 222980"/>
                  <a:gd name="connsiteX21" fmla="*/ 9340759 w 10276619"/>
                  <a:gd name="connsiteY21" fmla="*/ 19925 h 222980"/>
                  <a:gd name="connsiteX22" fmla="*/ 9356882 w 10276619"/>
                  <a:gd name="connsiteY22" fmla="*/ 11103 h 222980"/>
                  <a:gd name="connsiteX23" fmla="*/ 9373689 w 10276619"/>
                  <a:gd name="connsiteY23" fmla="*/ 0 h 222980"/>
                  <a:gd name="connsiteX24" fmla="*/ 7503858 w 10276619"/>
                  <a:gd name="connsiteY24" fmla="*/ 0 h 222980"/>
                  <a:gd name="connsiteX25" fmla="*/ 7518764 w 10276619"/>
                  <a:gd name="connsiteY25" fmla="*/ 0 h 222980"/>
                  <a:gd name="connsiteX26" fmla="*/ 7518764 w 10276619"/>
                  <a:gd name="connsiteY26" fmla="*/ 222980 h 222980"/>
                  <a:gd name="connsiteX27" fmla="*/ 7483476 w 10276619"/>
                  <a:gd name="connsiteY27" fmla="*/ 222980 h 222980"/>
                  <a:gd name="connsiteX28" fmla="*/ 7483476 w 10276619"/>
                  <a:gd name="connsiteY28" fmla="*/ 43196 h 222980"/>
                  <a:gd name="connsiteX29" fmla="*/ 7462867 w 10276619"/>
                  <a:gd name="connsiteY29" fmla="*/ 54832 h 222980"/>
                  <a:gd name="connsiteX30" fmla="*/ 7437694 w 10276619"/>
                  <a:gd name="connsiteY30" fmla="*/ 63274 h 222980"/>
                  <a:gd name="connsiteX31" fmla="*/ 7437694 w 10276619"/>
                  <a:gd name="connsiteY31" fmla="*/ 33158 h 222980"/>
                  <a:gd name="connsiteX32" fmla="*/ 7454729 w 10276619"/>
                  <a:gd name="connsiteY32" fmla="*/ 27074 h 222980"/>
                  <a:gd name="connsiteX33" fmla="*/ 7470928 w 10276619"/>
                  <a:gd name="connsiteY33" fmla="*/ 19925 h 222980"/>
                  <a:gd name="connsiteX34" fmla="*/ 7487051 w 10276619"/>
                  <a:gd name="connsiteY34" fmla="*/ 11103 h 222980"/>
                  <a:gd name="connsiteX35" fmla="*/ 7503858 w 10276619"/>
                  <a:gd name="connsiteY35" fmla="*/ 0 h 222980"/>
                  <a:gd name="connsiteX36" fmla="*/ 6132258 w 10276619"/>
                  <a:gd name="connsiteY36" fmla="*/ 0 h 222980"/>
                  <a:gd name="connsiteX37" fmla="*/ 6147164 w 10276619"/>
                  <a:gd name="connsiteY37" fmla="*/ 0 h 222980"/>
                  <a:gd name="connsiteX38" fmla="*/ 6147164 w 10276619"/>
                  <a:gd name="connsiteY38" fmla="*/ 222980 h 222980"/>
                  <a:gd name="connsiteX39" fmla="*/ 6111876 w 10276619"/>
                  <a:gd name="connsiteY39" fmla="*/ 222980 h 222980"/>
                  <a:gd name="connsiteX40" fmla="*/ 6111876 w 10276619"/>
                  <a:gd name="connsiteY40" fmla="*/ 43196 h 222980"/>
                  <a:gd name="connsiteX41" fmla="*/ 6091267 w 10276619"/>
                  <a:gd name="connsiteY41" fmla="*/ 54832 h 222980"/>
                  <a:gd name="connsiteX42" fmla="*/ 6066094 w 10276619"/>
                  <a:gd name="connsiteY42" fmla="*/ 63274 h 222980"/>
                  <a:gd name="connsiteX43" fmla="*/ 6066094 w 10276619"/>
                  <a:gd name="connsiteY43" fmla="*/ 33158 h 222980"/>
                  <a:gd name="connsiteX44" fmla="*/ 6083129 w 10276619"/>
                  <a:gd name="connsiteY44" fmla="*/ 27074 h 222980"/>
                  <a:gd name="connsiteX45" fmla="*/ 6099328 w 10276619"/>
                  <a:gd name="connsiteY45" fmla="*/ 19925 h 222980"/>
                  <a:gd name="connsiteX46" fmla="*/ 6115451 w 10276619"/>
                  <a:gd name="connsiteY46" fmla="*/ 11103 h 222980"/>
                  <a:gd name="connsiteX47" fmla="*/ 6132258 w 10276619"/>
                  <a:gd name="connsiteY47" fmla="*/ 0 h 222980"/>
                  <a:gd name="connsiteX48" fmla="*/ 4211355 w 10276619"/>
                  <a:gd name="connsiteY48" fmla="*/ 0 h 222980"/>
                  <a:gd name="connsiteX49" fmla="*/ 4226261 w 10276619"/>
                  <a:gd name="connsiteY49" fmla="*/ 0 h 222980"/>
                  <a:gd name="connsiteX50" fmla="*/ 4226261 w 10276619"/>
                  <a:gd name="connsiteY50" fmla="*/ 222980 h 222980"/>
                  <a:gd name="connsiteX51" fmla="*/ 4190973 w 10276619"/>
                  <a:gd name="connsiteY51" fmla="*/ 222980 h 222980"/>
                  <a:gd name="connsiteX52" fmla="*/ 4190973 w 10276619"/>
                  <a:gd name="connsiteY52" fmla="*/ 43196 h 222980"/>
                  <a:gd name="connsiteX53" fmla="*/ 4170364 w 10276619"/>
                  <a:gd name="connsiteY53" fmla="*/ 54832 h 222980"/>
                  <a:gd name="connsiteX54" fmla="*/ 4145191 w 10276619"/>
                  <a:gd name="connsiteY54" fmla="*/ 63274 h 222980"/>
                  <a:gd name="connsiteX55" fmla="*/ 4145191 w 10276619"/>
                  <a:gd name="connsiteY55" fmla="*/ 33158 h 222980"/>
                  <a:gd name="connsiteX56" fmla="*/ 4162226 w 10276619"/>
                  <a:gd name="connsiteY56" fmla="*/ 27074 h 222980"/>
                  <a:gd name="connsiteX57" fmla="*/ 4178425 w 10276619"/>
                  <a:gd name="connsiteY57" fmla="*/ 19925 h 222980"/>
                  <a:gd name="connsiteX58" fmla="*/ 4194548 w 10276619"/>
                  <a:gd name="connsiteY58" fmla="*/ 11103 h 222980"/>
                  <a:gd name="connsiteX59" fmla="*/ 4211355 w 10276619"/>
                  <a:gd name="connsiteY59" fmla="*/ 0 h 222980"/>
                  <a:gd name="connsiteX60" fmla="*/ 3321650 w 10276619"/>
                  <a:gd name="connsiteY60" fmla="*/ 0 h 222980"/>
                  <a:gd name="connsiteX61" fmla="*/ 3336556 w 10276619"/>
                  <a:gd name="connsiteY61" fmla="*/ 0 h 222980"/>
                  <a:gd name="connsiteX62" fmla="*/ 3336556 w 10276619"/>
                  <a:gd name="connsiteY62" fmla="*/ 222980 h 222980"/>
                  <a:gd name="connsiteX63" fmla="*/ 3301269 w 10276619"/>
                  <a:gd name="connsiteY63" fmla="*/ 222980 h 222980"/>
                  <a:gd name="connsiteX64" fmla="*/ 3301269 w 10276619"/>
                  <a:gd name="connsiteY64" fmla="*/ 43196 h 222980"/>
                  <a:gd name="connsiteX65" fmla="*/ 3280659 w 10276619"/>
                  <a:gd name="connsiteY65" fmla="*/ 54832 h 222980"/>
                  <a:gd name="connsiteX66" fmla="*/ 3255486 w 10276619"/>
                  <a:gd name="connsiteY66" fmla="*/ 63274 h 222980"/>
                  <a:gd name="connsiteX67" fmla="*/ 3255486 w 10276619"/>
                  <a:gd name="connsiteY67" fmla="*/ 33158 h 222980"/>
                  <a:gd name="connsiteX68" fmla="*/ 3272521 w 10276619"/>
                  <a:gd name="connsiteY68" fmla="*/ 27074 h 222980"/>
                  <a:gd name="connsiteX69" fmla="*/ 3288721 w 10276619"/>
                  <a:gd name="connsiteY69" fmla="*/ 19925 h 222980"/>
                  <a:gd name="connsiteX70" fmla="*/ 3304843 w 10276619"/>
                  <a:gd name="connsiteY70" fmla="*/ 11103 h 222980"/>
                  <a:gd name="connsiteX71" fmla="*/ 3321650 w 10276619"/>
                  <a:gd name="connsiteY71" fmla="*/ 0 h 222980"/>
                  <a:gd name="connsiteX72" fmla="*/ 1438110 w 10276619"/>
                  <a:gd name="connsiteY72" fmla="*/ 0 h 222980"/>
                  <a:gd name="connsiteX73" fmla="*/ 1453016 w 10276619"/>
                  <a:gd name="connsiteY73" fmla="*/ 0 h 222980"/>
                  <a:gd name="connsiteX74" fmla="*/ 1453016 w 10276619"/>
                  <a:gd name="connsiteY74" fmla="*/ 222980 h 222980"/>
                  <a:gd name="connsiteX75" fmla="*/ 1417728 w 10276619"/>
                  <a:gd name="connsiteY75" fmla="*/ 222980 h 222980"/>
                  <a:gd name="connsiteX76" fmla="*/ 1417728 w 10276619"/>
                  <a:gd name="connsiteY76" fmla="*/ 43196 h 222980"/>
                  <a:gd name="connsiteX77" fmla="*/ 1397119 w 10276619"/>
                  <a:gd name="connsiteY77" fmla="*/ 54832 h 222980"/>
                  <a:gd name="connsiteX78" fmla="*/ 1371946 w 10276619"/>
                  <a:gd name="connsiteY78" fmla="*/ 63274 h 222980"/>
                  <a:gd name="connsiteX79" fmla="*/ 1371946 w 10276619"/>
                  <a:gd name="connsiteY79" fmla="*/ 33158 h 222980"/>
                  <a:gd name="connsiteX80" fmla="*/ 1388981 w 10276619"/>
                  <a:gd name="connsiteY80" fmla="*/ 27074 h 222980"/>
                  <a:gd name="connsiteX81" fmla="*/ 1405180 w 10276619"/>
                  <a:gd name="connsiteY81" fmla="*/ 19925 h 222980"/>
                  <a:gd name="connsiteX82" fmla="*/ 1421303 w 10276619"/>
                  <a:gd name="connsiteY82" fmla="*/ 11103 h 222980"/>
                  <a:gd name="connsiteX83" fmla="*/ 1438110 w 10276619"/>
                  <a:gd name="connsiteY83" fmla="*/ 0 h 222980"/>
                  <a:gd name="connsiteX84" fmla="*/ 66164 w 10276619"/>
                  <a:gd name="connsiteY84" fmla="*/ 0 h 222980"/>
                  <a:gd name="connsiteX85" fmla="*/ 81070 w 10276619"/>
                  <a:gd name="connsiteY85" fmla="*/ 0 h 222980"/>
                  <a:gd name="connsiteX86" fmla="*/ 81070 w 10276619"/>
                  <a:gd name="connsiteY86" fmla="*/ 222980 h 222980"/>
                  <a:gd name="connsiteX87" fmla="*/ 45782 w 10276619"/>
                  <a:gd name="connsiteY87" fmla="*/ 222980 h 222980"/>
                  <a:gd name="connsiteX88" fmla="*/ 45782 w 10276619"/>
                  <a:gd name="connsiteY88" fmla="*/ 43196 h 222980"/>
                  <a:gd name="connsiteX89" fmla="*/ 25173 w 10276619"/>
                  <a:gd name="connsiteY89" fmla="*/ 54832 h 222980"/>
                  <a:gd name="connsiteX90" fmla="*/ 0 w 10276619"/>
                  <a:gd name="connsiteY90" fmla="*/ 63274 h 222980"/>
                  <a:gd name="connsiteX91" fmla="*/ 0 w 10276619"/>
                  <a:gd name="connsiteY91" fmla="*/ 33158 h 222980"/>
                  <a:gd name="connsiteX92" fmla="*/ 17035 w 10276619"/>
                  <a:gd name="connsiteY92" fmla="*/ 27074 h 222980"/>
                  <a:gd name="connsiteX93" fmla="*/ 33234 w 10276619"/>
                  <a:gd name="connsiteY93" fmla="*/ 19925 h 222980"/>
                  <a:gd name="connsiteX94" fmla="*/ 49357 w 10276619"/>
                  <a:gd name="connsiteY94" fmla="*/ 11103 h 222980"/>
                  <a:gd name="connsiteX95" fmla="*/ 66164 w 10276619"/>
                  <a:gd name="connsiteY9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276619" h="222980">
                    <a:moveTo>
                      <a:pt x="10261713" y="0"/>
                    </a:moveTo>
                    <a:lnTo>
                      <a:pt x="10276619" y="0"/>
                    </a:lnTo>
                    <a:lnTo>
                      <a:pt x="10276619" y="222980"/>
                    </a:lnTo>
                    <a:lnTo>
                      <a:pt x="10241331" y="222980"/>
                    </a:lnTo>
                    <a:lnTo>
                      <a:pt x="10241331" y="43196"/>
                    </a:lnTo>
                    <a:cubicBezTo>
                      <a:pt x="10234943" y="47760"/>
                      <a:pt x="10228073" y="51638"/>
                      <a:pt x="10220722" y="54832"/>
                    </a:cubicBezTo>
                    <a:cubicBezTo>
                      <a:pt x="10213370" y="58027"/>
                      <a:pt x="10204979" y="60840"/>
                      <a:pt x="10195549" y="63274"/>
                    </a:cubicBezTo>
                    <a:lnTo>
                      <a:pt x="10195549" y="33158"/>
                    </a:lnTo>
                    <a:cubicBezTo>
                      <a:pt x="10201430" y="31232"/>
                      <a:pt x="10207109" y="29203"/>
                      <a:pt x="10212584" y="27074"/>
                    </a:cubicBezTo>
                    <a:cubicBezTo>
                      <a:pt x="10218060" y="24945"/>
                      <a:pt x="10223460" y="22561"/>
                      <a:pt x="10228783" y="19925"/>
                    </a:cubicBezTo>
                    <a:cubicBezTo>
                      <a:pt x="10234107" y="17289"/>
                      <a:pt x="10239481" y="14348"/>
                      <a:pt x="10244906" y="11103"/>
                    </a:cubicBezTo>
                    <a:cubicBezTo>
                      <a:pt x="10250331" y="7859"/>
                      <a:pt x="10255933" y="4157"/>
                      <a:pt x="10261713" y="0"/>
                    </a:cubicBezTo>
                    <a:close/>
                    <a:moveTo>
                      <a:pt x="9373689" y="0"/>
                    </a:moveTo>
                    <a:lnTo>
                      <a:pt x="9388595" y="0"/>
                    </a:lnTo>
                    <a:lnTo>
                      <a:pt x="9388595" y="222980"/>
                    </a:lnTo>
                    <a:lnTo>
                      <a:pt x="9353307" y="222980"/>
                    </a:lnTo>
                    <a:lnTo>
                      <a:pt x="9353307" y="43196"/>
                    </a:lnTo>
                    <a:cubicBezTo>
                      <a:pt x="9346919" y="47760"/>
                      <a:pt x="9340049" y="51638"/>
                      <a:pt x="9332698" y="54832"/>
                    </a:cubicBezTo>
                    <a:cubicBezTo>
                      <a:pt x="9325346" y="58027"/>
                      <a:pt x="9316955" y="60840"/>
                      <a:pt x="9307525" y="63274"/>
                    </a:cubicBezTo>
                    <a:lnTo>
                      <a:pt x="9307525" y="33158"/>
                    </a:lnTo>
                    <a:cubicBezTo>
                      <a:pt x="9313406" y="31232"/>
                      <a:pt x="9319085" y="29203"/>
                      <a:pt x="9324560" y="27074"/>
                    </a:cubicBezTo>
                    <a:cubicBezTo>
                      <a:pt x="9330036" y="24945"/>
                      <a:pt x="9335436" y="22561"/>
                      <a:pt x="9340759" y="19925"/>
                    </a:cubicBezTo>
                    <a:cubicBezTo>
                      <a:pt x="9346083" y="17289"/>
                      <a:pt x="9351457" y="14348"/>
                      <a:pt x="9356882" y="11103"/>
                    </a:cubicBezTo>
                    <a:cubicBezTo>
                      <a:pt x="9362307" y="7859"/>
                      <a:pt x="9367909" y="4157"/>
                      <a:pt x="9373689" y="0"/>
                    </a:cubicBezTo>
                    <a:close/>
                    <a:moveTo>
                      <a:pt x="7503858" y="0"/>
                    </a:moveTo>
                    <a:lnTo>
                      <a:pt x="7518764" y="0"/>
                    </a:lnTo>
                    <a:lnTo>
                      <a:pt x="7518764" y="222980"/>
                    </a:lnTo>
                    <a:lnTo>
                      <a:pt x="7483476" y="222980"/>
                    </a:lnTo>
                    <a:lnTo>
                      <a:pt x="7483476" y="43196"/>
                    </a:lnTo>
                    <a:cubicBezTo>
                      <a:pt x="7477088" y="47760"/>
                      <a:pt x="7470219" y="51638"/>
                      <a:pt x="7462867" y="54832"/>
                    </a:cubicBezTo>
                    <a:cubicBezTo>
                      <a:pt x="7455515" y="58027"/>
                      <a:pt x="7447125" y="60840"/>
                      <a:pt x="7437694" y="63274"/>
                    </a:cubicBezTo>
                    <a:lnTo>
                      <a:pt x="7437694" y="33158"/>
                    </a:lnTo>
                    <a:cubicBezTo>
                      <a:pt x="7443575" y="31232"/>
                      <a:pt x="7449254" y="29203"/>
                      <a:pt x="7454729" y="27074"/>
                    </a:cubicBezTo>
                    <a:cubicBezTo>
                      <a:pt x="7460205" y="24945"/>
                      <a:pt x="7465605" y="22561"/>
                      <a:pt x="7470928" y="19925"/>
                    </a:cubicBezTo>
                    <a:cubicBezTo>
                      <a:pt x="7476252" y="17289"/>
                      <a:pt x="7481626" y="14348"/>
                      <a:pt x="7487051" y="11103"/>
                    </a:cubicBezTo>
                    <a:cubicBezTo>
                      <a:pt x="7492476" y="7859"/>
                      <a:pt x="7498078" y="4157"/>
                      <a:pt x="7503858" y="0"/>
                    </a:cubicBezTo>
                    <a:close/>
                    <a:moveTo>
                      <a:pt x="6132258" y="0"/>
                    </a:moveTo>
                    <a:lnTo>
                      <a:pt x="6147164" y="0"/>
                    </a:lnTo>
                    <a:lnTo>
                      <a:pt x="6147164" y="222980"/>
                    </a:lnTo>
                    <a:lnTo>
                      <a:pt x="6111876" y="222980"/>
                    </a:lnTo>
                    <a:lnTo>
                      <a:pt x="6111876" y="43196"/>
                    </a:lnTo>
                    <a:cubicBezTo>
                      <a:pt x="6105488" y="47760"/>
                      <a:pt x="6098619" y="51638"/>
                      <a:pt x="6091267" y="54832"/>
                    </a:cubicBezTo>
                    <a:cubicBezTo>
                      <a:pt x="6083915" y="58027"/>
                      <a:pt x="6075525" y="60840"/>
                      <a:pt x="6066094" y="63274"/>
                    </a:cubicBezTo>
                    <a:lnTo>
                      <a:pt x="6066094" y="33158"/>
                    </a:lnTo>
                    <a:cubicBezTo>
                      <a:pt x="6071975" y="31232"/>
                      <a:pt x="6077654" y="29203"/>
                      <a:pt x="6083129" y="27074"/>
                    </a:cubicBezTo>
                    <a:cubicBezTo>
                      <a:pt x="6088605" y="24945"/>
                      <a:pt x="6094005" y="22561"/>
                      <a:pt x="6099328" y="19925"/>
                    </a:cubicBezTo>
                    <a:cubicBezTo>
                      <a:pt x="6104652" y="17289"/>
                      <a:pt x="6110026" y="14348"/>
                      <a:pt x="6115451" y="11103"/>
                    </a:cubicBezTo>
                    <a:cubicBezTo>
                      <a:pt x="6120876" y="7859"/>
                      <a:pt x="6126478" y="4157"/>
                      <a:pt x="6132258" y="0"/>
                    </a:cubicBezTo>
                    <a:close/>
                    <a:moveTo>
                      <a:pt x="4211355" y="0"/>
                    </a:moveTo>
                    <a:lnTo>
                      <a:pt x="4226261" y="0"/>
                    </a:lnTo>
                    <a:lnTo>
                      <a:pt x="4226261" y="222980"/>
                    </a:lnTo>
                    <a:lnTo>
                      <a:pt x="4190973" y="222980"/>
                    </a:lnTo>
                    <a:lnTo>
                      <a:pt x="4190973" y="43196"/>
                    </a:lnTo>
                    <a:cubicBezTo>
                      <a:pt x="4184585" y="47760"/>
                      <a:pt x="4177716" y="51638"/>
                      <a:pt x="4170364" y="54832"/>
                    </a:cubicBezTo>
                    <a:cubicBezTo>
                      <a:pt x="4163012" y="58027"/>
                      <a:pt x="4154622" y="60840"/>
                      <a:pt x="4145191" y="63274"/>
                    </a:cubicBezTo>
                    <a:lnTo>
                      <a:pt x="4145191" y="33158"/>
                    </a:lnTo>
                    <a:cubicBezTo>
                      <a:pt x="4151072" y="31232"/>
                      <a:pt x="4156751" y="29203"/>
                      <a:pt x="4162226" y="27074"/>
                    </a:cubicBezTo>
                    <a:cubicBezTo>
                      <a:pt x="4167702" y="24945"/>
                      <a:pt x="4173102" y="22561"/>
                      <a:pt x="4178425" y="19925"/>
                    </a:cubicBezTo>
                    <a:cubicBezTo>
                      <a:pt x="4183749" y="17289"/>
                      <a:pt x="4189123" y="14348"/>
                      <a:pt x="4194548" y="11103"/>
                    </a:cubicBezTo>
                    <a:cubicBezTo>
                      <a:pt x="4199973" y="7859"/>
                      <a:pt x="4205575" y="4157"/>
                      <a:pt x="4211355" y="0"/>
                    </a:cubicBezTo>
                    <a:close/>
                    <a:moveTo>
                      <a:pt x="3321650" y="0"/>
                    </a:moveTo>
                    <a:lnTo>
                      <a:pt x="3336556" y="0"/>
                    </a:lnTo>
                    <a:lnTo>
                      <a:pt x="3336556" y="222980"/>
                    </a:lnTo>
                    <a:lnTo>
                      <a:pt x="3301269" y="222980"/>
                    </a:lnTo>
                    <a:lnTo>
                      <a:pt x="3301269" y="43196"/>
                    </a:lnTo>
                    <a:cubicBezTo>
                      <a:pt x="3294881" y="47760"/>
                      <a:pt x="3288011" y="51638"/>
                      <a:pt x="3280659" y="54832"/>
                    </a:cubicBezTo>
                    <a:cubicBezTo>
                      <a:pt x="3273308" y="58027"/>
                      <a:pt x="3264917" y="60840"/>
                      <a:pt x="3255486" y="63274"/>
                    </a:cubicBezTo>
                    <a:lnTo>
                      <a:pt x="3255486" y="33158"/>
                    </a:lnTo>
                    <a:cubicBezTo>
                      <a:pt x="3261368" y="31232"/>
                      <a:pt x="3267046" y="29203"/>
                      <a:pt x="3272521" y="27074"/>
                    </a:cubicBezTo>
                    <a:cubicBezTo>
                      <a:pt x="3277998" y="24945"/>
                      <a:pt x="3283397" y="22561"/>
                      <a:pt x="3288721" y="19925"/>
                    </a:cubicBezTo>
                    <a:cubicBezTo>
                      <a:pt x="3294044" y="17289"/>
                      <a:pt x="3299418" y="14348"/>
                      <a:pt x="3304843" y="11103"/>
                    </a:cubicBezTo>
                    <a:cubicBezTo>
                      <a:pt x="3310268" y="7859"/>
                      <a:pt x="3315870" y="4157"/>
                      <a:pt x="3321650" y="0"/>
                    </a:cubicBezTo>
                    <a:close/>
                    <a:moveTo>
                      <a:pt x="1438110" y="0"/>
                    </a:moveTo>
                    <a:lnTo>
                      <a:pt x="1453016" y="0"/>
                    </a:lnTo>
                    <a:lnTo>
                      <a:pt x="1453016" y="222980"/>
                    </a:lnTo>
                    <a:lnTo>
                      <a:pt x="1417728" y="222980"/>
                    </a:lnTo>
                    <a:lnTo>
                      <a:pt x="1417728" y="43196"/>
                    </a:lnTo>
                    <a:cubicBezTo>
                      <a:pt x="1411340" y="47760"/>
                      <a:pt x="1404470" y="51638"/>
                      <a:pt x="1397119" y="54832"/>
                    </a:cubicBezTo>
                    <a:cubicBezTo>
                      <a:pt x="1389767" y="58027"/>
                      <a:pt x="1381376" y="60840"/>
                      <a:pt x="1371946" y="63274"/>
                    </a:cubicBezTo>
                    <a:lnTo>
                      <a:pt x="1371946" y="33158"/>
                    </a:lnTo>
                    <a:cubicBezTo>
                      <a:pt x="1377827" y="31232"/>
                      <a:pt x="1383506" y="29203"/>
                      <a:pt x="1388981" y="27074"/>
                    </a:cubicBezTo>
                    <a:cubicBezTo>
                      <a:pt x="1394457" y="24945"/>
                      <a:pt x="1399857" y="22561"/>
                      <a:pt x="1405180" y="19925"/>
                    </a:cubicBezTo>
                    <a:cubicBezTo>
                      <a:pt x="1410504" y="17289"/>
                      <a:pt x="1415878" y="14348"/>
                      <a:pt x="1421303" y="11103"/>
                    </a:cubicBezTo>
                    <a:cubicBezTo>
                      <a:pt x="1426728" y="7859"/>
                      <a:pt x="1432330" y="4157"/>
                      <a:pt x="1438110" y="0"/>
                    </a:cubicBezTo>
                    <a:close/>
                    <a:moveTo>
                      <a:pt x="66164" y="0"/>
                    </a:moveTo>
                    <a:lnTo>
                      <a:pt x="81070" y="0"/>
                    </a:lnTo>
                    <a:lnTo>
                      <a:pt x="81070" y="222980"/>
                    </a:lnTo>
                    <a:lnTo>
                      <a:pt x="45782" y="222980"/>
                    </a:lnTo>
                    <a:lnTo>
                      <a:pt x="45782" y="43196"/>
                    </a:lnTo>
                    <a:cubicBezTo>
                      <a:pt x="39394" y="47760"/>
                      <a:pt x="32525" y="51638"/>
                      <a:pt x="25173" y="54832"/>
                    </a:cubicBezTo>
                    <a:cubicBezTo>
                      <a:pt x="17821" y="58027"/>
                      <a:pt x="9431" y="60840"/>
                      <a:pt x="0" y="63274"/>
                    </a:cubicBezTo>
                    <a:lnTo>
                      <a:pt x="0" y="33158"/>
                    </a:lnTo>
                    <a:cubicBezTo>
                      <a:pt x="5881" y="31232"/>
                      <a:pt x="11560" y="29203"/>
                      <a:pt x="17035" y="27074"/>
                    </a:cubicBezTo>
                    <a:cubicBezTo>
                      <a:pt x="22511" y="24945"/>
                      <a:pt x="27911" y="22561"/>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2" name="Freeform 401"/>
              <p:cNvSpPr/>
              <p:nvPr/>
            </p:nvSpPr>
            <p:spPr>
              <a:xfrm>
                <a:off x="269726" y="73882"/>
                <a:ext cx="11882586" cy="222980"/>
              </a:xfrm>
              <a:custGeom>
                <a:avLst/>
                <a:gdLst>
                  <a:gd name="connsiteX0" fmla="*/ 6146181 w 11882586"/>
                  <a:gd name="connsiteY0" fmla="*/ 27835 h 222980"/>
                  <a:gd name="connsiteX1" fmla="*/ 6106911 w 11882586"/>
                  <a:gd name="connsiteY1" fmla="*/ 114349 h 222980"/>
                  <a:gd name="connsiteX2" fmla="*/ 6145429 w 11882586"/>
                  <a:gd name="connsiteY2" fmla="*/ 195295 h 222980"/>
                  <a:gd name="connsiteX3" fmla="*/ 6183344 w 11882586"/>
                  <a:gd name="connsiteY3" fmla="*/ 112995 h 222980"/>
                  <a:gd name="connsiteX4" fmla="*/ 6146181 w 11882586"/>
                  <a:gd name="connsiteY4" fmla="*/ 27835 h 222980"/>
                  <a:gd name="connsiteX5" fmla="*/ 5611095 w 11882586"/>
                  <a:gd name="connsiteY5" fmla="*/ 27835 h 222980"/>
                  <a:gd name="connsiteX6" fmla="*/ 5571825 w 11882586"/>
                  <a:gd name="connsiteY6" fmla="*/ 114349 h 222980"/>
                  <a:gd name="connsiteX7" fmla="*/ 5610343 w 11882586"/>
                  <a:gd name="connsiteY7" fmla="*/ 195295 h 222980"/>
                  <a:gd name="connsiteX8" fmla="*/ 5648258 w 11882586"/>
                  <a:gd name="connsiteY8" fmla="*/ 112995 h 222980"/>
                  <a:gd name="connsiteX9" fmla="*/ 5611095 w 11882586"/>
                  <a:gd name="connsiteY9" fmla="*/ 27835 h 222980"/>
                  <a:gd name="connsiteX10" fmla="*/ 4913445 w 11882586"/>
                  <a:gd name="connsiteY10" fmla="*/ 27835 h 222980"/>
                  <a:gd name="connsiteX11" fmla="*/ 4874175 w 11882586"/>
                  <a:gd name="connsiteY11" fmla="*/ 114349 h 222980"/>
                  <a:gd name="connsiteX12" fmla="*/ 4912693 w 11882586"/>
                  <a:gd name="connsiteY12" fmla="*/ 195295 h 222980"/>
                  <a:gd name="connsiteX13" fmla="*/ 4950608 w 11882586"/>
                  <a:gd name="connsiteY13" fmla="*/ 112995 h 222980"/>
                  <a:gd name="connsiteX14" fmla="*/ 4913445 w 11882586"/>
                  <a:gd name="connsiteY14" fmla="*/ 27835 h 222980"/>
                  <a:gd name="connsiteX15" fmla="*/ 3661708 w 11882586"/>
                  <a:gd name="connsiteY15" fmla="*/ 27835 h 222980"/>
                  <a:gd name="connsiteX16" fmla="*/ 3622438 w 11882586"/>
                  <a:gd name="connsiteY16" fmla="*/ 114349 h 222980"/>
                  <a:gd name="connsiteX17" fmla="*/ 3660955 w 11882586"/>
                  <a:gd name="connsiteY17" fmla="*/ 195295 h 222980"/>
                  <a:gd name="connsiteX18" fmla="*/ 3698871 w 11882586"/>
                  <a:gd name="connsiteY18" fmla="*/ 112995 h 222980"/>
                  <a:gd name="connsiteX19" fmla="*/ 3661708 w 11882586"/>
                  <a:gd name="connsiteY19" fmla="*/ 27835 h 222980"/>
                  <a:gd name="connsiteX20" fmla="*/ 3437044 w 11882586"/>
                  <a:gd name="connsiteY20" fmla="*/ 27835 h 222980"/>
                  <a:gd name="connsiteX21" fmla="*/ 3397774 w 11882586"/>
                  <a:gd name="connsiteY21" fmla="*/ 114349 h 222980"/>
                  <a:gd name="connsiteX22" fmla="*/ 3436291 w 11882586"/>
                  <a:gd name="connsiteY22" fmla="*/ 195295 h 222980"/>
                  <a:gd name="connsiteX23" fmla="*/ 3474207 w 11882586"/>
                  <a:gd name="connsiteY23" fmla="*/ 112995 h 222980"/>
                  <a:gd name="connsiteX24" fmla="*/ 3437044 w 11882586"/>
                  <a:gd name="connsiteY24" fmla="*/ 27835 h 222980"/>
                  <a:gd name="connsiteX25" fmla="*/ 74929 w 11882586"/>
                  <a:gd name="connsiteY25" fmla="*/ 27835 h 222980"/>
                  <a:gd name="connsiteX26" fmla="*/ 35659 w 11882586"/>
                  <a:gd name="connsiteY26" fmla="*/ 114349 h 222980"/>
                  <a:gd name="connsiteX27" fmla="*/ 74177 w 11882586"/>
                  <a:gd name="connsiteY27" fmla="*/ 195295 h 222980"/>
                  <a:gd name="connsiteX28" fmla="*/ 112092 w 11882586"/>
                  <a:gd name="connsiteY28" fmla="*/ 112995 h 222980"/>
                  <a:gd name="connsiteX29" fmla="*/ 74929 w 11882586"/>
                  <a:gd name="connsiteY29" fmla="*/ 27835 h 222980"/>
                  <a:gd name="connsiteX30" fmla="*/ 11674351 w 11882586"/>
                  <a:gd name="connsiteY30" fmla="*/ 27835 h 222980"/>
                  <a:gd name="connsiteX31" fmla="*/ 11635081 w 11882586"/>
                  <a:gd name="connsiteY31" fmla="*/ 114349 h 222980"/>
                  <a:gd name="connsiteX32" fmla="*/ 11673599 w 11882586"/>
                  <a:gd name="connsiteY32" fmla="*/ 195295 h 222980"/>
                  <a:gd name="connsiteX33" fmla="*/ 11711514 w 11882586"/>
                  <a:gd name="connsiteY33" fmla="*/ 112995 h 222980"/>
                  <a:gd name="connsiteX34" fmla="*/ 11674351 w 11882586"/>
                  <a:gd name="connsiteY34" fmla="*/ 27835 h 222980"/>
                  <a:gd name="connsiteX35" fmla="*/ 10967789 w 11882586"/>
                  <a:gd name="connsiteY35" fmla="*/ 27835 h 222980"/>
                  <a:gd name="connsiteX36" fmla="*/ 10928519 w 11882586"/>
                  <a:gd name="connsiteY36" fmla="*/ 114349 h 222980"/>
                  <a:gd name="connsiteX37" fmla="*/ 10967037 w 11882586"/>
                  <a:gd name="connsiteY37" fmla="*/ 195295 h 222980"/>
                  <a:gd name="connsiteX38" fmla="*/ 11004952 w 11882586"/>
                  <a:gd name="connsiteY38" fmla="*/ 112995 h 222980"/>
                  <a:gd name="connsiteX39" fmla="*/ 10967789 w 11882586"/>
                  <a:gd name="connsiteY39" fmla="*/ 27835 h 222980"/>
                  <a:gd name="connsiteX40" fmla="*/ 9720270 w 11882586"/>
                  <a:gd name="connsiteY40" fmla="*/ 27835 h 222980"/>
                  <a:gd name="connsiteX41" fmla="*/ 9681000 w 11882586"/>
                  <a:gd name="connsiteY41" fmla="*/ 114349 h 222980"/>
                  <a:gd name="connsiteX42" fmla="*/ 9719518 w 11882586"/>
                  <a:gd name="connsiteY42" fmla="*/ 195295 h 222980"/>
                  <a:gd name="connsiteX43" fmla="*/ 9757433 w 11882586"/>
                  <a:gd name="connsiteY43" fmla="*/ 112995 h 222980"/>
                  <a:gd name="connsiteX44" fmla="*/ 9720270 w 11882586"/>
                  <a:gd name="connsiteY44" fmla="*/ 27835 h 222980"/>
                  <a:gd name="connsiteX45" fmla="*/ 9500826 w 11882586"/>
                  <a:gd name="connsiteY45" fmla="*/ 27835 h 222980"/>
                  <a:gd name="connsiteX46" fmla="*/ 9461556 w 11882586"/>
                  <a:gd name="connsiteY46" fmla="*/ 114349 h 222980"/>
                  <a:gd name="connsiteX47" fmla="*/ 9500074 w 11882586"/>
                  <a:gd name="connsiteY47" fmla="*/ 195295 h 222980"/>
                  <a:gd name="connsiteX48" fmla="*/ 9537989 w 11882586"/>
                  <a:gd name="connsiteY48" fmla="*/ 112995 h 222980"/>
                  <a:gd name="connsiteX49" fmla="*/ 9500826 w 11882586"/>
                  <a:gd name="connsiteY49" fmla="*/ 27835 h 222980"/>
                  <a:gd name="connsiteX50" fmla="*/ 11867680 w 11882586"/>
                  <a:gd name="connsiteY50" fmla="*/ 0 h 222980"/>
                  <a:gd name="connsiteX51" fmla="*/ 11882586 w 11882586"/>
                  <a:gd name="connsiteY51" fmla="*/ 0 h 222980"/>
                  <a:gd name="connsiteX52" fmla="*/ 11882586 w 11882586"/>
                  <a:gd name="connsiteY52" fmla="*/ 222980 h 222980"/>
                  <a:gd name="connsiteX53" fmla="*/ 11847298 w 11882586"/>
                  <a:gd name="connsiteY53" fmla="*/ 222980 h 222980"/>
                  <a:gd name="connsiteX54" fmla="*/ 11847298 w 11882586"/>
                  <a:gd name="connsiteY54" fmla="*/ 43196 h 222980"/>
                  <a:gd name="connsiteX55" fmla="*/ 11826689 w 11882586"/>
                  <a:gd name="connsiteY55" fmla="*/ 54832 h 222980"/>
                  <a:gd name="connsiteX56" fmla="*/ 11801516 w 11882586"/>
                  <a:gd name="connsiteY56" fmla="*/ 63274 h 222980"/>
                  <a:gd name="connsiteX57" fmla="*/ 11801516 w 11882586"/>
                  <a:gd name="connsiteY57" fmla="*/ 33158 h 222980"/>
                  <a:gd name="connsiteX58" fmla="*/ 11818551 w 11882586"/>
                  <a:gd name="connsiteY58" fmla="*/ 27074 h 222980"/>
                  <a:gd name="connsiteX59" fmla="*/ 11834750 w 11882586"/>
                  <a:gd name="connsiteY59" fmla="*/ 19925 h 222980"/>
                  <a:gd name="connsiteX60" fmla="*/ 11850873 w 11882586"/>
                  <a:gd name="connsiteY60" fmla="*/ 11103 h 222980"/>
                  <a:gd name="connsiteX61" fmla="*/ 11867680 w 11882586"/>
                  <a:gd name="connsiteY61" fmla="*/ 0 h 222980"/>
                  <a:gd name="connsiteX62" fmla="*/ 11676006 w 11882586"/>
                  <a:gd name="connsiteY62" fmla="*/ 0 h 222980"/>
                  <a:gd name="connsiteX63" fmla="*/ 11747173 w 11882586"/>
                  <a:gd name="connsiteY63" fmla="*/ 110587 h 222980"/>
                  <a:gd name="connsiteX64" fmla="*/ 11727087 w 11882586"/>
                  <a:gd name="connsiteY64" fmla="*/ 194167 h 222980"/>
                  <a:gd name="connsiteX65" fmla="*/ 11670890 w 11882586"/>
                  <a:gd name="connsiteY65" fmla="*/ 222980 h 222980"/>
                  <a:gd name="connsiteX66" fmla="*/ 11618305 w 11882586"/>
                  <a:gd name="connsiteY66" fmla="*/ 195446 h 222980"/>
                  <a:gd name="connsiteX67" fmla="*/ 11599422 w 11882586"/>
                  <a:gd name="connsiteY67" fmla="*/ 115854 h 222980"/>
                  <a:gd name="connsiteX68" fmla="*/ 11619132 w 11882586"/>
                  <a:gd name="connsiteY68" fmla="*/ 29339 h 222980"/>
                  <a:gd name="connsiteX69" fmla="*/ 11676006 w 11882586"/>
                  <a:gd name="connsiteY69" fmla="*/ 0 h 222980"/>
                  <a:gd name="connsiteX70" fmla="*/ 10969444 w 11882586"/>
                  <a:gd name="connsiteY70" fmla="*/ 0 h 222980"/>
                  <a:gd name="connsiteX71" fmla="*/ 11040611 w 11882586"/>
                  <a:gd name="connsiteY71" fmla="*/ 110587 h 222980"/>
                  <a:gd name="connsiteX72" fmla="*/ 11020525 w 11882586"/>
                  <a:gd name="connsiteY72" fmla="*/ 194167 h 222980"/>
                  <a:gd name="connsiteX73" fmla="*/ 10964328 w 11882586"/>
                  <a:gd name="connsiteY73" fmla="*/ 222980 h 222980"/>
                  <a:gd name="connsiteX74" fmla="*/ 10911743 w 11882586"/>
                  <a:gd name="connsiteY74" fmla="*/ 195446 h 222980"/>
                  <a:gd name="connsiteX75" fmla="*/ 10892860 w 11882586"/>
                  <a:gd name="connsiteY75" fmla="*/ 115854 h 222980"/>
                  <a:gd name="connsiteX76" fmla="*/ 10912570 w 11882586"/>
                  <a:gd name="connsiteY76" fmla="*/ 29339 h 222980"/>
                  <a:gd name="connsiteX77" fmla="*/ 10969444 w 11882586"/>
                  <a:gd name="connsiteY77" fmla="*/ 0 h 222980"/>
                  <a:gd name="connsiteX78" fmla="*/ 10595726 w 11882586"/>
                  <a:gd name="connsiteY78" fmla="*/ 0 h 222980"/>
                  <a:gd name="connsiteX79" fmla="*/ 10610632 w 11882586"/>
                  <a:gd name="connsiteY79" fmla="*/ 0 h 222980"/>
                  <a:gd name="connsiteX80" fmla="*/ 10610632 w 11882586"/>
                  <a:gd name="connsiteY80" fmla="*/ 222980 h 222980"/>
                  <a:gd name="connsiteX81" fmla="*/ 10575344 w 11882586"/>
                  <a:gd name="connsiteY81" fmla="*/ 222980 h 222980"/>
                  <a:gd name="connsiteX82" fmla="*/ 10575344 w 11882586"/>
                  <a:gd name="connsiteY82" fmla="*/ 43196 h 222980"/>
                  <a:gd name="connsiteX83" fmla="*/ 10554735 w 11882586"/>
                  <a:gd name="connsiteY83" fmla="*/ 54832 h 222980"/>
                  <a:gd name="connsiteX84" fmla="*/ 10529562 w 11882586"/>
                  <a:gd name="connsiteY84" fmla="*/ 63274 h 222980"/>
                  <a:gd name="connsiteX85" fmla="*/ 10529562 w 11882586"/>
                  <a:gd name="connsiteY85" fmla="*/ 33158 h 222980"/>
                  <a:gd name="connsiteX86" fmla="*/ 10546597 w 11882586"/>
                  <a:gd name="connsiteY86" fmla="*/ 27074 h 222980"/>
                  <a:gd name="connsiteX87" fmla="*/ 10562796 w 11882586"/>
                  <a:gd name="connsiteY87" fmla="*/ 19925 h 222980"/>
                  <a:gd name="connsiteX88" fmla="*/ 10578919 w 11882586"/>
                  <a:gd name="connsiteY88" fmla="*/ 11103 h 222980"/>
                  <a:gd name="connsiteX89" fmla="*/ 10595726 w 11882586"/>
                  <a:gd name="connsiteY89" fmla="*/ 0 h 222980"/>
                  <a:gd name="connsiteX90" fmla="*/ 10223518 w 11882586"/>
                  <a:gd name="connsiteY90" fmla="*/ 0 h 222980"/>
                  <a:gd name="connsiteX91" fmla="*/ 10238424 w 11882586"/>
                  <a:gd name="connsiteY91" fmla="*/ 0 h 222980"/>
                  <a:gd name="connsiteX92" fmla="*/ 10238424 w 11882586"/>
                  <a:gd name="connsiteY92" fmla="*/ 222980 h 222980"/>
                  <a:gd name="connsiteX93" fmla="*/ 10203136 w 11882586"/>
                  <a:gd name="connsiteY93" fmla="*/ 222980 h 222980"/>
                  <a:gd name="connsiteX94" fmla="*/ 10203136 w 11882586"/>
                  <a:gd name="connsiteY94" fmla="*/ 43196 h 222980"/>
                  <a:gd name="connsiteX95" fmla="*/ 10182527 w 11882586"/>
                  <a:gd name="connsiteY95" fmla="*/ 54832 h 222980"/>
                  <a:gd name="connsiteX96" fmla="*/ 10157354 w 11882586"/>
                  <a:gd name="connsiteY96" fmla="*/ 63274 h 222980"/>
                  <a:gd name="connsiteX97" fmla="*/ 10157354 w 11882586"/>
                  <a:gd name="connsiteY97" fmla="*/ 33158 h 222980"/>
                  <a:gd name="connsiteX98" fmla="*/ 10174389 w 11882586"/>
                  <a:gd name="connsiteY98" fmla="*/ 27074 h 222980"/>
                  <a:gd name="connsiteX99" fmla="*/ 10190588 w 11882586"/>
                  <a:gd name="connsiteY99" fmla="*/ 19925 h 222980"/>
                  <a:gd name="connsiteX100" fmla="*/ 10206711 w 11882586"/>
                  <a:gd name="connsiteY100" fmla="*/ 11103 h 222980"/>
                  <a:gd name="connsiteX101" fmla="*/ 10223518 w 11882586"/>
                  <a:gd name="connsiteY101" fmla="*/ 0 h 222980"/>
                  <a:gd name="connsiteX102" fmla="*/ 9936302 w 11882586"/>
                  <a:gd name="connsiteY102" fmla="*/ 0 h 222980"/>
                  <a:gd name="connsiteX103" fmla="*/ 9951208 w 11882586"/>
                  <a:gd name="connsiteY103" fmla="*/ 0 h 222980"/>
                  <a:gd name="connsiteX104" fmla="*/ 9951208 w 11882586"/>
                  <a:gd name="connsiteY104" fmla="*/ 222980 h 222980"/>
                  <a:gd name="connsiteX105" fmla="*/ 9915920 w 11882586"/>
                  <a:gd name="connsiteY105" fmla="*/ 222980 h 222980"/>
                  <a:gd name="connsiteX106" fmla="*/ 9915920 w 11882586"/>
                  <a:gd name="connsiteY106" fmla="*/ 43196 h 222980"/>
                  <a:gd name="connsiteX107" fmla="*/ 9895311 w 11882586"/>
                  <a:gd name="connsiteY107" fmla="*/ 54832 h 222980"/>
                  <a:gd name="connsiteX108" fmla="*/ 9870138 w 11882586"/>
                  <a:gd name="connsiteY108" fmla="*/ 63274 h 222980"/>
                  <a:gd name="connsiteX109" fmla="*/ 9870138 w 11882586"/>
                  <a:gd name="connsiteY109" fmla="*/ 33158 h 222980"/>
                  <a:gd name="connsiteX110" fmla="*/ 9887173 w 11882586"/>
                  <a:gd name="connsiteY110" fmla="*/ 27074 h 222980"/>
                  <a:gd name="connsiteX111" fmla="*/ 9903372 w 11882586"/>
                  <a:gd name="connsiteY111" fmla="*/ 19925 h 222980"/>
                  <a:gd name="connsiteX112" fmla="*/ 9919495 w 11882586"/>
                  <a:gd name="connsiteY112" fmla="*/ 11103 h 222980"/>
                  <a:gd name="connsiteX113" fmla="*/ 9936302 w 11882586"/>
                  <a:gd name="connsiteY113" fmla="*/ 0 h 222980"/>
                  <a:gd name="connsiteX114" fmla="*/ 9721925 w 11882586"/>
                  <a:gd name="connsiteY114" fmla="*/ 0 h 222980"/>
                  <a:gd name="connsiteX115" fmla="*/ 9793092 w 11882586"/>
                  <a:gd name="connsiteY115" fmla="*/ 110587 h 222980"/>
                  <a:gd name="connsiteX116" fmla="*/ 9773006 w 11882586"/>
                  <a:gd name="connsiteY116" fmla="*/ 194167 h 222980"/>
                  <a:gd name="connsiteX117" fmla="*/ 9716809 w 11882586"/>
                  <a:gd name="connsiteY117" fmla="*/ 222980 h 222980"/>
                  <a:gd name="connsiteX118" fmla="*/ 9664224 w 11882586"/>
                  <a:gd name="connsiteY118" fmla="*/ 195446 h 222980"/>
                  <a:gd name="connsiteX119" fmla="*/ 9645341 w 11882586"/>
                  <a:gd name="connsiteY119" fmla="*/ 115854 h 222980"/>
                  <a:gd name="connsiteX120" fmla="*/ 9665051 w 11882586"/>
                  <a:gd name="connsiteY120" fmla="*/ 29339 h 222980"/>
                  <a:gd name="connsiteX121" fmla="*/ 9721925 w 11882586"/>
                  <a:gd name="connsiteY121" fmla="*/ 0 h 222980"/>
                  <a:gd name="connsiteX122" fmla="*/ 9502481 w 11882586"/>
                  <a:gd name="connsiteY122" fmla="*/ 0 h 222980"/>
                  <a:gd name="connsiteX123" fmla="*/ 9573648 w 11882586"/>
                  <a:gd name="connsiteY123" fmla="*/ 110587 h 222980"/>
                  <a:gd name="connsiteX124" fmla="*/ 9553562 w 11882586"/>
                  <a:gd name="connsiteY124" fmla="*/ 194167 h 222980"/>
                  <a:gd name="connsiteX125" fmla="*/ 9497365 w 11882586"/>
                  <a:gd name="connsiteY125" fmla="*/ 222980 h 222980"/>
                  <a:gd name="connsiteX126" fmla="*/ 9444780 w 11882586"/>
                  <a:gd name="connsiteY126" fmla="*/ 195446 h 222980"/>
                  <a:gd name="connsiteX127" fmla="*/ 9425897 w 11882586"/>
                  <a:gd name="connsiteY127" fmla="*/ 115854 h 222980"/>
                  <a:gd name="connsiteX128" fmla="*/ 9445607 w 11882586"/>
                  <a:gd name="connsiteY128" fmla="*/ 29339 h 222980"/>
                  <a:gd name="connsiteX129" fmla="*/ 9502481 w 11882586"/>
                  <a:gd name="connsiteY129" fmla="*/ 0 h 222980"/>
                  <a:gd name="connsiteX130" fmla="*/ 9335494 w 11882586"/>
                  <a:gd name="connsiteY130" fmla="*/ 0 h 222980"/>
                  <a:gd name="connsiteX131" fmla="*/ 9350400 w 11882586"/>
                  <a:gd name="connsiteY131" fmla="*/ 0 h 222980"/>
                  <a:gd name="connsiteX132" fmla="*/ 9350400 w 11882586"/>
                  <a:gd name="connsiteY132" fmla="*/ 222980 h 222980"/>
                  <a:gd name="connsiteX133" fmla="*/ 9315112 w 11882586"/>
                  <a:gd name="connsiteY133" fmla="*/ 222980 h 222980"/>
                  <a:gd name="connsiteX134" fmla="*/ 9315112 w 11882586"/>
                  <a:gd name="connsiteY134" fmla="*/ 43196 h 222980"/>
                  <a:gd name="connsiteX135" fmla="*/ 9294503 w 11882586"/>
                  <a:gd name="connsiteY135" fmla="*/ 54832 h 222980"/>
                  <a:gd name="connsiteX136" fmla="*/ 9269330 w 11882586"/>
                  <a:gd name="connsiteY136" fmla="*/ 63274 h 222980"/>
                  <a:gd name="connsiteX137" fmla="*/ 9269330 w 11882586"/>
                  <a:gd name="connsiteY137" fmla="*/ 33158 h 222980"/>
                  <a:gd name="connsiteX138" fmla="*/ 9286365 w 11882586"/>
                  <a:gd name="connsiteY138" fmla="*/ 27074 h 222980"/>
                  <a:gd name="connsiteX139" fmla="*/ 9302564 w 11882586"/>
                  <a:gd name="connsiteY139" fmla="*/ 19925 h 222980"/>
                  <a:gd name="connsiteX140" fmla="*/ 9318687 w 11882586"/>
                  <a:gd name="connsiteY140" fmla="*/ 11103 h 222980"/>
                  <a:gd name="connsiteX141" fmla="*/ 9335494 w 11882586"/>
                  <a:gd name="connsiteY141" fmla="*/ 0 h 222980"/>
                  <a:gd name="connsiteX142" fmla="*/ 9048278 w 11882586"/>
                  <a:gd name="connsiteY142" fmla="*/ 0 h 222980"/>
                  <a:gd name="connsiteX143" fmla="*/ 9063184 w 11882586"/>
                  <a:gd name="connsiteY143" fmla="*/ 0 h 222980"/>
                  <a:gd name="connsiteX144" fmla="*/ 9063184 w 11882586"/>
                  <a:gd name="connsiteY144" fmla="*/ 222980 h 222980"/>
                  <a:gd name="connsiteX145" fmla="*/ 9027896 w 11882586"/>
                  <a:gd name="connsiteY145" fmla="*/ 222980 h 222980"/>
                  <a:gd name="connsiteX146" fmla="*/ 9027896 w 11882586"/>
                  <a:gd name="connsiteY146" fmla="*/ 43196 h 222980"/>
                  <a:gd name="connsiteX147" fmla="*/ 9007287 w 11882586"/>
                  <a:gd name="connsiteY147" fmla="*/ 54832 h 222980"/>
                  <a:gd name="connsiteX148" fmla="*/ 8982114 w 11882586"/>
                  <a:gd name="connsiteY148" fmla="*/ 63274 h 222980"/>
                  <a:gd name="connsiteX149" fmla="*/ 8982114 w 11882586"/>
                  <a:gd name="connsiteY149" fmla="*/ 33158 h 222980"/>
                  <a:gd name="connsiteX150" fmla="*/ 8999149 w 11882586"/>
                  <a:gd name="connsiteY150" fmla="*/ 27074 h 222980"/>
                  <a:gd name="connsiteX151" fmla="*/ 9015348 w 11882586"/>
                  <a:gd name="connsiteY151" fmla="*/ 19925 h 222980"/>
                  <a:gd name="connsiteX152" fmla="*/ 9031471 w 11882586"/>
                  <a:gd name="connsiteY152" fmla="*/ 11103 h 222980"/>
                  <a:gd name="connsiteX153" fmla="*/ 9048278 w 11882586"/>
                  <a:gd name="connsiteY153" fmla="*/ 0 h 222980"/>
                  <a:gd name="connsiteX154" fmla="*/ 8658487 w 11882586"/>
                  <a:gd name="connsiteY154" fmla="*/ 0 h 222980"/>
                  <a:gd name="connsiteX155" fmla="*/ 8673393 w 11882586"/>
                  <a:gd name="connsiteY155" fmla="*/ 0 h 222980"/>
                  <a:gd name="connsiteX156" fmla="*/ 8673393 w 11882586"/>
                  <a:gd name="connsiteY156" fmla="*/ 222980 h 222980"/>
                  <a:gd name="connsiteX157" fmla="*/ 8638105 w 11882586"/>
                  <a:gd name="connsiteY157" fmla="*/ 222980 h 222980"/>
                  <a:gd name="connsiteX158" fmla="*/ 8638105 w 11882586"/>
                  <a:gd name="connsiteY158" fmla="*/ 43196 h 222980"/>
                  <a:gd name="connsiteX159" fmla="*/ 8617496 w 11882586"/>
                  <a:gd name="connsiteY159" fmla="*/ 54832 h 222980"/>
                  <a:gd name="connsiteX160" fmla="*/ 8592323 w 11882586"/>
                  <a:gd name="connsiteY160" fmla="*/ 63274 h 222980"/>
                  <a:gd name="connsiteX161" fmla="*/ 8592323 w 11882586"/>
                  <a:gd name="connsiteY161" fmla="*/ 33158 h 222980"/>
                  <a:gd name="connsiteX162" fmla="*/ 8609358 w 11882586"/>
                  <a:gd name="connsiteY162" fmla="*/ 27074 h 222980"/>
                  <a:gd name="connsiteX163" fmla="*/ 8625557 w 11882586"/>
                  <a:gd name="connsiteY163" fmla="*/ 19925 h 222980"/>
                  <a:gd name="connsiteX164" fmla="*/ 8641680 w 11882586"/>
                  <a:gd name="connsiteY164" fmla="*/ 11103 h 222980"/>
                  <a:gd name="connsiteX165" fmla="*/ 8658487 w 11882586"/>
                  <a:gd name="connsiteY165" fmla="*/ 0 h 222980"/>
                  <a:gd name="connsiteX166" fmla="*/ 8514879 w 11882586"/>
                  <a:gd name="connsiteY166" fmla="*/ 0 h 222980"/>
                  <a:gd name="connsiteX167" fmla="*/ 8529785 w 11882586"/>
                  <a:gd name="connsiteY167" fmla="*/ 0 h 222980"/>
                  <a:gd name="connsiteX168" fmla="*/ 8529785 w 11882586"/>
                  <a:gd name="connsiteY168" fmla="*/ 222980 h 222980"/>
                  <a:gd name="connsiteX169" fmla="*/ 8494497 w 11882586"/>
                  <a:gd name="connsiteY169" fmla="*/ 222980 h 222980"/>
                  <a:gd name="connsiteX170" fmla="*/ 8494497 w 11882586"/>
                  <a:gd name="connsiteY170" fmla="*/ 43196 h 222980"/>
                  <a:gd name="connsiteX171" fmla="*/ 8473888 w 11882586"/>
                  <a:gd name="connsiteY171" fmla="*/ 54832 h 222980"/>
                  <a:gd name="connsiteX172" fmla="*/ 8448715 w 11882586"/>
                  <a:gd name="connsiteY172" fmla="*/ 63274 h 222980"/>
                  <a:gd name="connsiteX173" fmla="*/ 8448715 w 11882586"/>
                  <a:gd name="connsiteY173" fmla="*/ 33158 h 222980"/>
                  <a:gd name="connsiteX174" fmla="*/ 8465750 w 11882586"/>
                  <a:gd name="connsiteY174" fmla="*/ 27074 h 222980"/>
                  <a:gd name="connsiteX175" fmla="*/ 8481949 w 11882586"/>
                  <a:gd name="connsiteY175" fmla="*/ 19925 h 222980"/>
                  <a:gd name="connsiteX176" fmla="*/ 8498072 w 11882586"/>
                  <a:gd name="connsiteY176" fmla="*/ 11103 h 222980"/>
                  <a:gd name="connsiteX177" fmla="*/ 8514879 w 11882586"/>
                  <a:gd name="connsiteY177" fmla="*/ 0 h 222980"/>
                  <a:gd name="connsiteX178" fmla="*/ 8371271 w 11882586"/>
                  <a:gd name="connsiteY178" fmla="*/ 0 h 222980"/>
                  <a:gd name="connsiteX179" fmla="*/ 8386177 w 11882586"/>
                  <a:gd name="connsiteY179" fmla="*/ 0 h 222980"/>
                  <a:gd name="connsiteX180" fmla="*/ 8386177 w 11882586"/>
                  <a:gd name="connsiteY180" fmla="*/ 222980 h 222980"/>
                  <a:gd name="connsiteX181" fmla="*/ 8350889 w 11882586"/>
                  <a:gd name="connsiteY181" fmla="*/ 222980 h 222980"/>
                  <a:gd name="connsiteX182" fmla="*/ 8350889 w 11882586"/>
                  <a:gd name="connsiteY182" fmla="*/ 43196 h 222980"/>
                  <a:gd name="connsiteX183" fmla="*/ 8330280 w 11882586"/>
                  <a:gd name="connsiteY183" fmla="*/ 54832 h 222980"/>
                  <a:gd name="connsiteX184" fmla="*/ 8305107 w 11882586"/>
                  <a:gd name="connsiteY184" fmla="*/ 63274 h 222980"/>
                  <a:gd name="connsiteX185" fmla="*/ 8305107 w 11882586"/>
                  <a:gd name="connsiteY185" fmla="*/ 33158 h 222980"/>
                  <a:gd name="connsiteX186" fmla="*/ 8322142 w 11882586"/>
                  <a:gd name="connsiteY186" fmla="*/ 27074 h 222980"/>
                  <a:gd name="connsiteX187" fmla="*/ 8338341 w 11882586"/>
                  <a:gd name="connsiteY187" fmla="*/ 19925 h 222980"/>
                  <a:gd name="connsiteX188" fmla="*/ 8354464 w 11882586"/>
                  <a:gd name="connsiteY188" fmla="*/ 11103 h 222980"/>
                  <a:gd name="connsiteX189" fmla="*/ 8371271 w 11882586"/>
                  <a:gd name="connsiteY189" fmla="*/ 0 h 222980"/>
                  <a:gd name="connsiteX190" fmla="*/ 7609270 w 11882586"/>
                  <a:gd name="connsiteY190" fmla="*/ 0 h 222980"/>
                  <a:gd name="connsiteX191" fmla="*/ 7624177 w 11882586"/>
                  <a:gd name="connsiteY191" fmla="*/ 0 h 222980"/>
                  <a:gd name="connsiteX192" fmla="*/ 7624177 w 11882586"/>
                  <a:gd name="connsiteY192" fmla="*/ 222980 h 222980"/>
                  <a:gd name="connsiteX193" fmla="*/ 7588889 w 11882586"/>
                  <a:gd name="connsiteY193" fmla="*/ 222980 h 222980"/>
                  <a:gd name="connsiteX194" fmla="*/ 7588889 w 11882586"/>
                  <a:gd name="connsiteY194" fmla="*/ 43196 h 222980"/>
                  <a:gd name="connsiteX195" fmla="*/ 7568279 w 11882586"/>
                  <a:gd name="connsiteY195" fmla="*/ 54832 h 222980"/>
                  <a:gd name="connsiteX196" fmla="*/ 7543107 w 11882586"/>
                  <a:gd name="connsiteY196" fmla="*/ 63274 h 222980"/>
                  <a:gd name="connsiteX197" fmla="*/ 7543107 w 11882586"/>
                  <a:gd name="connsiteY197" fmla="*/ 33158 h 222980"/>
                  <a:gd name="connsiteX198" fmla="*/ 7560142 w 11882586"/>
                  <a:gd name="connsiteY198" fmla="*/ 27074 h 222980"/>
                  <a:gd name="connsiteX199" fmla="*/ 7576341 w 11882586"/>
                  <a:gd name="connsiteY199" fmla="*/ 19925 h 222980"/>
                  <a:gd name="connsiteX200" fmla="*/ 7592463 w 11882586"/>
                  <a:gd name="connsiteY200" fmla="*/ 11103 h 222980"/>
                  <a:gd name="connsiteX201" fmla="*/ 7609270 w 11882586"/>
                  <a:gd name="connsiteY201" fmla="*/ 0 h 222980"/>
                  <a:gd name="connsiteX202" fmla="*/ 7465662 w 11882586"/>
                  <a:gd name="connsiteY202" fmla="*/ 0 h 222980"/>
                  <a:gd name="connsiteX203" fmla="*/ 7480569 w 11882586"/>
                  <a:gd name="connsiteY203" fmla="*/ 0 h 222980"/>
                  <a:gd name="connsiteX204" fmla="*/ 7480569 w 11882586"/>
                  <a:gd name="connsiteY204" fmla="*/ 222980 h 222980"/>
                  <a:gd name="connsiteX205" fmla="*/ 7445281 w 11882586"/>
                  <a:gd name="connsiteY205" fmla="*/ 222980 h 222980"/>
                  <a:gd name="connsiteX206" fmla="*/ 7445281 w 11882586"/>
                  <a:gd name="connsiteY206" fmla="*/ 43196 h 222980"/>
                  <a:gd name="connsiteX207" fmla="*/ 7424671 w 11882586"/>
                  <a:gd name="connsiteY207" fmla="*/ 54832 h 222980"/>
                  <a:gd name="connsiteX208" fmla="*/ 7399499 w 11882586"/>
                  <a:gd name="connsiteY208" fmla="*/ 63274 h 222980"/>
                  <a:gd name="connsiteX209" fmla="*/ 7399499 w 11882586"/>
                  <a:gd name="connsiteY209" fmla="*/ 33158 h 222980"/>
                  <a:gd name="connsiteX210" fmla="*/ 7416534 w 11882586"/>
                  <a:gd name="connsiteY210" fmla="*/ 27074 h 222980"/>
                  <a:gd name="connsiteX211" fmla="*/ 7432733 w 11882586"/>
                  <a:gd name="connsiteY211" fmla="*/ 19925 h 222980"/>
                  <a:gd name="connsiteX212" fmla="*/ 7448855 w 11882586"/>
                  <a:gd name="connsiteY212" fmla="*/ 11103 h 222980"/>
                  <a:gd name="connsiteX213" fmla="*/ 7465662 w 11882586"/>
                  <a:gd name="connsiteY213" fmla="*/ 0 h 222980"/>
                  <a:gd name="connsiteX214" fmla="*/ 7178446 w 11882586"/>
                  <a:gd name="connsiteY214" fmla="*/ 0 h 222980"/>
                  <a:gd name="connsiteX215" fmla="*/ 7193353 w 11882586"/>
                  <a:gd name="connsiteY215" fmla="*/ 0 h 222980"/>
                  <a:gd name="connsiteX216" fmla="*/ 7193353 w 11882586"/>
                  <a:gd name="connsiteY216" fmla="*/ 222980 h 222980"/>
                  <a:gd name="connsiteX217" fmla="*/ 7158065 w 11882586"/>
                  <a:gd name="connsiteY217" fmla="*/ 222980 h 222980"/>
                  <a:gd name="connsiteX218" fmla="*/ 7158065 w 11882586"/>
                  <a:gd name="connsiteY218" fmla="*/ 43196 h 222980"/>
                  <a:gd name="connsiteX219" fmla="*/ 7137455 w 11882586"/>
                  <a:gd name="connsiteY219" fmla="*/ 54832 h 222980"/>
                  <a:gd name="connsiteX220" fmla="*/ 7112283 w 11882586"/>
                  <a:gd name="connsiteY220" fmla="*/ 63274 h 222980"/>
                  <a:gd name="connsiteX221" fmla="*/ 7112283 w 11882586"/>
                  <a:gd name="connsiteY221" fmla="*/ 33158 h 222980"/>
                  <a:gd name="connsiteX222" fmla="*/ 7129318 w 11882586"/>
                  <a:gd name="connsiteY222" fmla="*/ 27074 h 222980"/>
                  <a:gd name="connsiteX223" fmla="*/ 7145517 w 11882586"/>
                  <a:gd name="connsiteY223" fmla="*/ 19925 h 222980"/>
                  <a:gd name="connsiteX224" fmla="*/ 7161639 w 11882586"/>
                  <a:gd name="connsiteY224" fmla="*/ 11103 h 222980"/>
                  <a:gd name="connsiteX225" fmla="*/ 7178446 w 11882586"/>
                  <a:gd name="connsiteY225" fmla="*/ 0 h 222980"/>
                  <a:gd name="connsiteX226" fmla="*/ 6779862 w 11882586"/>
                  <a:gd name="connsiteY226" fmla="*/ 0 h 222980"/>
                  <a:gd name="connsiteX227" fmla="*/ 6794768 w 11882586"/>
                  <a:gd name="connsiteY227" fmla="*/ 0 h 222980"/>
                  <a:gd name="connsiteX228" fmla="*/ 6794768 w 11882586"/>
                  <a:gd name="connsiteY228" fmla="*/ 222980 h 222980"/>
                  <a:gd name="connsiteX229" fmla="*/ 6759480 w 11882586"/>
                  <a:gd name="connsiteY229" fmla="*/ 222980 h 222980"/>
                  <a:gd name="connsiteX230" fmla="*/ 6759480 w 11882586"/>
                  <a:gd name="connsiteY230" fmla="*/ 43196 h 222980"/>
                  <a:gd name="connsiteX231" fmla="*/ 6738871 w 11882586"/>
                  <a:gd name="connsiteY231" fmla="*/ 54832 h 222980"/>
                  <a:gd name="connsiteX232" fmla="*/ 6713698 w 11882586"/>
                  <a:gd name="connsiteY232" fmla="*/ 63274 h 222980"/>
                  <a:gd name="connsiteX233" fmla="*/ 6713698 w 11882586"/>
                  <a:gd name="connsiteY233" fmla="*/ 33158 h 222980"/>
                  <a:gd name="connsiteX234" fmla="*/ 6730733 w 11882586"/>
                  <a:gd name="connsiteY234" fmla="*/ 27074 h 222980"/>
                  <a:gd name="connsiteX235" fmla="*/ 6746932 w 11882586"/>
                  <a:gd name="connsiteY235" fmla="*/ 19925 h 222980"/>
                  <a:gd name="connsiteX236" fmla="*/ 6763055 w 11882586"/>
                  <a:gd name="connsiteY236" fmla="*/ 11103 h 222980"/>
                  <a:gd name="connsiteX237" fmla="*/ 6779862 w 11882586"/>
                  <a:gd name="connsiteY237" fmla="*/ 0 h 222980"/>
                  <a:gd name="connsiteX238" fmla="*/ 6636254 w 11882586"/>
                  <a:gd name="connsiteY238" fmla="*/ 0 h 222980"/>
                  <a:gd name="connsiteX239" fmla="*/ 6651160 w 11882586"/>
                  <a:gd name="connsiteY239" fmla="*/ 0 h 222980"/>
                  <a:gd name="connsiteX240" fmla="*/ 6651160 w 11882586"/>
                  <a:gd name="connsiteY240" fmla="*/ 222980 h 222980"/>
                  <a:gd name="connsiteX241" fmla="*/ 6615872 w 11882586"/>
                  <a:gd name="connsiteY241" fmla="*/ 222980 h 222980"/>
                  <a:gd name="connsiteX242" fmla="*/ 6615872 w 11882586"/>
                  <a:gd name="connsiteY242" fmla="*/ 43196 h 222980"/>
                  <a:gd name="connsiteX243" fmla="*/ 6595263 w 11882586"/>
                  <a:gd name="connsiteY243" fmla="*/ 54832 h 222980"/>
                  <a:gd name="connsiteX244" fmla="*/ 6570090 w 11882586"/>
                  <a:gd name="connsiteY244" fmla="*/ 63274 h 222980"/>
                  <a:gd name="connsiteX245" fmla="*/ 6570090 w 11882586"/>
                  <a:gd name="connsiteY245" fmla="*/ 33158 h 222980"/>
                  <a:gd name="connsiteX246" fmla="*/ 6587125 w 11882586"/>
                  <a:gd name="connsiteY246" fmla="*/ 27074 h 222980"/>
                  <a:gd name="connsiteX247" fmla="*/ 6603324 w 11882586"/>
                  <a:gd name="connsiteY247" fmla="*/ 19925 h 222980"/>
                  <a:gd name="connsiteX248" fmla="*/ 6619447 w 11882586"/>
                  <a:gd name="connsiteY248" fmla="*/ 11103 h 222980"/>
                  <a:gd name="connsiteX249" fmla="*/ 6636254 w 11882586"/>
                  <a:gd name="connsiteY249" fmla="*/ 0 h 222980"/>
                  <a:gd name="connsiteX250" fmla="*/ 6492646 w 11882586"/>
                  <a:gd name="connsiteY250" fmla="*/ 0 h 222980"/>
                  <a:gd name="connsiteX251" fmla="*/ 6507552 w 11882586"/>
                  <a:gd name="connsiteY251" fmla="*/ 0 h 222980"/>
                  <a:gd name="connsiteX252" fmla="*/ 6507552 w 11882586"/>
                  <a:gd name="connsiteY252" fmla="*/ 222980 h 222980"/>
                  <a:gd name="connsiteX253" fmla="*/ 6472264 w 11882586"/>
                  <a:gd name="connsiteY253" fmla="*/ 222980 h 222980"/>
                  <a:gd name="connsiteX254" fmla="*/ 6472264 w 11882586"/>
                  <a:gd name="connsiteY254" fmla="*/ 43196 h 222980"/>
                  <a:gd name="connsiteX255" fmla="*/ 6451655 w 11882586"/>
                  <a:gd name="connsiteY255" fmla="*/ 54832 h 222980"/>
                  <a:gd name="connsiteX256" fmla="*/ 6426482 w 11882586"/>
                  <a:gd name="connsiteY256" fmla="*/ 63274 h 222980"/>
                  <a:gd name="connsiteX257" fmla="*/ 6426482 w 11882586"/>
                  <a:gd name="connsiteY257" fmla="*/ 33158 h 222980"/>
                  <a:gd name="connsiteX258" fmla="*/ 6443517 w 11882586"/>
                  <a:gd name="connsiteY258" fmla="*/ 27074 h 222980"/>
                  <a:gd name="connsiteX259" fmla="*/ 6459716 w 11882586"/>
                  <a:gd name="connsiteY259" fmla="*/ 19925 h 222980"/>
                  <a:gd name="connsiteX260" fmla="*/ 6475839 w 11882586"/>
                  <a:gd name="connsiteY260" fmla="*/ 11103 h 222980"/>
                  <a:gd name="connsiteX261" fmla="*/ 6492646 w 11882586"/>
                  <a:gd name="connsiteY261" fmla="*/ 0 h 222980"/>
                  <a:gd name="connsiteX262" fmla="*/ 6349038 w 11882586"/>
                  <a:gd name="connsiteY262" fmla="*/ 0 h 222980"/>
                  <a:gd name="connsiteX263" fmla="*/ 6363944 w 11882586"/>
                  <a:gd name="connsiteY263" fmla="*/ 0 h 222980"/>
                  <a:gd name="connsiteX264" fmla="*/ 6363944 w 11882586"/>
                  <a:gd name="connsiteY264" fmla="*/ 222980 h 222980"/>
                  <a:gd name="connsiteX265" fmla="*/ 6328656 w 11882586"/>
                  <a:gd name="connsiteY265" fmla="*/ 222980 h 222980"/>
                  <a:gd name="connsiteX266" fmla="*/ 6328656 w 11882586"/>
                  <a:gd name="connsiteY266" fmla="*/ 43196 h 222980"/>
                  <a:gd name="connsiteX267" fmla="*/ 6308047 w 11882586"/>
                  <a:gd name="connsiteY267" fmla="*/ 54832 h 222980"/>
                  <a:gd name="connsiteX268" fmla="*/ 6282874 w 11882586"/>
                  <a:gd name="connsiteY268" fmla="*/ 63274 h 222980"/>
                  <a:gd name="connsiteX269" fmla="*/ 6282874 w 11882586"/>
                  <a:gd name="connsiteY269" fmla="*/ 33158 h 222980"/>
                  <a:gd name="connsiteX270" fmla="*/ 6299909 w 11882586"/>
                  <a:gd name="connsiteY270" fmla="*/ 27074 h 222980"/>
                  <a:gd name="connsiteX271" fmla="*/ 6316108 w 11882586"/>
                  <a:gd name="connsiteY271" fmla="*/ 19925 h 222980"/>
                  <a:gd name="connsiteX272" fmla="*/ 6332231 w 11882586"/>
                  <a:gd name="connsiteY272" fmla="*/ 11103 h 222980"/>
                  <a:gd name="connsiteX273" fmla="*/ 6349038 w 11882586"/>
                  <a:gd name="connsiteY273" fmla="*/ 0 h 222980"/>
                  <a:gd name="connsiteX274" fmla="*/ 6147836 w 11882586"/>
                  <a:gd name="connsiteY274" fmla="*/ 0 h 222980"/>
                  <a:gd name="connsiteX275" fmla="*/ 6219003 w 11882586"/>
                  <a:gd name="connsiteY275" fmla="*/ 110587 h 222980"/>
                  <a:gd name="connsiteX276" fmla="*/ 6198917 w 11882586"/>
                  <a:gd name="connsiteY276" fmla="*/ 194167 h 222980"/>
                  <a:gd name="connsiteX277" fmla="*/ 6142720 w 11882586"/>
                  <a:gd name="connsiteY277" fmla="*/ 222980 h 222980"/>
                  <a:gd name="connsiteX278" fmla="*/ 6090135 w 11882586"/>
                  <a:gd name="connsiteY278" fmla="*/ 195446 h 222980"/>
                  <a:gd name="connsiteX279" fmla="*/ 6071252 w 11882586"/>
                  <a:gd name="connsiteY279" fmla="*/ 115854 h 222980"/>
                  <a:gd name="connsiteX280" fmla="*/ 6090962 w 11882586"/>
                  <a:gd name="connsiteY280" fmla="*/ 29339 h 222980"/>
                  <a:gd name="connsiteX281" fmla="*/ 6147836 w 11882586"/>
                  <a:gd name="connsiteY281" fmla="*/ 0 h 222980"/>
                  <a:gd name="connsiteX282" fmla="*/ 5812708 w 11882586"/>
                  <a:gd name="connsiteY282" fmla="*/ 0 h 222980"/>
                  <a:gd name="connsiteX283" fmla="*/ 5827614 w 11882586"/>
                  <a:gd name="connsiteY283" fmla="*/ 0 h 222980"/>
                  <a:gd name="connsiteX284" fmla="*/ 5827614 w 11882586"/>
                  <a:gd name="connsiteY284" fmla="*/ 222980 h 222980"/>
                  <a:gd name="connsiteX285" fmla="*/ 5792326 w 11882586"/>
                  <a:gd name="connsiteY285" fmla="*/ 222980 h 222980"/>
                  <a:gd name="connsiteX286" fmla="*/ 5792326 w 11882586"/>
                  <a:gd name="connsiteY286" fmla="*/ 43196 h 222980"/>
                  <a:gd name="connsiteX287" fmla="*/ 5771717 w 11882586"/>
                  <a:gd name="connsiteY287" fmla="*/ 54832 h 222980"/>
                  <a:gd name="connsiteX288" fmla="*/ 5746545 w 11882586"/>
                  <a:gd name="connsiteY288" fmla="*/ 63274 h 222980"/>
                  <a:gd name="connsiteX289" fmla="*/ 5746545 w 11882586"/>
                  <a:gd name="connsiteY289" fmla="*/ 33158 h 222980"/>
                  <a:gd name="connsiteX290" fmla="*/ 5763579 w 11882586"/>
                  <a:gd name="connsiteY290" fmla="*/ 27074 h 222980"/>
                  <a:gd name="connsiteX291" fmla="*/ 5779778 w 11882586"/>
                  <a:gd name="connsiteY291" fmla="*/ 19925 h 222980"/>
                  <a:gd name="connsiteX292" fmla="*/ 5795901 w 11882586"/>
                  <a:gd name="connsiteY292" fmla="*/ 11103 h 222980"/>
                  <a:gd name="connsiteX293" fmla="*/ 5812708 w 11882586"/>
                  <a:gd name="connsiteY293" fmla="*/ 0 h 222980"/>
                  <a:gd name="connsiteX294" fmla="*/ 5612750 w 11882586"/>
                  <a:gd name="connsiteY294" fmla="*/ 0 h 222980"/>
                  <a:gd name="connsiteX295" fmla="*/ 5683917 w 11882586"/>
                  <a:gd name="connsiteY295" fmla="*/ 110587 h 222980"/>
                  <a:gd name="connsiteX296" fmla="*/ 5663831 w 11882586"/>
                  <a:gd name="connsiteY296" fmla="*/ 194167 h 222980"/>
                  <a:gd name="connsiteX297" fmla="*/ 5607634 w 11882586"/>
                  <a:gd name="connsiteY297" fmla="*/ 222980 h 222980"/>
                  <a:gd name="connsiteX298" fmla="*/ 5555049 w 11882586"/>
                  <a:gd name="connsiteY298" fmla="*/ 195446 h 222980"/>
                  <a:gd name="connsiteX299" fmla="*/ 5536166 w 11882586"/>
                  <a:gd name="connsiteY299" fmla="*/ 115854 h 222980"/>
                  <a:gd name="connsiteX300" fmla="*/ 5555877 w 11882586"/>
                  <a:gd name="connsiteY300" fmla="*/ 29339 h 222980"/>
                  <a:gd name="connsiteX301" fmla="*/ 5612750 w 11882586"/>
                  <a:gd name="connsiteY301" fmla="*/ 0 h 222980"/>
                  <a:gd name="connsiteX302" fmla="*/ 4915100 w 11882586"/>
                  <a:gd name="connsiteY302" fmla="*/ 0 h 222980"/>
                  <a:gd name="connsiteX303" fmla="*/ 4986267 w 11882586"/>
                  <a:gd name="connsiteY303" fmla="*/ 110587 h 222980"/>
                  <a:gd name="connsiteX304" fmla="*/ 4966181 w 11882586"/>
                  <a:gd name="connsiteY304" fmla="*/ 194167 h 222980"/>
                  <a:gd name="connsiteX305" fmla="*/ 4909984 w 11882586"/>
                  <a:gd name="connsiteY305" fmla="*/ 222980 h 222980"/>
                  <a:gd name="connsiteX306" fmla="*/ 4857399 w 11882586"/>
                  <a:gd name="connsiteY306" fmla="*/ 195446 h 222980"/>
                  <a:gd name="connsiteX307" fmla="*/ 4838516 w 11882586"/>
                  <a:gd name="connsiteY307" fmla="*/ 115854 h 222980"/>
                  <a:gd name="connsiteX308" fmla="*/ 4858226 w 11882586"/>
                  <a:gd name="connsiteY308" fmla="*/ 29339 h 222980"/>
                  <a:gd name="connsiteX309" fmla="*/ 4915100 w 11882586"/>
                  <a:gd name="connsiteY309" fmla="*/ 0 h 222980"/>
                  <a:gd name="connsiteX310" fmla="*/ 4540755 w 11882586"/>
                  <a:gd name="connsiteY310" fmla="*/ 0 h 222980"/>
                  <a:gd name="connsiteX311" fmla="*/ 4555661 w 11882586"/>
                  <a:gd name="connsiteY311" fmla="*/ 0 h 222980"/>
                  <a:gd name="connsiteX312" fmla="*/ 4555661 w 11882586"/>
                  <a:gd name="connsiteY312" fmla="*/ 222980 h 222980"/>
                  <a:gd name="connsiteX313" fmla="*/ 4520373 w 11882586"/>
                  <a:gd name="connsiteY313" fmla="*/ 222980 h 222980"/>
                  <a:gd name="connsiteX314" fmla="*/ 4520373 w 11882586"/>
                  <a:gd name="connsiteY314" fmla="*/ 43196 h 222980"/>
                  <a:gd name="connsiteX315" fmla="*/ 4499764 w 11882586"/>
                  <a:gd name="connsiteY315" fmla="*/ 54832 h 222980"/>
                  <a:gd name="connsiteX316" fmla="*/ 4474591 w 11882586"/>
                  <a:gd name="connsiteY316" fmla="*/ 63274 h 222980"/>
                  <a:gd name="connsiteX317" fmla="*/ 4474591 w 11882586"/>
                  <a:gd name="connsiteY317" fmla="*/ 33158 h 222980"/>
                  <a:gd name="connsiteX318" fmla="*/ 4491626 w 11882586"/>
                  <a:gd name="connsiteY318" fmla="*/ 27074 h 222980"/>
                  <a:gd name="connsiteX319" fmla="*/ 4507825 w 11882586"/>
                  <a:gd name="connsiteY319" fmla="*/ 19925 h 222980"/>
                  <a:gd name="connsiteX320" fmla="*/ 4523948 w 11882586"/>
                  <a:gd name="connsiteY320" fmla="*/ 11103 h 222980"/>
                  <a:gd name="connsiteX321" fmla="*/ 4540755 w 11882586"/>
                  <a:gd name="connsiteY321" fmla="*/ 0 h 222980"/>
                  <a:gd name="connsiteX322" fmla="*/ 4171471 w 11882586"/>
                  <a:gd name="connsiteY322" fmla="*/ 0 h 222980"/>
                  <a:gd name="connsiteX323" fmla="*/ 4186378 w 11882586"/>
                  <a:gd name="connsiteY323" fmla="*/ 0 h 222980"/>
                  <a:gd name="connsiteX324" fmla="*/ 4186378 w 11882586"/>
                  <a:gd name="connsiteY324" fmla="*/ 222980 h 222980"/>
                  <a:gd name="connsiteX325" fmla="*/ 4151090 w 11882586"/>
                  <a:gd name="connsiteY325" fmla="*/ 222980 h 222980"/>
                  <a:gd name="connsiteX326" fmla="*/ 4151090 w 11882586"/>
                  <a:gd name="connsiteY326" fmla="*/ 43196 h 222980"/>
                  <a:gd name="connsiteX327" fmla="*/ 4130480 w 11882586"/>
                  <a:gd name="connsiteY327" fmla="*/ 54832 h 222980"/>
                  <a:gd name="connsiteX328" fmla="*/ 4105308 w 11882586"/>
                  <a:gd name="connsiteY328" fmla="*/ 63274 h 222980"/>
                  <a:gd name="connsiteX329" fmla="*/ 4105308 w 11882586"/>
                  <a:gd name="connsiteY329" fmla="*/ 33158 h 222980"/>
                  <a:gd name="connsiteX330" fmla="*/ 4122343 w 11882586"/>
                  <a:gd name="connsiteY330" fmla="*/ 27074 h 222980"/>
                  <a:gd name="connsiteX331" fmla="*/ 4138542 w 11882586"/>
                  <a:gd name="connsiteY331" fmla="*/ 19925 h 222980"/>
                  <a:gd name="connsiteX332" fmla="*/ 4154664 w 11882586"/>
                  <a:gd name="connsiteY332" fmla="*/ 11103 h 222980"/>
                  <a:gd name="connsiteX333" fmla="*/ 4171471 w 11882586"/>
                  <a:gd name="connsiteY333" fmla="*/ 0 h 222980"/>
                  <a:gd name="connsiteX334" fmla="*/ 3870934 w 11882586"/>
                  <a:gd name="connsiteY334" fmla="*/ 0 h 222980"/>
                  <a:gd name="connsiteX335" fmla="*/ 3885840 w 11882586"/>
                  <a:gd name="connsiteY335" fmla="*/ 0 h 222980"/>
                  <a:gd name="connsiteX336" fmla="*/ 3885840 w 11882586"/>
                  <a:gd name="connsiteY336" fmla="*/ 222980 h 222980"/>
                  <a:gd name="connsiteX337" fmla="*/ 3850552 w 11882586"/>
                  <a:gd name="connsiteY337" fmla="*/ 222980 h 222980"/>
                  <a:gd name="connsiteX338" fmla="*/ 3850552 w 11882586"/>
                  <a:gd name="connsiteY338" fmla="*/ 43196 h 222980"/>
                  <a:gd name="connsiteX339" fmla="*/ 3829943 w 11882586"/>
                  <a:gd name="connsiteY339" fmla="*/ 54832 h 222980"/>
                  <a:gd name="connsiteX340" fmla="*/ 3804770 w 11882586"/>
                  <a:gd name="connsiteY340" fmla="*/ 63274 h 222980"/>
                  <a:gd name="connsiteX341" fmla="*/ 3804770 w 11882586"/>
                  <a:gd name="connsiteY341" fmla="*/ 33158 h 222980"/>
                  <a:gd name="connsiteX342" fmla="*/ 3821805 w 11882586"/>
                  <a:gd name="connsiteY342" fmla="*/ 27074 h 222980"/>
                  <a:gd name="connsiteX343" fmla="*/ 3838004 w 11882586"/>
                  <a:gd name="connsiteY343" fmla="*/ 19925 h 222980"/>
                  <a:gd name="connsiteX344" fmla="*/ 3854126 w 11882586"/>
                  <a:gd name="connsiteY344" fmla="*/ 11103 h 222980"/>
                  <a:gd name="connsiteX345" fmla="*/ 3870934 w 11882586"/>
                  <a:gd name="connsiteY345" fmla="*/ 0 h 222980"/>
                  <a:gd name="connsiteX346" fmla="*/ 3663362 w 11882586"/>
                  <a:gd name="connsiteY346" fmla="*/ 0 h 222980"/>
                  <a:gd name="connsiteX347" fmla="*/ 3734530 w 11882586"/>
                  <a:gd name="connsiteY347" fmla="*/ 110587 h 222980"/>
                  <a:gd name="connsiteX348" fmla="*/ 3714444 w 11882586"/>
                  <a:gd name="connsiteY348" fmla="*/ 194167 h 222980"/>
                  <a:gd name="connsiteX349" fmla="*/ 3658247 w 11882586"/>
                  <a:gd name="connsiteY349" fmla="*/ 222980 h 222980"/>
                  <a:gd name="connsiteX350" fmla="*/ 3605662 w 11882586"/>
                  <a:gd name="connsiteY350" fmla="*/ 195446 h 222980"/>
                  <a:gd name="connsiteX351" fmla="*/ 3586779 w 11882586"/>
                  <a:gd name="connsiteY351" fmla="*/ 115854 h 222980"/>
                  <a:gd name="connsiteX352" fmla="*/ 3606489 w 11882586"/>
                  <a:gd name="connsiteY352" fmla="*/ 29339 h 222980"/>
                  <a:gd name="connsiteX353" fmla="*/ 3663362 w 11882586"/>
                  <a:gd name="connsiteY353" fmla="*/ 0 h 222980"/>
                  <a:gd name="connsiteX354" fmla="*/ 3438698 w 11882586"/>
                  <a:gd name="connsiteY354" fmla="*/ 0 h 222980"/>
                  <a:gd name="connsiteX355" fmla="*/ 3509866 w 11882586"/>
                  <a:gd name="connsiteY355" fmla="*/ 110587 h 222980"/>
                  <a:gd name="connsiteX356" fmla="*/ 3489780 w 11882586"/>
                  <a:gd name="connsiteY356" fmla="*/ 194167 h 222980"/>
                  <a:gd name="connsiteX357" fmla="*/ 3433583 w 11882586"/>
                  <a:gd name="connsiteY357" fmla="*/ 222980 h 222980"/>
                  <a:gd name="connsiteX358" fmla="*/ 3380998 w 11882586"/>
                  <a:gd name="connsiteY358" fmla="*/ 195446 h 222980"/>
                  <a:gd name="connsiteX359" fmla="*/ 3362115 w 11882586"/>
                  <a:gd name="connsiteY359" fmla="*/ 115854 h 222980"/>
                  <a:gd name="connsiteX360" fmla="*/ 3381825 w 11882586"/>
                  <a:gd name="connsiteY360" fmla="*/ 29339 h 222980"/>
                  <a:gd name="connsiteX361" fmla="*/ 3438698 w 11882586"/>
                  <a:gd name="connsiteY361" fmla="*/ 0 h 222980"/>
                  <a:gd name="connsiteX362" fmla="*/ 3292247 w 11882586"/>
                  <a:gd name="connsiteY362" fmla="*/ 0 h 222980"/>
                  <a:gd name="connsiteX363" fmla="*/ 3307153 w 11882586"/>
                  <a:gd name="connsiteY363" fmla="*/ 0 h 222980"/>
                  <a:gd name="connsiteX364" fmla="*/ 3307153 w 11882586"/>
                  <a:gd name="connsiteY364" fmla="*/ 222980 h 222980"/>
                  <a:gd name="connsiteX365" fmla="*/ 3271865 w 11882586"/>
                  <a:gd name="connsiteY365" fmla="*/ 222980 h 222980"/>
                  <a:gd name="connsiteX366" fmla="*/ 3271865 w 11882586"/>
                  <a:gd name="connsiteY366" fmla="*/ 43196 h 222980"/>
                  <a:gd name="connsiteX367" fmla="*/ 3251256 w 11882586"/>
                  <a:gd name="connsiteY367" fmla="*/ 54832 h 222980"/>
                  <a:gd name="connsiteX368" fmla="*/ 3226083 w 11882586"/>
                  <a:gd name="connsiteY368" fmla="*/ 63274 h 222980"/>
                  <a:gd name="connsiteX369" fmla="*/ 3226083 w 11882586"/>
                  <a:gd name="connsiteY369" fmla="*/ 33158 h 222980"/>
                  <a:gd name="connsiteX370" fmla="*/ 3243118 w 11882586"/>
                  <a:gd name="connsiteY370" fmla="*/ 27074 h 222980"/>
                  <a:gd name="connsiteX371" fmla="*/ 3259317 w 11882586"/>
                  <a:gd name="connsiteY371" fmla="*/ 19925 h 222980"/>
                  <a:gd name="connsiteX372" fmla="*/ 3275439 w 11882586"/>
                  <a:gd name="connsiteY372" fmla="*/ 11103 h 222980"/>
                  <a:gd name="connsiteX373" fmla="*/ 3292247 w 11882586"/>
                  <a:gd name="connsiteY373" fmla="*/ 0 h 222980"/>
                  <a:gd name="connsiteX374" fmla="*/ 2987447 w 11882586"/>
                  <a:gd name="connsiteY374" fmla="*/ 0 h 222980"/>
                  <a:gd name="connsiteX375" fmla="*/ 3002353 w 11882586"/>
                  <a:gd name="connsiteY375" fmla="*/ 0 h 222980"/>
                  <a:gd name="connsiteX376" fmla="*/ 3002353 w 11882586"/>
                  <a:gd name="connsiteY376" fmla="*/ 222980 h 222980"/>
                  <a:gd name="connsiteX377" fmla="*/ 2967065 w 11882586"/>
                  <a:gd name="connsiteY377" fmla="*/ 222980 h 222980"/>
                  <a:gd name="connsiteX378" fmla="*/ 2967065 w 11882586"/>
                  <a:gd name="connsiteY378" fmla="*/ 43196 h 222980"/>
                  <a:gd name="connsiteX379" fmla="*/ 2946456 w 11882586"/>
                  <a:gd name="connsiteY379" fmla="*/ 54832 h 222980"/>
                  <a:gd name="connsiteX380" fmla="*/ 2921283 w 11882586"/>
                  <a:gd name="connsiteY380" fmla="*/ 63274 h 222980"/>
                  <a:gd name="connsiteX381" fmla="*/ 2921283 w 11882586"/>
                  <a:gd name="connsiteY381" fmla="*/ 33158 h 222980"/>
                  <a:gd name="connsiteX382" fmla="*/ 2938318 w 11882586"/>
                  <a:gd name="connsiteY382" fmla="*/ 27074 h 222980"/>
                  <a:gd name="connsiteX383" fmla="*/ 2954517 w 11882586"/>
                  <a:gd name="connsiteY383" fmla="*/ 19925 h 222980"/>
                  <a:gd name="connsiteX384" fmla="*/ 2970639 w 11882586"/>
                  <a:gd name="connsiteY384" fmla="*/ 11103 h 222980"/>
                  <a:gd name="connsiteX385" fmla="*/ 2987447 w 11882586"/>
                  <a:gd name="connsiteY385" fmla="*/ 0 h 222980"/>
                  <a:gd name="connsiteX386" fmla="*/ 2592752 w 11882586"/>
                  <a:gd name="connsiteY386" fmla="*/ 0 h 222980"/>
                  <a:gd name="connsiteX387" fmla="*/ 2607658 w 11882586"/>
                  <a:gd name="connsiteY387" fmla="*/ 0 h 222980"/>
                  <a:gd name="connsiteX388" fmla="*/ 2607658 w 11882586"/>
                  <a:gd name="connsiteY388" fmla="*/ 222980 h 222980"/>
                  <a:gd name="connsiteX389" fmla="*/ 2572370 w 11882586"/>
                  <a:gd name="connsiteY389" fmla="*/ 222980 h 222980"/>
                  <a:gd name="connsiteX390" fmla="*/ 2572370 w 11882586"/>
                  <a:gd name="connsiteY390" fmla="*/ 43196 h 222980"/>
                  <a:gd name="connsiteX391" fmla="*/ 2551761 w 11882586"/>
                  <a:gd name="connsiteY391" fmla="*/ 54832 h 222980"/>
                  <a:gd name="connsiteX392" fmla="*/ 2526588 w 11882586"/>
                  <a:gd name="connsiteY392" fmla="*/ 63274 h 222980"/>
                  <a:gd name="connsiteX393" fmla="*/ 2526588 w 11882586"/>
                  <a:gd name="connsiteY393" fmla="*/ 33158 h 222980"/>
                  <a:gd name="connsiteX394" fmla="*/ 2543623 w 11882586"/>
                  <a:gd name="connsiteY394" fmla="*/ 27074 h 222980"/>
                  <a:gd name="connsiteX395" fmla="*/ 2559822 w 11882586"/>
                  <a:gd name="connsiteY395" fmla="*/ 19925 h 222980"/>
                  <a:gd name="connsiteX396" fmla="*/ 2575944 w 11882586"/>
                  <a:gd name="connsiteY396" fmla="*/ 11103 h 222980"/>
                  <a:gd name="connsiteX397" fmla="*/ 2592752 w 11882586"/>
                  <a:gd name="connsiteY397" fmla="*/ 0 h 222980"/>
                  <a:gd name="connsiteX398" fmla="*/ 2442158 w 11882586"/>
                  <a:gd name="connsiteY398" fmla="*/ 0 h 222980"/>
                  <a:gd name="connsiteX399" fmla="*/ 2457064 w 11882586"/>
                  <a:gd name="connsiteY399" fmla="*/ 0 h 222980"/>
                  <a:gd name="connsiteX400" fmla="*/ 2457064 w 11882586"/>
                  <a:gd name="connsiteY400" fmla="*/ 222980 h 222980"/>
                  <a:gd name="connsiteX401" fmla="*/ 2421776 w 11882586"/>
                  <a:gd name="connsiteY401" fmla="*/ 222980 h 222980"/>
                  <a:gd name="connsiteX402" fmla="*/ 2421776 w 11882586"/>
                  <a:gd name="connsiteY402" fmla="*/ 43196 h 222980"/>
                  <a:gd name="connsiteX403" fmla="*/ 2401167 w 11882586"/>
                  <a:gd name="connsiteY403" fmla="*/ 54832 h 222980"/>
                  <a:gd name="connsiteX404" fmla="*/ 2375994 w 11882586"/>
                  <a:gd name="connsiteY404" fmla="*/ 63274 h 222980"/>
                  <a:gd name="connsiteX405" fmla="*/ 2375994 w 11882586"/>
                  <a:gd name="connsiteY405" fmla="*/ 33158 h 222980"/>
                  <a:gd name="connsiteX406" fmla="*/ 2393029 w 11882586"/>
                  <a:gd name="connsiteY406" fmla="*/ 27074 h 222980"/>
                  <a:gd name="connsiteX407" fmla="*/ 2409228 w 11882586"/>
                  <a:gd name="connsiteY407" fmla="*/ 19925 h 222980"/>
                  <a:gd name="connsiteX408" fmla="*/ 2425350 w 11882586"/>
                  <a:gd name="connsiteY408" fmla="*/ 11103 h 222980"/>
                  <a:gd name="connsiteX409" fmla="*/ 2442158 w 11882586"/>
                  <a:gd name="connsiteY409" fmla="*/ 0 h 222980"/>
                  <a:gd name="connsiteX410" fmla="*/ 2308833 w 11882586"/>
                  <a:gd name="connsiteY410" fmla="*/ 0 h 222980"/>
                  <a:gd name="connsiteX411" fmla="*/ 2323739 w 11882586"/>
                  <a:gd name="connsiteY411" fmla="*/ 0 h 222980"/>
                  <a:gd name="connsiteX412" fmla="*/ 2323739 w 11882586"/>
                  <a:gd name="connsiteY412" fmla="*/ 222980 h 222980"/>
                  <a:gd name="connsiteX413" fmla="*/ 2288451 w 11882586"/>
                  <a:gd name="connsiteY413" fmla="*/ 222980 h 222980"/>
                  <a:gd name="connsiteX414" fmla="*/ 2288451 w 11882586"/>
                  <a:gd name="connsiteY414" fmla="*/ 43196 h 222980"/>
                  <a:gd name="connsiteX415" fmla="*/ 2267842 w 11882586"/>
                  <a:gd name="connsiteY415" fmla="*/ 54832 h 222980"/>
                  <a:gd name="connsiteX416" fmla="*/ 2242669 w 11882586"/>
                  <a:gd name="connsiteY416" fmla="*/ 63274 h 222980"/>
                  <a:gd name="connsiteX417" fmla="*/ 2242669 w 11882586"/>
                  <a:gd name="connsiteY417" fmla="*/ 33158 h 222980"/>
                  <a:gd name="connsiteX418" fmla="*/ 2259704 w 11882586"/>
                  <a:gd name="connsiteY418" fmla="*/ 27074 h 222980"/>
                  <a:gd name="connsiteX419" fmla="*/ 2275903 w 11882586"/>
                  <a:gd name="connsiteY419" fmla="*/ 19925 h 222980"/>
                  <a:gd name="connsiteX420" fmla="*/ 2292025 w 11882586"/>
                  <a:gd name="connsiteY420" fmla="*/ 11103 h 222980"/>
                  <a:gd name="connsiteX421" fmla="*/ 2308833 w 11882586"/>
                  <a:gd name="connsiteY421" fmla="*/ 0 h 222980"/>
                  <a:gd name="connsiteX422" fmla="*/ 1555169 w 11882586"/>
                  <a:gd name="connsiteY422" fmla="*/ 0 h 222980"/>
                  <a:gd name="connsiteX423" fmla="*/ 1570075 w 11882586"/>
                  <a:gd name="connsiteY423" fmla="*/ 0 h 222980"/>
                  <a:gd name="connsiteX424" fmla="*/ 1570075 w 11882586"/>
                  <a:gd name="connsiteY424" fmla="*/ 222980 h 222980"/>
                  <a:gd name="connsiteX425" fmla="*/ 1534787 w 11882586"/>
                  <a:gd name="connsiteY425" fmla="*/ 222980 h 222980"/>
                  <a:gd name="connsiteX426" fmla="*/ 1534787 w 11882586"/>
                  <a:gd name="connsiteY426" fmla="*/ 43196 h 222980"/>
                  <a:gd name="connsiteX427" fmla="*/ 1514178 w 11882586"/>
                  <a:gd name="connsiteY427" fmla="*/ 54832 h 222980"/>
                  <a:gd name="connsiteX428" fmla="*/ 1489005 w 11882586"/>
                  <a:gd name="connsiteY428" fmla="*/ 63274 h 222980"/>
                  <a:gd name="connsiteX429" fmla="*/ 1489005 w 11882586"/>
                  <a:gd name="connsiteY429" fmla="*/ 33158 h 222980"/>
                  <a:gd name="connsiteX430" fmla="*/ 1506040 w 11882586"/>
                  <a:gd name="connsiteY430" fmla="*/ 27074 h 222980"/>
                  <a:gd name="connsiteX431" fmla="*/ 1522239 w 11882586"/>
                  <a:gd name="connsiteY431" fmla="*/ 19925 h 222980"/>
                  <a:gd name="connsiteX432" fmla="*/ 1538362 w 11882586"/>
                  <a:gd name="connsiteY432" fmla="*/ 11103 h 222980"/>
                  <a:gd name="connsiteX433" fmla="*/ 1555169 w 11882586"/>
                  <a:gd name="connsiteY433" fmla="*/ 0 h 222980"/>
                  <a:gd name="connsiteX434" fmla="*/ 1401777 w 11882586"/>
                  <a:gd name="connsiteY434" fmla="*/ 0 h 222980"/>
                  <a:gd name="connsiteX435" fmla="*/ 1416683 w 11882586"/>
                  <a:gd name="connsiteY435" fmla="*/ 0 h 222980"/>
                  <a:gd name="connsiteX436" fmla="*/ 1416683 w 11882586"/>
                  <a:gd name="connsiteY436" fmla="*/ 222980 h 222980"/>
                  <a:gd name="connsiteX437" fmla="*/ 1381395 w 11882586"/>
                  <a:gd name="connsiteY437" fmla="*/ 222980 h 222980"/>
                  <a:gd name="connsiteX438" fmla="*/ 1381395 w 11882586"/>
                  <a:gd name="connsiteY438" fmla="*/ 43196 h 222980"/>
                  <a:gd name="connsiteX439" fmla="*/ 1360786 w 11882586"/>
                  <a:gd name="connsiteY439" fmla="*/ 54832 h 222980"/>
                  <a:gd name="connsiteX440" fmla="*/ 1335613 w 11882586"/>
                  <a:gd name="connsiteY440" fmla="*/ 63274 h 222980"/>
                  <a:gd name="connsiteX441" fmla="*/ 1335613 w 11882586"/>
                  <a:gd name="connsiteY441" fmla="*/ 33158 h 222980"/>
                  <a:gd name="connsiteX442" fmla="*/ 1352648 w 11882586"/>
                  <a:gd name="connsiteY442" fmla="*/ 27074 h 222980"/>
                  <a:gd name="connsiteX443" fmla="*/ 1368847 w 11882586"/>
                  <a:gd name="connsiteY443" fmla="*/ 19925 h 222980"/>
                  <a:gd name="connsiteX444" fmla="*/ 1384970 w 11882586"/>
                  <a:gd name="connsiteY444" fmla="*/ 11103 h 222980"/>
                  <a:gd name="connsiteX445" fmla="*/ 1401777 w 11882586"/>
                  <a:gd name="connsiteY445" fmla="*/ 0 h 222980"/>
                  <a:gd name="connsiteX446" fmla="*/ 1107708 w 11882586"/>
                  <a:gd name="connsiteY446" fmla="*/ 0 h 222980"/>
                  <a:gd name="connsiteX447" fmla="*/ 1122614 w 11882586"/>
                  <a:gd name="connsiteY447" fmla="*/ 0 h 222980"/>
                  <a:gd name="connsiteX448" fmla="*/ 1122614 w 11882586"/>
                  <a:gd name="connsiteY448" fmla="*/ 222980 h 222980"/>
                  <a:gd name="connsiteX449" fmla="*/ 1087326 w 11882586"/>
                  <a:gd name="connsiteY449" fmla="*/ 222980 h 222980"/>
                  <a:gd name="connsiteX450" fmla="*/ 1087326 w 11882586"/>
                  <a:gd name="connsiteY450" fmla="*/ 43196 h 222980"/>
                  <a:gd name="connsiteX451" fmla="*/ 1066717 w 11882586"/>
                  <a:gd name="connsiteY451" fmla="*/ 54832 h 222980"/>
                  <a:gd name="connsiteX452" fmla="*/ 1041544 w 11882586"/>
                  <a:gd name="connsiteY452" fmla="*/ 63274 h 222980"/>
                  <a:gd name="connsiteX453" fmla="*/ 1041544 w 11882586"/>
                  <a:gd name="connsiteY453" fmla="*/ 33158 h 222980"/>
                  <a:gd name="connsiteX454" fmla="*/ 1058579 w 11882586"/>
                  <a:gd name="connsiteY454" fmla="*/ 27074 h 222980"/>
                  <a:gd name="connsiteX455" fmla="*/ 1074778 w 11882586"/>
                  <a:gd name="connsiteY455" fmla="*/ 19925 h 222980"/>
                  <a:gd name="connsiteX456" fmla="*/ 1090901 w 11882586"/>
                  <a:gd name="connsiteY456" fmla="*/ 11103 h 222980"/>
                  <a:gd name="connsiteX457" fmla="*/ 1107708 w 11882586"/>
                  <a:gd name="connsiteY457" fmla="*/ 0 h 222980"/>
                  <a:gd name="connsiteX458" fmla="*/ 732569 w 11882586"/>
                  <a:gd name="connsiteY458" fmla="*/ 0 h 222980"/>
                  <a:gd name="connsiteX459" fmla="*/ 747475 w 11882586"/>
                  <a:gd name="connsiteY459" fmla="*/ 0 h 222980"/>
                  <a:gd name="connsiteX460" fmla="*/ 747475 w 11882586"/>
                  <a:gd name="connsiteY460" fmla="*/ 222980 h 222980"/>
                  <a:gd name="connsiteX461" fmla="*/ 712187 w 11882586"/>
                  <a:gd name="connsiteY461" fmla="*/ 222980 h 222980"/>
                  <a:gd name="connsiteX462" fmla="*/ 712187 w 11882586"/>
                  <a:gd name="connsiteY462" fmla="*/ 43196 h 222980"/>
                  <a:gd name="connsiteX463" fmla="*/ 691578 w 11882586"/>
                  <a:gd name="connsiteY463" fmla="*/ 54832 h 222980"/>
                  <a:gd name="connsiteX464" fmla="*/ 666405 w 11882586"/>
                  <a:gd name="connsiteY464" fmla="*/ 63274 h 222980"/>
                  <a:gd name="connsiteX465" fmla="*/ 666405 w 11882586"/>
                  <a:gd name="connsiteY465" fmla="*/ 33158 h 222980"/>
                  <a:gd name="connsiteX466" fmla="*/ 683440 w 11882586"/>
                  <a:gd name="connsiteY466" fmla="*/ 27074 h 222980"/>
                  <a:gd name="connsiteX467" fmla="*/ 699639 w 11882586"/>
                  <a:gd name="connsiteY467" fmla="*/ 19925 h 222980"/>
                  <a:gd name="connsiteX468" fmla="*/ 715762 w 11882586"/>
                  <a:gd name="connsiteY468" fmla="*/ 11103 h 222980"/>
                  <a:gd name="connsiteX469" fmla="*/ 732569 w 11882586"/>
                  <a:gd name="connsiteY469" fmla="*/ 0 h 222980"/>
                  <a:gd name="connsiteX470" fmla="*/ 583712 w 11882586"/>
                  <a:gd name="connsiteY470" fmla="*/ 0 h 222980"/>
                  <a:gd name="connsiteX471" fmla="*/ 598618 w 11882586"/>
                  <a:gd name="connsiteY471" fmla="*/ 0 h 222980"/>
                  <a:gd name="connsiteX472" fmla="*/ 598618 w 11882586"/>
                  <a:gd name="connsiteY472" fmla="*/ 222980 h 222980"/>
                  <a:gd name="connsiteX473" fmla="*/ 563330 w 11882586"/>
                  <a:gd name="connsiteY473" fmla="*/ 222980 h 222980"/>
                  <a:gd name="connsiteX474" fmla="*/ 563330 w 11882586"/>
                  <a:gd name="connsiteY474" fmla="*/ 43196 h 222980"/>
                  <a:gd name="connsiteX475" fmla="*/ 542721 w 11882586"/>
                  <a:gd name="connsiteY475" fmla="*/ 54832 h 222980"/>
                  <a:gd name="connsiteX476" fmla="*/ 517548 w 11882586"/>
                  <a:gd name="connsiteY476" fmla="*/ 63274 h 222980"/>
                  <a:gd name="connsiteX477" fmla="*/ 517548 w 11882586"/>
                  <a:gd name="connsiteY477" fmla="*/ 33158 h 222980"/>
                  <a:gd name="connsiteX478" fmla="*/ 534583 w 11882586"/>
                  <a:gd name="connsiteY478" fmla="*/ 27074 h 222980"/>
                  <a:gd name="connsiteX479" fmla="*/ 550782 w 11882586"/>
                  <a:gd name="connsiteY479" fmla="*/ 19925 h 222980"/>
                  <a:gd name="connsiteX480" fmla="*/ 566905 w 11882586"/>
                  <a:gd name="connsiteY480" fmla="*/ 11103 h 222980"/>
                  <a:gd name="connsiteX481" fmla="*/ 583712 w 11882586"/>
                  <a:gd name="connsiteY481" fmla="*/ 0 h 222980"/>
                  <a:gd name="connsiteX482" fmla="*/ 434855 w 11882586"/>
                  <a:gd name="connsiteY482" fmla="*/ 0 h 222980"/>
                  <a:gd name="connsiteX483" fmla="*/ 449761 w 11882586"/>
                  <a:gd name="connsiteY483" fmla="*/ 0 h 222980"/>
                  <a:gd name="connsiteX484" fmla="*/ 449761 w 11882586"/>
                  <a:gd name="connsiteY484" fmla="*/ 222980 h 222980"/>
                  <a:gd name="connsiteX485" fmla="*/ 414473 w 11882586"/>
                  <a:gd name="connsiteY485" fmla="*/ 222980 h 222980"/>
                  <a:gd name="connsiteX486" fmla="*/ 414473 w 11882586"/>
                  <a:gd name="connsiteY486" fmla="*/ 43196 h 222980"/>
                  <a:gd name="connsiteX487" fmla="*/ 393864 w 11882586"/>
                  <a:gd name="connsiteY487" fmla="*/ 54832 h 222980"/>
                  <a:gd name="connsiteX488" fmla="*/ 368691 w 11882586"/>
                  <a:gd name="connsiteY488" fmla="*/ 63274 h 222980"/>
                  <a:gd name="connsiteX489" fmla="*/ 368691 w 11882586"/>
                  <a:gd name="connsiteY489" fmla="*/ 33158 h 222980"/>
                  <a:gd name="connsiteX490" fmla="*/ 385726 w 11882586"/>
                  <a:gd name="connsiteY490" fmla="*/ 27074 h 222980"/>
                  <a:gd name="connsiteX491" fmla="*/ 401925 w 11882586"/>
                  <a:gd name="connsiteY491" fmla="*/ 19925 h 222980"/>
                  <a:gd name="connsiteX492" fmla="*/ 418048 w 11882586"/>
                  <a:gd name="connsiteY492" fmla="*/ 11103 h 222980"/>
                  <a:gd name="connsiteX493" fmla="*/ 434855 w 11882586"/>
                  <a:gd name="connsiteY493" fmla="*/ 0 h 222980"/>
                  <a:gd name="connsiteX494" fmla="*/ 285998 w 11882586"/>
                  <a:gd name="connsiteY494" fmla="*/ 0 h 222980"/>
                  <a:gd name="connsiteX495" fmla="*/ 300904 w 11882586"/>
                  <a:gd name="connsiteY495" fmla="*/ 0 h 222980"/>
                  <a:gd name="connsiteX496" fmla="*/ 300904 w 11882586"/>
                  <a:gd name="connsiteY496" fmla="*/ 222980 h 222980"/>
                  <a:gd name="connsiteX497" fmla="*/ 265616 w 11882586"/>
                  <a:gd name="connsiteY497" fmla="*/ 222980 h 222980"/>
                  <a:gd name="connsiteX498" fmla="*/ 265616 w 11882586"/>
                  <a:gd name="connsiteY498" fmla="*/ 43196 h 222980"/>
                  <a:gd name="connsiteX499" fmla="*/ 245007 w 11882586"/>
                  <a:gd name="connsiteY499" fmla="*/ 54832 h 222980"/>
                  <a:gd name="connsiteX500" fmla="*/ 219834 w 11882586"/>
                  <a:gd name="connsiteY500" fmla="*/ 63274 h 222980"/>
                  <a:gd name="connsiteX501" fmla="*/ 219834 w 11882586"/>
                  <a:gd name="connsiteY501" fmla="*/ 33158 h 222980"/>
                  <a:gd name="connsiteX502" fmla="*/ 236869 w 11882586"/>
                  <a:gd name="connsiteY502" fmla="*/ 27074 h 222980"/>
                  <a:gd name="connsiteX503" fmla="*/ 253068 w 11882586"/>
                  <a:gd name="connsiteY503" fmla="*/ 19925 h 222980"/>
                  <a:gd name="connsiteX504" fmla="*/ 269191 w 11882586"/>
                  <a:gd name="connsiteY504" fmla="*/ 11103 h 222980"/>
                  <a:gd name="connsiteX505" fmla="*/ 285998 w 11882586"/>
                  <a:gd name="connsiteY505" fmla="*/ 0 h 222980"/>
                  <a:gd name="connsiteX506" fmla="*/ 76584 w 11882586"/>
                  <a:gd name="connsiteY506" fmla="*/ 0 h 222980"/>
                  <a:gd name="connsiteX507" fmla="*/ 147751 w 11882586"/>
                  <a:gd name="connsiteY507" fmla="*/ 110587 h 222980"/>
                  <a:gd name="connsiteX508" fmla="*/ 127665 w 11882586"/>
                  <a:gd name="connsiteY508" fmla="*/ 194167 h 222980"/>
                  <a:gd name="connsiteX509" fmla="*/ 71468 w 11882586"/>
                  <a:gd name="connsiteY509" fmla="*/ 222980 h 222980"/>
                  <a:gd name="connsiteX510" fmla="*/ 18883 w 11882586"/>
                  <a:gd name="connsiteY510" fmla="*/ 195446 h 222980"/>
                  <a:gd name="connsiteX511" fmla="*/ 0 w 11882586"/>
                  <a:gd name="connsiteY511" fmla="*/ 115854 h 222980"/>
                  <a:gd name="connsiteX512" fmla="*/ 19710 w 11882586"/>
                  <a:gd name="connsiteY512" fmla="*/ 29339 h 222980"/>
                  <a:gd name="connsiteX513" fmla="*/ 76584 w 11882586"/>
                  <a:gd name="connsiteY513"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1882586" h="222980">
                    <a:moveTo>
                      <a:pt x="6146181" y="27835"/>
                    </a:moveTo>
                    <a:cubicBezTo>
                      <a:pt x="6120001" y="27835"/>
                      <a:pt x="6106911" y="56673"/>
                      <a:pt x="6106911" y="114349"/>
                    </a:cubicBezTo>
                    <a:cubicBezTo>
                      <a:pt x="6106911" y="168313"/>
                      <a:pt x="6119750" y="195295"/>
                      <a:pt x="6145429" y="195295"/>
                    </a:cubicBezTo>
                    <a:cubicBezTo>
                      <a:pt x="6170706" y="195295"/>
                      <a:pt x="6183344" y="167862"/>
                      <a:pt x="6183344" y="112995"/>
                    </a:cubicBezTo>
                    <a:cubicBezTo>
                      <a:pt x="6183344" y="56221"/>
                      <a:pt x="6170956" y="27835"/>
                      <a:pt x="6146181" y="27835"/>
                    </a:cubicBezTo>
                    <a:close/>
                    <a:moveTo>
                      <a:pt x="5611095" y="27835"/>
                    </a:moveTo>
                    <a:cubicBezTo>
                      <a:pt x="5584915" y="27835"/>
                      <a:pt x="5571825" y="56673"/>
                      <a:pt x="5571825" y="114349"/>
                    </a:cubicBezTo>
                    <a:cubicBezTo>
                      <a:pt x="5571825" y="168313"/>
                      <a:pt x="5584664" y="195295"/>
                      <a:pt x="5610343" y="195295"/>
                    </a:cubicBezTo>
                    <a:cubicBezTo>
                      <a:pt x="5635620" y="195295"/>
                      <a:pt x="5648258" y="167862"/>
                      <a:pt x="5648258" y="112995"/>
                    </a:cubicBezTo>
                    <a:cubicBezTo>
                      <a:pt x="5648258" y="56221"/>
                      <a:pt x="5635870" y="27835"/>
                      <a:pt x="5611095" y="27835"/>
                    </a:cubicBezTo>
                    <a:close/>
                    <a:moveTo>
                      <a:pt x="4913445" y="27835"/>
                    </a:moveTo>
                    <a:cubicBezTo>
                      <a:pt x="4887265" y="27835"/>
                      <a:pt x="4874175" y="56673"/>
                      <a:pt x="4874175" y="114349"/>
                    </a:cubicBezTo>
                    <a:cubicBezTo>
                      <a:pt x="4874175" y="168313"/>
                      <a:pt x="4887014" y="195295"/>
                      <a:pt x="4912693" y="195295"/>
                    </a:cubicBezTo>
                    <a:cubicBezTo>
                      <a:pt x="4937970" y="195295"/>
                      <a:pt x="4950608" y="167862"/>
                      <a:pt x="4950608" y="112995"/>
                    </a:cubicBezTo>
                    <a:cubicBezTo>
                      <a:pt x="4950608" y="56221"/>
                      <a:pt x="4938220" y="27835"/>
                      <a:pt x="4913445" y="27835"/>
                    </a:cubicBezTo>
                    <a:close/>
                    <a:moveTo>
                      <a:pt x="3661708" y="27835"/>
                    </a:moveTo>
                    <a:cubicBezTo>
                      <a:pt x="3635528" y="27835"/>
                      <a:pt x="3622438" y="56673"/>
                      <a:pt x="3622438" y="114349"/>
                    </a:cubicBezTo>
                    <a:cubicBezTo>
                      <a:pt x="3622438" y="168313"/>
                      <a:pt x="3635277" y="195295"/>
                      <a:pt x="3660955" y="195295"/>
                    </a:cubicBezTo>
                    <a:cubicBezTo>
                      <a:pt x="3686232" y="195295"/>
                      <a:pt x="3698871" y="167862"/>
                      <a:pt x="3698871" y="112995"/>
                    </a:cubicBezTo>
                    <a:cubicBezTo>
                      <a:pt x="3698871" y="56221"/>
                      <a:pt x="3686483" y="27835"/>
                      <a:pt x="3661708" y="27835"/>
                    </a:cubicBezTo>
                    <a:close/>
                    <a:moveTo>
                      <a:pt x="3437044" y="27835"/>
                    </a:moveTo>
                    <a:cubicBezTo>
                      <a:pt x="3410864" y="27835"/>
                      <a:pt x="3397774" y="56673"/>
                      <a:pt x="3397774" y="114349"/>
                    </a:cubicBezTo>
                    <a:cubicBezTo>
                      <a:pt x="3397774" y="168313"/>
                      <a:pt x="3410613" y="195295"/>
                      <a:pt x="3436291" y="195295"/>
                    </a:cubicBezTo>
                    <a:cubicBezTo>
                      <a:pt x="3461568" y="195295"/>
                      <a:pt x="3474207" y="167862"/>
                      <a:pt x="3474207" y="112995"/>
                    </a:cubicBezTo>
                    <a:cubicBezTo>
                      <a:pt x="3474207" y="56221"/>
                      <a:pt x="3461819" y="27835"/>
                      <a:pt x="3437044" y="27835"/>
                    </a:cubicBezTo>
                    <a:close/>
                    <a:moveTo>
                      <a:pt x="74929" y="27835"/>
                    </a:moveTo>
                    <a:cubicBezTo>
                      <a:pt x="48749" y="27835"/>
                      <a:pt x="35659" y="56673"/>
                      <a:pt x="35659" y="114349"/>
                    </a:cubicBezTo>
                    <a:cubicBezTo>
                      <a:pt x="35659" y="168313"/>
                      <a:pt x="48498" y="195295"/>
                      <a:pt x="74177" y="195295"/>
                    </a:cubicBezTo>
                    <a:cubicBezTo>
                      <a:pt x="99454" y="195295"/>
                      <a:pt x="112092" y="167862"/>
                      <a:pt x="112092" y="112995"/>
                    </a:cubicBezTo>
                    <a:cubicBezTo>
                      <a:pt x="112092" y="56221"/>
                      <a:pt x="99704" y="27835"/>
                      <a:pt x="74929" y="27835"/>
                    </a:cubicBezTo>
                    <a:close/>
                    <a:moveTo>
                      <a:pt x="11674351" y="27835"/>
                    </a:moveTo>
                    <a:cubicBezTo>
                      <a:pt x="11648171" y="27835"/>
                      <a:pt x="11635081" y="56673"/>
                      <a:pt x="11635081" y="114349"/>
                    </a:cubicBezTo>
                    <a:cubicBezTo>
                      <a:pt x="11635081" y="168313"/>
                      <a:pt x="11647920" y="195295"/>
                      <a:pt x="11673599" y="195295"/>
                    </a:cubicBezTo>
                    <a:cubicBezTo>
                      <a:pt x="11698875" y="195295"/>
                      <a:pt x="11711514" y="167862"/>
                      <a:pt x="11711514" y="112995"/>
                    </a:cubicBezTo>
                    <a:cubicBezTo>
                      <a:pt x="11711514" y="56221"/>
                      <a:pt x="11699126" y="27835"/>
                      <a:pt x="11674351" y="27835"/>
                    </a:cubicBezTo>
                    <a:close/>
                    <a:moveTo>
                      <a:pt x="10967789" y="27835"/>
                    </a:moveTo>
                    <a:cubicBezTo>
                      <a:pt x="10941609" y="27835"/>
                      <a:pt x="10928519" y="56673"/>
                      <a:pt x="10928519" y="114349"/>
                    </a:cubicBezTo>
                    <a:cubicBezTo>
                      <a:pt x="10928519" y="168313"/>
                      <a:pt x="10941358" y="195295"/>
                      <a:pt x="10967037" y="195295"/>
                    </a:cubicBezTo>
                    <a:cubicBezTo>
                      <a:pt x="10992313" y="195295"/>
                      <a:pt x="11004952" y="167862"/>
                      <a:pt x="11004952" y="112995"/>
                    </a:cubicBezTo>
                    <a:cubicBezTo>
                      <a:pt x="11004952" y="56221"/>
                      <a:pt x="10992564" y="27835"/>
                      <a:pt x="10967789" y="27835"/>
                    </a:cubicBezTo>
                    <a:close/>
                    <a:moveTo>
                      <a:pt x="9720270" y="27835"/>
                    </a:moveTo>
                    <a:cubicBezTo>
                      <a:pt x="9694090" y="27835"/>
                      <a:pt x="9681000" y="56673"/>
                      <a:pt x="9681000" y="114349"/>
                    </a:cubicBezTo>
                    <a:cubicBezTo>
                      <a:pt x="9681000" y="168313"/>
                      <a:pt x="9693839" y="195295"/>
                      <a:pt x="9719518" y="195295"/>
                    </a:cubicBezTo>
                    <a:cubicBezTo>
                      <a:pt x="9744794" y="195295"/>
                      <a:pt x="9757433" y="167862"/>
                      <a:pt x="9757433" y="112995"/>
                    </a:cubicBezTo>
                    <a:cubicBezTo>
                      <a:pt x="9757433" y="56221"/>
                      <a:pt x="9745045" y="27835"/>
                      <a:pt x="9720270" y="27835"/>
                    </a:cubicBezTo>
                    <a:close/>
                    <a:moveTo>
                      <a:pt x="9500826" y="27835"/>
                    </a:moveTo>
                    <a:cubicBezTo>
                      <a:pt x="9474646" y="27835"/>
                      <a:pt x="9461556" y="56673"/>
                      <a:pt x="9461556" y="114349"/>
                    </a:cubicBezTo>
                    <a:cubicBezTo>
                      <a:pt x="9461556" y="168313"/>
                      <a:pt x="9474395" y="195295"/>
                      <a:pt x="9500074" y="195295"/>
                    </a:cubicBezTo>
                    <a:cubicBezTo>
                      <a:pt x="9525350" y="195295"/>
                      <a:pt x="9537989" y="167862"/>
                      <a:pt x="9537989" y="112995"/>
                    </a:cubicBezTo>
                    <a:cubicBezTo>
                      <a:pt x="9537989" y="56221"/>
                      <a:pt x="9525601" y="27835"/>
                      <a:pt x="9500826" y="27835"/>
                    </a:cubicBezTo>
                    <a:close/>
                    <a:moveTo>
                      <a:pt x="11867680" y="0"/>
                    </a:moveTo>
                    <a:lnTo>
                      <a:pt x="11882586" y="0"/>
                    </a:lnTo>
                    <a:lnTo>
                      <a:pt x="11882586" y="222980"/>
                    </a:lnTo>
                    <a:lnTo>
                      <a:pt x="11847298" y="222980"/>
                    </a:lnTo>
                    <a:lnTo>
                      <a:pt x="11847298" y="43196"/>
                    </a:lnTo>
                    <a:cubicBezTo>
                      <a:pt x="11840910" y="47760"/>
                      <a:pt x="11834040" y="51638"/>
                      <a:pt x="11826689" y="54832"/>
                    </a:cubicBezTo>
                    <a:cubicBezTo>
                      <a:pt x="11819337" y="58027"/>
                      <a:pt x="11810946" y="60840"/>
                      <a:pt x="11801516" y="63274"/>
                    </a:cubicBezTo>
                    <a:lnTo>
                      <a:pt x="11801516" y="33158"/>
                    </a:lnTo>
                    <a:cubicBezTo>
                      <a:pt x="11807397" y="31232"/>
                      <a:pt x="11813076" y="29203"/>
                      <a:pt x="11818551" y="27074"/>
                    </a:cubicBezTo>
                    <a:cubicBezTo>
                      <a:pt x="11824027" y="24945"/>
                      <a:pt x="11829427" y="22561"/>
                      <a:pt x="11834750" y="19925"/>
                    </a:cubicBezTo>
                    <a:cubicBezTo>
                      <a:pt x="11840074" y="17289"/>
                      <a:pt x="11845448" y="14348"/>
                      <a:pt x="11850873" y="11103"/>
                    </a:cubicBezTo>
                    <a:cubicBezTo>
                      <a:pt x="11856298" y="7859"/>
                      <a:pt x="11861900" y="4157"/>
                      <a:pt x="11867680" y="0"/>
                    </a:cubicBezTo>
                    <a:close/>
                    <a:moveTo>
                      <a:pt x="11676006" y="0"/>
                    </a:moveTo>
                    <a:cubicBezTo>
                      <a:pt x="11723450" y="0"/>
                      <a:pt x="11747173" y="36862"/>
                      <a:pt x="11747173" y="110587"/>
                    </a:cubicBezTo>
                    <a:cubicBezTo>
                      <a:pt x="11747173" y="147099"/>
                      <a:pt x="11740477" y="174959"/>
                      <a:pt x="11727087" y="194167"/>
                    </a:cubicBezTo>
                    <a:cubicBezTo>
                      <a:pt x="11713696" y="213375"/>
                      <a:pt x="11694964" y="222980"/>
                      <a:pt x="11670890" y="222980"/>
                    </a:cubicBezTo>
                    <a:cubicBezTo>
                      <a:pt x="11648422" y="222980"/>
                      <a:pt x="11630893" y="213802"/>
                      <a:pt x="11618305" y="195446"/>
                    </a:cubicBezTo>
                    <a:cubicBezTo>
                      <a:pt x="11605716" y="177090"/>
                      <a:pt x="11599422" y="150559"/>
                      <a:pt x="11599422" y="115854"/>
                    </a:cubicBezTo>
                    <a:cubicBezTo>
                      <a:pt x="11599422" y="77737"/>
                      <a:pt x="11605992" y="48899"/>
                      <a:pt x="11619132" y="29339"/>
                    </a:cubicBezTo>
                    <a:cubicBezTo>
                      <a:pt x="11632273" y="9780"/>
                      <a:pt x="11651230" y="0"/>
                      <a:pt x="11676006" y="0"/>
                    </a:cubicBezTo>
                    <a:close/>
                    <a:moveTo>
                      <a:pt x="10969444" y="0"/>
                    </a:moveTo>
                    <a:cubicBezTo>
                      <a:pt x="11016888" y="0"/>
                      <a:pt x="11040611" y="36862"/>
                      <a:pt x="11040611" y="110587"/>
                    </a:cubicBezTo>
                    <a:cubicBezTo>
                      <a:pt x="11040611" y="147099"/>
                      <a:pt x="11033915" y="174959"/>
                      <a:pt x="11020525" y="194167"/>
                    </a:cubicBezTo>
                    <a:cubicBezTo>
                      <a:pt x="11007134" y="213375"/>
                      <a:pt x="10988402" y="222980"/>
                      <a:pt x="10964328" y="222980"/>
                    </a:cubicBezTo>
                    <a:cubicBezTo>
                      <a:pt x="10941860" y="222980"/>
                      <a:pt x="10924331" y="213802"/>
                      <a:pt x="10911743" y="195446"/>
                    </a:cubicBezTo>
                    <a:cubicBezTo>
                      <a:pt x="10899154" y="177090"/>
                      <a:pt x="10892860" y="150559"/>
                      <a:pt x="10892860" y="115854"/>
                    </a:cubicBezTo>
                    <a:cubicBezTo>
                      <a:pt x="10892860" y="77737"/>
                      <a:pt x="10899430" y="48899"/>
                      <a:pt x="10912570" y="29339"/>
                    </a:cubicBezTo>
                    <a:cubicBezTo>
                      <a:pt x="10925711" y="9780"/>
                      <a:pt x="10944668" y="0"/>
                      <a:pt x="10969444" y="0"/>
                    </a:cubicBezTo>
                    <a:close/>
                    <a:moveTo>
                      <a:pt x="10595726" y="0"/>
                    </a:moveTo>
                    <a:lnTo>
                      <a:pt x="10610632" y="0"/>
                    </a:lnTo>
                    <a:lnTo>
                      <a:pt x="10610632" y="222980"/>
                    </a:lnTo>
                    <a:lnTo>
                      <a:pt x="10575344" y="222980"/>
                    </a:lnTo>
                    <a:lnTo>
                      <a:pt x="10575344" y="43196"/>
                    </a:lnTo>
                    <a:cubicBezTo>
                      <a:pt x="10568956" y="47760"/>
                      <a:pt x="10562086" y="51638"/>
                      <a:pt x="10554735" y="54832"/>
                    </a:cubicBezTo>
                    <a:cubicBezTo>
                      <a:pt x="10547383" y="58027"/>
                      <a:pt x="10538992" y="60840"/>
                      <a:pt x="10529562" y="63274"/>
                    </a:cubicBezTo>
                    <a:lnTo>
                      <a:pt x="10529562" y="33158"/>
                    </a:lnTo>
                    <a:cubicBezTo>
                      <a:pt x="10535443" y="31232"/>
                      <a:pt x="10541122" y="29203"/>
                      <a:pt x="10546597" y="27074"/>
                    </a:cubicBezTo>
                    <a:cubicBezTo>
                      <a:pt x="10552073" y="24945"/>
                      <a:pt x="10557473" y="22561"/>
                      <a:pt x="10562796" y="19925"/>
                    </a:cubicBezTo>
                    <a:cubicBezTo>
                      <a:pt x="10568120" y="17289"/>
                      <a:pt x="10573494" y="14348"/>
                      <a:pt x="10578919" y="11103"/>
                    </a:cubicBezTo>
                    <a:cubicBezTo>
                      <a:pt x="10584344" y="7859"/>
                      <a:pt x="10589946" y="4157"/>
                      <a:pt x="10595726" y="0"/>
                    </a:cubicBezTo>
                    <a:close/>
                    <a:moveTo>
                      <a:pt x="10223518" y="0"/>
                    </a:moveTo>
                    <a:lnTo>
                      <a:pt x="10238424" y="0"/>
                    </a:lnTo>
                    <a:lnTo>
                      <a:pt x="10238424" y="222980"/>
                    </a:lnTo>
                    <a:lnTo>
                      <a:pt x="10203136" y="222980"/>
                    </a:lnTo>
                    <a:lnTo>
                      <a:pt x="10203136" y="43196"/>
                    </a:lnTo>
                    <a:cubicBezTo>
                      <a:pt x="10196748" y="47760"/>
                      <a:pt x="10189878" y="51638"/>
                      <a:pt x="10182527" y="54832"/>
                    </a:cubicBezTo>
                    <a:cubicBezTo>
                      <a:pt x="10175175" y="58027"/>
                      <a:pt x="10166784" y="60840"/>
                      <a:pt x="10157354" y="63274"/>
                    </a:cubicBezTo>
                    <a:lnTo>
                      <a:pt x="10157354" y="33158"/>
                    </a:lnTo>
                    <a:cubicBezTo>
                      <a:pt x="10163235" y="31232"/>
                      <a:pt x="10168914" y="29203"/>
                      <a:pt x="10174389" y="27074"/>
                    </a:cubicBezTo>
                    <a:cubicBezTo>
                      <a:pt x="10179865" y="24945"/>
                      <a:pt x="10185265" y="22561"/>
                      <a:pt x="10190588" y="19925"/>
                    </a:cubicBezTo>
                    <a:cubicBezTo>
                      <a:pt x="10195912" y="17289"/>
                      <a:pt x="10201286" y="14348"/>
                      <a:pt x="10206711" y="11103"/>
                    </a:cubicBezTo>
                    <a:cubicBezTo>
                      <a:pt x="10212136" y="7859"/>
                      <a:pt x="10217738" y="4157"/>
                      <a:pt x="10223518" y="0"/>
                    </a:cubicBezTo>
                    <a:close/>
                    <a:moveTo>
                      <a:pt x="9936302" y="0"/>
                    </a:moveTo>
                    <a:lnTo>
                      <a:pt x="9951208" y="0"/>
                    </a:lnTo>
                    <a:lnTo>
                      <a:pt x="9951208" y="222980"/>
                    </a:lnTo>
                    <a:lnTo>
                      <a:pt x="9915920" y="222980"/>
                    </a:lnTo>
                    <a:lnTo>
                      <a:pt x="9915920" y="43196"/>
                    </a:lnTo>
                    <a:cubicBezTo>
                      <a:pt x="9909532" y="47760"/>
                      <a:pt x="9902662" y="51638"/>
                      <a:pt x="9895311" y="54832"/>
                    </a:cubicBezTo>
                    <a:cubicBezTo>
                      <a:pt x="9887959" y="58027"/>
                      <a:pt x="9879568" y="60840"/>
                      <a:pt x="9870138" y="63274"/>
                    </a:cubicBezTo>
                    <a:lnTo>
                      <a:pt x="9870138" y="33158"/>
                    </a:lnTo>
                    <a:cubicBezTo>
                      <a:pt x="9876019" y="31232"/>
                      <a:pt x="9881698" y="29203"/>
                      <a:pt x="9887173" y="27074"/>
                    </a:cubicBezTo>
                    <a:cubicBezTo>
                      <a:pt x="9892649" y="24945"/>
                      <a:pt x="9898049" y="22561"/>
                      <a:pt x="9903372" y="19925"/>
                    </a:cubicBezTo>
                    <a:cubicBezTo>
                      <a:pt x="9908696" y="17289"/>
                      <a:pt x="9914070" y="14348"/>
                      <a:pt x="9919495" y="11103"/>
                    </a:cubicBezTo>
                    <a:cubicBezTo>
                      <a:pt x="9924920" y="7859"/>
                      <a:pt x="9930522" y="4157"/>
                      <a:pt x="9936302" y="0"/>
                    </a:cubicBezTo>
                    <a:close/>
                    <a:moveTo>
                      <a:pt x="9721925" y="0"/>
                    </a:moveTo>
                    <a:cubicBezTo>
                      <a:pt x="9769369" y="0"/>
                      <a:pt x="9793092" y="36862"/>
                      <a:pt x="9793092" y="110587"/>
                    </a:cubicBezTo>
                    <a:cubicBezTo>
                      <a:pt x="9793092" y="147099"/>
                      <a:pt x="9786396" y="174959"/>
                      <a:pt x="9773006" y="194167"/>
                    </a:cubicBezTo>
                    <a:cubicBezTo>
                      <a:pt x="9759615" y="213375"/>
                      <a:pt x="9740883" y="222980"/>
                      <a:pt x="9716809" y="222980"/>
                    </a:cubicBezTo>
                    <a:cubicBezTo>
                      <a:pt x="9694341" y="222980"/>
                      <a:pt x="9676812" y="213802"/>
                      <a:pt x="9664224" y="195446"/>
                    </a:cubicBezTo>
                    <a:cubicBezTo>
                      <a:pt x="9651635" y="177090"/>
                      <a:pt x="9645341" y="150559"/>
                      <a:pt x="9645341" y="115854"/>
                    </a:cubicBezTo>
                    <a:cubicBezTo>
                      <a:pt x="9645341" y="77737"/>
                      <a:pt x="9651911" y="48899"/>
                      <a:pt x="9665051" y="29339"/>
                    </a:cubicBezTo>
                    <a:cubicBezTo>
                      <a:pt x="9678192" y="9780"/>
                      <a:pt x="9697149" y="0"/>
                      <a:pt x="9721925" y="0"/>
                    </a:cubicBezTo>
                    <a:close/>
                    <a:moveTo>
                      <a:pt x="9502481" y="0"/>
                    </a:moveTo>
                    <a:cubicBezTo>
                      <a:pt x="9549925" y="0"/>
                      <a:pt x="9573648" y="36862"/>
                      <a:pt x="9573648" y="110587"/>
                    </a:cubicBezTo>
                    <a:cubicBezTo>
                      <a:pt x="9573648" y="147099"/>
                      <a:pt x="9566952" y="174959"/>
                      <a:pt x="9553562" y="194167"/>
                    </a:cubicBezTo>
                    <a:cubicBezTo>
                      <a:pt x="9540171" y="213375"/>
                      <a:pt x="9521439" y="222980"/>
                      <a:pt x="9497365" y="222980"/>
                    </a:cubicBezTo>
                    <a:cubicBezTo>
                      <a:pt x="9474897" y="222980"/>
                      <a:pt x="9457368" y="213802"/>
                      <a:pt x="9444780" y="195446"/>
                    </a:cubicBezTo>
                    <a:cubicBezTo>
                      <a:pt x="9432191" y="177090"/>
                      <a:pt x="9425897" y="150559"/>
                      <a:pt x="9425897" y="115854"/>
                    </a:cubicBezTo>
                    <a:cubicBezTo>
                      <a:pt x="9425897" y="77737"/>
                      <a:pt x="9432467" y="48899"/>
                      <a:pt x="9445607" y="29339"/>
                    </a:cubicBezTo>
                    <a:cubicBezTo>
                      <a:pt x="9458748" y="9780"/>
                      <a:pt x="9477705" y="0"/>
                      <a:pt x="9502481" y="0"/>
                    </a:cubicBezTo>
                    <a:close/>
                    <a:moveTo>
                      <a:pt x="9335494" y="0"/>
                    </a:moveTo>
                    <a:lnTo>
                      <a:pt x="9350400" y="0"/>
                    </a:lnTo>
                    <a:lnTo>
                      <a:pt x="9350400" y="222980"/>
                    </a:lnTo>
                    <a:lnTo>
                      <a:pt x="9315112" y="222980"/>
                    </a:lnTo>
                    <a:lnTo>
                      <a:pt x="9315112" y="43196"/>
                    </a:lnTo>
                    <a:cubicBezTo>
                      <a:pt x="9308724" y="47760"/>
                      <a:pt x="9301854" y="51638"/>
                      <a:pt x="9294503" y="54832"/>
                    </a:cubicBezTo>
                    <a:cubicBezTo>
                      <a:pt x="9287151" y="58027"/>
                      <a:pt x="9278760" y="60840"/>
                      <a:pt x="9269330" y="63274"/>
                    </a:cubicBezTo>
                    <a:lnTo>
                      <a:pt x="9269330" y="33158"/>
                    </a:lnTo>
                    <a:cubicBezTo>
                      <a:pt x="9275211" y="31232"/>
                      <a:pt x="9280890" y="29203"/>
                      <a:pt x="9286365" y="27074"/>
                    </a:cubicBezTo>
                    <a:cubicBezTo>
                      <a:pt x="9291841" y="24945"/>
                      <a:pt x="9297241" y="22561"/>
                      <a:pt x="9302564" y="19925"/>
                    </a:cubicBezTo>
                    <a:cubicBezTo>
                      <a:pt x="9307888" y="17289"/>
                      <a:pt x="9313262" y="14348"/>
                      <a:pt x="9318687" y="11103"/>
                    </a:cubicBezTo>
                    <a:cubicBezTo>
                      <a:pt x="9324112" y="7859"/>
                      <a:pt x="9329714" y="4157"/>
                      <a:pt x="9335494" y="0"/>
                    </a:cubicBezTo>
                    <a:close/>
                    <a:moveTo>
                      <a:pt x="9048278" y="0"/>
                    </a:moveTo>
                    <a:lnTo>
                      <a:pt x="9063184" y="0"/>
                    </a:lnTo>
                    <a:lnTo>
                      <a:pt x="9063184" y="222980"/>
                    </a:lnTo>
                    <a:lnTo>
                      <a:pt x="9027896" y="222980"/>
                    </a:lnTo>
                    <a:lnTo>
                      <a:pt x="9027896" y="43196"/>
                    </a:lnTo>
                    <a:cubicBezTo>
                      <a:pt x="9021508" y="47760"/>
                      <a:pt x="9014638" y="51638"/>
                      <a:pt x="9007287" y="54832"/>
                    </a:cubicBezTo>
                    <a:cubicBezTo>
                      <a:pt x="8999935" y="58027"/>
                      <a:pt x="8991544" y="60840"/>
                      <a:pt x="8982114" y="63274"/>
                    </a:cubicBezTo>
                    <a:lnTo>
                      <a:pt x="8982114" y="33158"/>
                    </a:lnTo>
                    <a:cubicBezTo>
                      <a:pt x="8987995" y="31232"/>
                      <a:pt x="8993674" y="29203"/>
                      <a:pt x="8999149" y="27074"/>
                    </a:cubicBezTo>
                    <a:cubicBezTo>
                      <a:pt x="9004625" y="24945"/>
                      <a:pt x="9010025" y="22561"/>
                      <a:pt x="9015348" y="19925"/>
                    </a:cubicBezTo>
                    <a:cubicBezTo>
                      <a:pt x="9020672" y="17289"/>
                      <a:pt x="9026046" y="14348"/>
                      <a:pt x="9031471" y="11103"/>
                    </a:cubicBezTo>
                    <a:cubicBezTo>
                      <a:pt x="9036896" y="7859"/>
                      <a:pt x="9042498" y="4157"/>
                      <a:pt x="9048278" y="0"/>
                    </a:cubicBezTo>
                    <a:close/>
                    <a:moveTo>
                      <a:pt x="8658487" y="0"/>
                    </a:moveTo>
                    <a:lnTo>
                      <a:pt x="8673393" y="0"/>
                    </a:lnTo>
                    <a:lnTo>
                      <a:pt x="8673393" y="222980"/>
                    </a:lnTo>
                    <a:lnTo>
                      <a:pt x="8638105" y="222980"/>
                    </a:lnTo>
                    <a:lnTo>
                      <a:pt x="8638105" y="43196"/>
                    </a:lnTo>
                    <a:cubicBezTo>
                      <a:pt x="8631717" y="47760"/>
                      <a:pt x="8624847" y="51638"/>
                      <a:pt x="8617496" y="54832"/>
                    </a:cubicBezTo>
                    <a:cubicBezTo>
                      <a:pt x="8610144" y="58027"/>
                      <a:pt x="8601753" y="60840"/>
                      <a:pt x="8592323" y="63274"/>
                    </a:cubicBezTo>
                    <a:lnTo>
                      <a:pt x="8592323" y="33158"/>
                    </a:lnTo>
                    <a:cubicBezTo>
                      <a:pt x="8598204" y="31232"/>
                      <a:pt x="8603883" y="29203"/>
                      <a:pt x="8609358" y="27074"/>
                    </a:cubicBezTo>
                    <a:cubicBezTo>
                      <a:pt x="8614834" y="24945"/>
                      <a:pt x="8620234" y="22561"/>
                      <a:pt x="8625557" y="19925"/>
                    </a:cubicBezTo>
                    <a:cubicBezTo>
                      <a:pt x="8630881" y="17289"/>
                      <a:pt x="8636255" y="14348"/>
                      <a:pt x="8641680" y="11103"/>
                    </a:cubicBezTo>
                    <a:cubicBezTo>
                      <a:pt x="8647105" y="7859"/>
                      <a:pt x="8652707" y="4157"/>
                      <a:pt x="8658487" y="0"/>
                    </a:cubicBezTo>
                    <a:close/>
                    <a:moveTo>
                      <a:pt x="8514879" y="0"/>
                    </a:moveTo>
                    <a:lnTo>
                      <a:pt x="8529785" y="0"/>
                    </a:lnTo>
                    <a:lnTo>
                      <a:pt x="8529785" y="222980"/>
                    </a:lnTo>
                    <a:lnTo>
                      <a:pt x="8494497" y="222980"/>
                    </a:lnTo>
                    <a:lnTo>
                      <a:pt x="8494497" y="43196"/>
                    </a:lnTo>
                    <a:cubicBezTo>
                      <a:pt x="8488109" y="47760"/>
                      <a:pt x="8481239" y="51638"/>
                      <a:pt x="8473888" y="54832"/>
                    </a:cubicBezTo>
                    <a:cubicBezTo>
                      <a:pt x="8466536" y="58027"/>
                      <a:pt x="8458145" y="60840"/>
                      <a:pt x="8448715" y="63274"/>
                    </a:cubicBezTo>
                    <a:lnTo>
                      <a:pt x="8448715" y="33158"/>
                    </a:lnTo>
                    <a:cubicBezTo>
                      <a:pt x="8454596" y="31232"/>
                      <a:pt x="8460275" y="29203"/>
                      <a:pt x="8465750" y="27074"/>
                    </a:cubicBezTo>
                    <a:cubicBezTo>
                      <a:pt x="8471226" y="24945"/>
                      <a:pt x="8476626" y="22561"/>
                      <a:pt x="8481949" y="19925"/>
                    </a:cubicBezTo>
                    <a:cubicBezTo>
                      <a:pt x="8487273" y="17289"/>
                      <a:pt x="8492647" y="14348"/>
                      <a:pt x="8498072" y="11103"/>
                    </a:cubicBezTo>
                    <a:cubicBezTo>
                      <a:pt x="8503497" y="7859"/>
                      <a:pt x="8509099" y="4157"/>
                      <a:pt x="8514879" y="0"/>
                    </a:cubicBezTo>
                    <a:close/>
                    <a:moveTo>
                      <a:pt x="8371271" y="0"/>
                    </a:moveTo>
                    <a:lnTo>
                      <a:pt x="8386177" y="0"/>
                    </a:lnTo>
                    <a:lnTo>
                      <a:pt x="8386177" y="222980"/>
                    </a:lnTo>
                    <a:lnTo>
                      <a:pt x="8350889" y="222980"/>
                    </a:lnTo>
                    <a:lnTo>
                      <a:pt x="8350889" y="43196"/>
                    </a:lnTo>
                    <a:cubicBezTo>
                      <a:pt x="8344501" y="47760"/>
                      <a:pt x="8337631" y="51638"/>
                      <a:pt x="8330280" y="54832"/>
                    </a:cubicBezTo>
                    <a:cubicBezTo>
                      <a:pt x="8322928" y="58027"/>
                      <a:pt x="8314537" y="60840"/>
                      <a:pt x="8305107" y="63274"/>
                    </a:cubicBezTo>
                    <a:lnTo>
                      <a:pt x="8305107" y="33158"/>
                    </a:lnTo>
                    <a:cubicBezTo>
                      <a:pt x="8310988" y="31232"/>
                      <a:pt x="8316667" y="29203"/>
                      <a:pt x="8322142" y="27074"/>
                    </a:cubicBezTo>
                    <a:cubicBezTo>
                      <a:pt x="8327618" y="24945"/>
                      <a:pt x="8333018" y="22561"/>
                      <a:pt x="8338341" y="19925"/>
                    </a:cubicBezTo>
                    <a:cubicBezTo>
                      <a:pt x="8343665" y="17289"/>
                      <a:pt x="8349039" y="14348"/>
                      <a:pt x="8354464" y="11103"/>
                    </a:cubicBezTo>
                    <a:cubicBezTo>
                      <a:pt x="8359889" y="7859"/>
                      <a:pt x="8365491" y="4157"/>
                      <a:pt x="8371271" y="0"/>
                    </a:cubicBezTo>
                    <a:close/>
                    <a:moveTo>
                      <a:pt x="7609270" y="0"/>
                    </a:moveTo>
                    <a:lnTo>
                      <a:pt x="7624177" y="0"/>
                    </a:lnTo>
                    <a:lnTo>
                      <a:pt x="7624177" y="222980"/>
                    </a:lnTo>
                    <a:lnTo>
                      <a:pt x="7588889" y="222980"/>
                    </a:lnTo>
                    <a:lnTo>
                      <a:pt x="7588889" y="43196"/>
                    </a:lnTo>
                    <a:cubicBezTo>
                      <a:pt x="7582501" y="47760"/>
                      <a:pt x="7575631" y="51638"/>
                      <a:pt x="7568279" y="54832"/>
                    </a:cubicBezTo>
                    <a:cubicBezTo>
                      <a:pt x="7560928" y="58027"/>
                      <a:pt x="7552537" y="60840"/>
                      <a:pt x="7543107" y="63274"/>
                    </a:cubicBezTo>
                    <a:lnTo>
                      <a:pt x="7543107" y="33158"/>
                    </a:lnTo>
                    <a:cubicBezTo>
                      <a:pt x="7548988" y="31232"/>
                      <a:pt x="7554666" y="29203"/>
                      <a:pt x="7560142" y="27074"/>
                    </a:cubicBezTo>
                    <a:cubicBezTo>
                      <a:pt x="7565618" y="24945"/>
                      <a:pt x="7571017" y="22561"/>
                      <a:pt x="7576341" y="19925"/>
                    </a:cubicBezTo>
                    <a:cubicBezTo>
                      <a:pt x="7581664" y="17289"/>
                      <a:pt x="7587039" y="14348"/>
                      <a:pt x="7592463" y="11103"/>
                    </a:cubicBezTo>
                    <a:cubicBezTo>
                      <a:pt x="7597889" y="7859"/>
                      <a:pt x="7603491" y="4157"/>
                      <a:pt x="7609270" y="0"/>
                    </a:cubicBezTo>
                    <a:close/>
                    <a:moveTo>
                      <a:pt x="7465662" y="0"/>
                    </a:moveTo>
                    <a:lnTo>
                      <a:pt x="7480569" y="0"/>
                    </a:lnTo>
                    <a:lnTo>
                      <a:pt x="7480569" y="222980"/>
                    </a:lnTo>
                    <a:lnTo>
                      <a:pt x="7445281" y="222980"/>
                    </a:lnTo>
                    <a:lnTo>
                      <a:pt x="7445281" y="43196"/>
                    </a:lnTo>
                    <a:cubicBezTo>
                      <a:pt x="7438893" y="47760"/>
                      <a:pt x="7432023" y="51638"/>
                      <a:pt x="7424671" y="54832"/>
                    </a:cubicBezTo>
                    <a:cubicBezTo>
                      <a:pt x="7417320" y="58027"/>
                      <a:pt x="7408929" y="60840"/>
                      <a:pt x="7399499" y="63274"/>
                    </a:cubicBezTo>
                    <a:lnTo>
                      <a:pt x="7399499" y="33158"/>
                    </a:lnTo>
                    <a:cubicBezTo>
                      <a:pt x="7405380" y="31232"/>
                      <a:pt x="7411058" y="29203"/>
                      <a:pt x="7416534" y="27074"/>
                    </a:cubicBezTo>
                    <a:cubicBezTo>
                      <a:pt x="7422010" y="24945"/>
                      <a:pt x="7427409" y="22561"/>
                      <a:pt x="7432733" y="19925"/>
                    </a:cubicBezTo>
                    <a:cubicBezTo>
                      <a:pt x="7438056" y="17289"/>
                      <a:pt x="7443431" y="14348"/>
                      <a:pt x="7448855" y="11103"/>
                    </a:cubicBezTo>
                    <a:cubicBezTo>
                      <a:pt x="7454281" y="7859"/>
                      <a:pt x="7459883" y="4157"/>
                      <a:pt x="7465662" y="0"/>
                    </a:cubicBezTo>
                    <a:close/>
                    <a:moveTo>
                      <a:pt x="7178446" y="0"/>
                    </a:moveTo>
                    <a:lnTo>
                      <a:pt x="7193353" y="0"/>
                    </a:lnTo>
                    <a:lnTo>
                      <a:pt x="7193353" y="222980"/>
                    </a:lnTo>
                    <a:lnTo>
                      <a:pt x="7158065" y="222980"/>
                    </a:lnTo>
                    <a:lnTo>
                      <a:pt x="7158065" y="43196"/>
                    </a:lnTo>
                    <a:cubicBezTo>
                      <a:pt x="7151677" y="47760"/>
                      <a:pt x="7144807" y="51638"/>
                      <a:pt x="7137455" y="54832"/>
                    </a:cubicBezTo>
                    <a:cubicBezTo>
                      <a:pt x="7130104" y="58027"/>
                      <a:pt x="7121713" y="60840"/>
                      <a:pt x="7112283" y="63274"/>
                    </a:cubicBezTo>
                    <a:lnTo>
                      <a:pt x="7112283" y="33158"/>
                    </a:lnTo>
                    <a:cubicBezTo>
                      <a:pt x="7118164" y="31232"/>
                      <a:pt x="7123842" y="29203"/>
                      <a:pt x="7129318" y="27074"/>
                    </a:cubicBezTo>
                    <a:cubicBezTo>
                      <a:pt x="7134794" y="24945"/>
                      <a:pt x="7140193" y="22561"/>
                      <a:pt x="7145517" y="19925"/>
                    </a:cubicBezTo>
                    <a:cubicBezTo>
                      <a:pt x="7150840" y="17289"/>
                      <a:pt x="7156215" y="14348"/>
                      <a:pt x="7161639" y="11103"/>
                    </a:cubicBezTo>
                    <a:cubicBezTo>
                      <a:pt x="7167065" y="7859"/>
                      <a:pt x="7172667" y="4157"/>
                      <a:pt x="7178446" y="0"/>
                    </a:cubicBezTo>
                    <a:close/>
                    <a:moveTo>
                      <a:pt x="6779862" y="0"/>
                    </a:moveTo>
                    <a:lnTo>
                      <a:pt x="6794768" y="0"/>
                    </a:lnTo>
                    <a:lnTo>
                      <a:pt x="6794768" y="222980"/>
                    </a:lnTo>
                    <a:lnTo>
                      <a:pt x="6759480" y="222980"/>
                    </a:lnTo>
                    <a:lnTo>
                      <a:pt x="6759480" y="43196"/>
                    </a:lnTo>
                    <a:cubicBezTo>
                      <a:pt x="6753092" y="47760"/>
                      <a:pt x="6746223" y="51638"/>
                      <a:pt x="6738871" y="54832"/>
                    </a:cubicBezTo>
                    <a:cubicBezTo>
                      <a:pt x="6731519" y="58027"/>
                      <a:pt x="6723129" y="60840"/>
                      <a:pt x="6713698" y="63274"/>
                    </a:cubicBezTo>
                    <a:lnTo>
                      <a:pt x="6713698" y="33158"/>
                    </a:lnTo>
                    <a:cubicBezTo>
                      <a:pt x="6719579" y="31232"/>
                      <a:pt x="6725258" y="29203"/>
                      <a:pt x="6730733" y="27074"/>
                    </a:cubicBezTo>
                    <a:cubicBezTo>
                      <a:pt x="6736209" y="24945"/>
                      <a:pt x="6741609" y="22561"/>
                      <a:pt x="6746932" y="19925"/>
                    </a:cubicBezTo>
                    <a:cubicBezTo>
                      <a:pt x="6752256" y="17289"/>
                      <a:pt x="6757630" y="14348"/>
                      <a:pt x="6763055" y="11103"/>
                    </a:cubicBezTo>
                    <a:cubicBezTo>
                      <a:pt x="6768480" y="7859"/>
                      <a:pt x="6774082" y="4157"/>
                      <a:pt x="6779862" y="0"/>
                    </a:cubicBezTo>
                    <a:close/>
                    <a:moveTo>
                      <a:pt x="6636254" y="0"/>
                    </a:moveTo>
                    <a:lnTo>
                      <a:pt x="6651160" y="0"/>
                    </a:lnTo>
                    <a:lnTo>
                      <a:pt x="6651160" y="222980"/>
                    </a:lnTo>
                    <a:lnTo>
                      <a:pt x="6615872" y="222980"/>
                    </a:lnTo>
                    <a:lnTo>
                      <a:pt x="6615872" y="43196"/>
                    </a:lnTo>
                    <a:cubicBezTo>
                      <a:pt x="6609484" y="47760"/>
                      <a:pt x="6602615" y="51638"/>
                      <a:pt x="6595263" y="54832"/>
                    </a:cubicBezTo>
                    <a:cubicBezTo>
                      <a:pt x="6587911" y="58027"/>
                      <a:pt x="6579521" y="60840"/>
                      <a:pt x="6570090" y="63274"/>
                    </a:cubicBezTo>
                    <a:lnTo>
                      <a:pt x="6570090" y="33158"/>
                    </a:lnTo>
                    <a:cubicBezTo>
                      <a:pt x="6575971" y="31232"/>
                      <a:pt x="6581650" y="29203"/>
                      <a:pt x="6587125" y="27074"/>
                    </a:cubicBezTo>
                    <a:cubicBezTo>
                      <a:pt x="6592601" y="24945"/>
                      <a:pt x="6598001" y="22561"/>
                      <a:pt x="6603324" y="19925"/>
                    </a:cubicBezTo>
                    <a:cubicBezTo>
                      <a:pt x="6608648" y="17289"/>
                      <a:pt x="6614022" y="14348"/>
                      <a:pt x="6619447" y="11103"/>
                    </a:cubicBezTo>
                    <a:cubicBezTo>
                      <a:pt x="6624872" y="7859"/>
                      <a:pt x="6630474" y="4157"/>
                      <a:pt x="6636254" y="0"/>
                    </a:cubicBezTo>
                    <a:close/>
                    <a:moveTo>
                      <a:pt x="6492646" y="0"/>
                    </a:moveTo>
                    <a:lnTo>
                      <a:pt x="6507552" y="0"/>
                    </a:lnTo>
                    <a:lnTo>
                      <a:pt x="6507552" y="222980"/>
                    </a:lnTo>
                    <a:lnTo>
                      <a:pt x="6472264" y="222980"/>
                    </a:lnTo>
                    <a:lnTo>
                      <a:pt x="6472264" y="43196"/>
                    </a:lnTo>
                    <a:cubicBezTo>
                      <a:pt x="6465876" y="47760"/>
                      <a:pt x="6459007" y="51638"/>
                      <a:pt x="6451655" y="54832"/>
                    </a:cubicBezTo>
                    <a:cubicBezTo>
                      <a:pt x="6444303" y="58027"/>
                      <a:pt x="6435913" y="60840"/>
                      <a:pt x="6426482" y="63274"/>
                    </a:cubicBezTo>
                    <a:lnTo>
                      <a:pt x="6426482" y="33158"/>
                    </a:lnTo>
                    <a:cubicBezTo>
                      <a:pt x="6432363" y="31232"/>
                      <a:pt x="6438042" y="29203"/>
                      <a:pt x="6443517" y="27074"/>
                    </a:cubicBezTo>
                    <a:cubicBezTo>
                      <a:pt x="6448993" y="24945"/>
                      <a:pt x="6454393" y="22561"/>
                      <a:pt x="6459716" y="19925"/>
                    </a:cubicBezTo>
                    <a:cubicBezTo>
                      <a:pt x="6465040" y="17289"/>
                      <a:pt x="6470414" y="14348"/>
                      <a:pt x="6475839" y="11103"/>
                    </a:cubicBezTo>
                    <a:cubicBezTo>
                      <a:pt x="6481264" y="7859"/>
                      <a:pt x="6486866" y="4157"/>
                      <a:pt x="6492646" y="0"/>
                    </a:cubicBezTo>
                    <a:close/>
                    <a:moveTo>
                      <a:pt x="6349038" y="0"/>
                    </a:moveTo>
                    <a:lnTo>
                      <a:pt x="6363944" y="0"/>
                    </a:lnTo>
                    <a:lnTo>
                      <a:pt x="6363944" y="222980"/>
                    </a:lnTo>
                    <a:lnTo>
                      <a:pt x="6328656" y="222980"/>
                    </a:lnTo>
                    <a:lnTo>
                      <a:pt x="6328656" y="43196"/>
                    </a:lnTo>
                    <a:cubicBezTo>
                      <a:pt x="6322268" y="47760"/>
                      <a:pt x="6315399" y="51638"/>
                      <a:pt x="6308047" y="54832"/>
                    </a:cubicBezTo>
                    <a:cubicBezTo>
                      <a:pt x="6300695" y="58027"/>
                      <a:pt x="6292305" y="60840"/>
                      <a:pt x="6282874" y="63274"/>
                    </a:cubicBezTo>
                    <a:lnTo>
                      <a:pt x="6282874" y="33158"/>
                    </a:lnTo>
                    <a:cubicBezTo>
                      <a:pt x="6288755" y="31232"/>
                      <a:pt x="6294434" y="29203"/>
                      <a:pt x="6299909" y="27074"/>
                    </a:cubicBezTo>
                    <a:cubicBezTo>
                      <a:pt x="6305385" y="24945"/>
                      <a:pt x="6310785" y="22561"/>
                      <a:pt x="6316108" y="19925"/>
                    </a:cubicBezTo>
                    <a:cubicBezTo>
                      <a:pt x="6321432" y="17289"/>
                      <a:pt x="6326806" y="14348"/>
                      <a:pt x="6332231" y="11103"/>
                    </a:cubicBezTo>
                    <a:cubicBezTo>
                      <a:pt x="6337656" y="7859"/>
                      <a:pt x="6343258" y="4157"/>
                      <a:pt x="6349038" y="0"/>
                    </a:cubicBezTo>
                    <a:close/>
                    <a:moveTo>
                      <a:pt x="6147836" y="0"/>
                    </a:moveTo>
                    <a:cubicBezTo>
                      <a:pt x="6195281" y="0"/>
                      <a:pt x="6219003" y="36862"/>
                      <a:pt x="6219003" y="110587"/>
                    </a:cubicBezTo>
                    <a:cubicBezTo>
                      <a:pt x="6219003" y="147099"/>
                      <a:pt x="6212308" y="174959"/>
                      <a:pt x="6198917" y="194167"/>
                    </a:cubicBezTo>
                    <a:cubicBezTo>
                      <a:pt x="6185526" y="213375"/>
                      <a:pt x="6166794" y="222980"/>
                      <a:pt x="6142720" y="222980"/>
                    </a:cubicBezTo>
                    <a:cubicBezTo>
                      <a:pt x="6120252" y="222980"/>
                      <a:pt x="6102723" y="213802"/>
                      <a:pt x="6090135" y="195446"/>
                    </a:cubicBezTo>
                    <a:cubicBezTo>
                      <a:pt x="6077546" y="177090"/>
                      <a:pt x="6071252" y="150559"/>
                      <a:pt x="6071252" y="115854"/>
                    </a:cubicBezTo>
                    <a:cubicBezTo>
                      <a:pt x="6071252" y="77737"/>
                      <a:pt x="6077822" y="48899"/>
                      <a:pt x="6090962" y="29339"/>
                    </a:cubicBezTo>
                    <a:cubicBezTo>
                      <a:pt x="6104103" y="9780"/>
                      <a:pt x="6123060" y="0"/>
                      <a:pt x="6147836" y="0"/>
                    </a:cubicBezTo>
                    <a:close/>
                    <a:moveTo>
                      <a:pt x="5812708" y="0"/>
                    </a:moveTo>
                    <a:lnTo>
                      <a:pt x="5827614" y="0"/>
                    </a:lnTo>
                    <a:lnTo>
                      <a:pt x="5827614" y="222980"/>
                    </a:lnTo>
                    <a:lnTo>
                      <a:pt x="5792326" y="222980"/>
                    </a:lnTo>
                    <a:lnTo>
                      <a:pt x="5792326" y="43196"/>
                    </a:lnTo>
                    <a:cubicBezTo>
                      <a:pt x="5785938" y="47760"/>
                      <a:pt x="5779069" y="51638"/>
                      <a:pt x="5771717" y="54832"/>
                    </a:cubicBezTo>
                    <a:cubicBezTo>
                      <a:pt x="5764366" y="58027"/>
                      <a:pt x="5755975" y="60840"/>
                      <a:pt x="5746545" y="63274"/>
                    </a:cubicBezTo>
                    <a:lnTo>
                      <a:pt x="5746545" y="33158"/>
                    </a:lnTo>
                    <a:cubicBezTo>
                      <a:pt x="5752425" y="31232"/>
                      <a:pt x="5758105" y="29203"/>
                      <a:pt x="5763579" y="27074"/>
                    </a:cubicBezTo>
                    <a:cubicBezTo>
                      <a:pt x="5769055" y="24945"/>
                      <a:pt x="5774455" y="22561"/>
                      <a:pt x="5779778" y="19925"/>
                    </a:cubicBezTo>
                    <a:cubicBezTo>
                      <a:pt x="5785102" y="17289"/>
                      <a:pt x="5790476" y="14348"/>
                      <a:pt x="5795901" y="11103"/>
                    </a:cubicBezTo>
                    <a:cubicBezTo>
                      <a:pt x="5801326" y="7859"/>
                      <a:pt x="5806928" y="4157"/>
                      <a:pt x="5812708" y="0"/>
                    </a:cubicBezTo>
                    <a:close/>
                    <a:moveTo>
                      <a:pt x="5612750" y="0"/>
                    </a:moveTo>
                    <a:cubicBezTo>
                      <a:pt x="5660195" y="0"/>
                      <a:pt x="5683917" y="36862"/>
                      <a:pt x="5683917" y="110587"/>
                    </a:cubicBezTo>
                    <a:cubicBezTo>
                      <a:pt x="5683917" y="147099"/>
                      <a:pt x="5677222" y="174959"/>
                      <a:pt x="5663831" y="194167"/>
                    </a:cubicBezTo>
                    <a:cubicBezTo>
                      <a:pt x="5650440" y="213375"/>
                      <a:pt x="5631708" y="222980"/>
                      <a:pt x="5607634" y="222980"/>
                    </a:cubicBezTo>
                    <a:cubicBezTo>
                      <a:pt x="5585166" y="222980"/>
                      <a:pt x="5567637" y="213802"/>
                      <a:pt x="5555049" y="195446"/>
                    </a:cubicBezTo>
                    <a:cubicBezTo>
                      <a:pt x="5542460" y="177090"/>
                      <a:pt x="5536166" y="150559"/>
                      <a:pt x="5536166" y="115854"/>
                    </a:cubicBezTo>
                    <a:cubicBezTo>
                      <a:pt x="5536166" y="77737"/>
                      <a:pt x="5542736" y="48899"/>
                      <a:pt x="5555877" y="29339"/>
                    </a:cubicBezTo>
                    <a:cubicBezTo>
                      <a:pt x="5569017" y="9780"/>
                      <a:pt x="5587974" y="0"/>
                      <a:pt x="5612750" y="0"/>
                    </a:cubicBezTo>
                    <a:close/>
                    <a:moveTo>
                      <a:pt x="4915100" y="0"/>
                    </a:moveTo>
                    <a:cubicBezTo>
                      <a:pt x="4962545" y="0"/>
                      <a:pt x="4986267" y="36862"/>
                      <a:pt x="4986267" y="110587"/>
                    </a:cubicBezTo>
                    <a:cubicBezTo>
                      <a:pt x="4986267" y="147099"/>
                      <a:pt x="4979572" y="174959"/>
                      <a:pt x="4966181" y="194167"/>
                    </a:cubicBezTo>
                    <a:cubicBezTo>
                      <a:pt x="4952790" y="213375"/>
                      <a:pt x="4934058" y="222980"/>
                      <a:pt x="4909984" y="222980"/>
                    </a:cubicBezTo>
                    <a:cubicBezTo>
                      <a:pt x="4887516" y="222980"/>
                      <a:pt x="4869987" y="213802"/>
                      <a:pt x="4857399" y="195446"/>
                    </a:cubicBezTo>
                    <a:cubicBezTo>
                      <a:pt x="4844810" y="177090"/>
                      <a:pt x="4838516" y="150559"/>
                      <a:pt x="4838516" y="115854"/>
                    </a:cubicBezTo>
                    <a:cubicBezTo>
                      <a:pt x="4838516" y="77737"/>
                      <a:pt x="4845086" y="48899"/>
                      <a:pt x="4858226" y="29339"/>
                    </a:cubicBezTo>
                    <a:cubicBezTo>
                      <a:pt x="4871367" y="9780"/>
                      <a:pt x="4890324" y="0"/>
                      <a:pt x="4915100" y="0"/>
                    </a:cubicBezTo>
                    <a:close/>
                    <a:moveTo>
                      <a:pt x="4540755" y="0"/>
                    </a:moveTo>
                    <a:lnTo>
                      <a:pt x="4555661" y="0"/>
                    </a:lnTo>
                    <a:lnTo>
                      <a:pt x="4555661" y="222980"/>
                    </a:lnTo>
                    <a:lnTo>
                      <a:pt x="4520373" y="222980"/>
                    </a:lnTo>
                    <a:lnTo>
                      <a:pt x="4520373" y="43196"/>
                    </a:lnTo>
                    <a:cubicBezTo>
                      <a:pt x="4513985" y="47760"/>
                      <a:pt x="4507116" y="51638"/>
                      <a:pt x="4499764" y="54832"/>
                    </a:cubicBezTo>
                    <a:cubicBezTo>
                      <a:pt x="4492412" y="58027"/>
                      <a:pt x="4484022" y="60840"/>
                      <a:pt x="4474591" y="63274"/>
                    </a:cubicBezTo>
                    <a:lnTo>
                      <a:pt x="4474591" y="33158"/>
                    </a:lnTo>
                    <a:cubicBezTo>
                      <a:pt x="4480472" y="31232"/>
                      <a:pt x="4486151" y="29203"/>
                      <a:pt x="4491626" y="27074"/>
                    </a:cubicBezTo>
                    <a:cubicBezTo>
                      <a:pt x="4497102" y="24945"/>
                      <a:pt x="4502502" y="22561"/>
                      <a:pt x="4507825" y="19925"/>
                    </a:cubicBezTo>
                    <a:cubicBezTo>
                      <a:pt x="4513149" y="17289"/>
                      <a:pt x="4518523" y="14348"/>
                      <a:pt x="4523948" y="11103"/>
                    </a:cubicBezTo>
                    <a:cubicBezTo>
                      <a:pt x="4529373" y="7859"/>
                      <a:pt x="4534975" y="4157"/>
                      <a:pt x="4540755" y="0"/>
                    </a:cubicBezTo>
                    <a:close/>
                    <a:moveTo>
                      <a:pt x="4171471" y="0"/>
                    </a:moveTo>
                    <a:lnTo>
                      <a:pt x="4186378" y="0"/>
                    </a:lnTo>
                    <a:lnTo>
                      <a:pt x="4186378" y="222980"/>
                    </a:lnTo>
                    <a:lnTo>
                      <a:pt x="4151090" y="222980"/>
                    </a:lnTo>
                    <a:lnTo>
                      <a:pt x="4151090" y="43196"/>
                    </a:lnTo>
                    <a:cubicBezTo>
                      <a:pt x="4144702" y="47760"/>
                      <a:pt x="4137832" y="51638"/>
                      <a:pt x="4130480" y="54832"/>
                    </a:cubicBezTo>
                    <a:cubicBezTo>
                      <a:pt x="4123129" y="58027"/>
                      <a:pt x="4114738" y="60840"/>
                      <a:pt x="4105308" y="63274"/>
                    </a:cubicBezTo>
                    <a:lnTo>
                      <a:pt x="4105308" y="33158"/>
                    </a:lnTo>
                    <a:cubicBezTo>
                      <a:pt x="4111189" y="31232"/>
                      <a:pt x="4116867" y="29203"/>
                      <a:pt x="4122343" y="27074"/>
                    </a:cubicBezTo>
                    <a:cubicBezTo>
                      <a:pt x="4127819" y="24945"/>
                      <a:pt x="4133218" y="22561"/>
                      <a:pt x="4138542" y="19925"/>
                    </a:cubicBezTo>
                    <a:cubicBezTo>
                      <a:pt x="4143865" y="17289"/>
                      <a:pt x="4149240" y="14348"/>
                      <a:pt x="4154664" y="11103"/>
                    </a:cubicBezTo>
                    <a:cubicBezTo>
                      <a:pt x="4160090" y="7859"/>
                      <a:pt x="4165692" y="4157"/>
                      <a:pt x="4171471" y="0"/>
                    </a:cubicBezTo>
                    <a:close/>
                    <a:moveTo>
                      <a:pt x="3870934" y="0"/>
                    </a:moveTo>
                    <a:lnTo>
                      <a:pt x="3885840" y="0"/>
                    </a:lnTo>
                    <a:lnTo>
                      <a:pt x="3885840" y="222980"/>
                    </a:lnTo>
                    <a:lnTo>
                      <a:pt x="3850552" y="222980"/>
                    </a:lnTo>
                    <a:lnTo>
                      <a:pt x="3850552" y="43196"/>
                    </a:lnTo>
                    <a:cubicBezTo>
                      <a:pt x="3844164" y="47760"/>
                      <a:pt x="3837294" y="51638"/>
                      <a:pt x="3829943" y="54832"/>
                    </a:cubicBezTo>
                    <a:cubicBezTo>
                      <a:pt x="3822591" y="58027"/>
                      <a:pt x="3814200" y="60840"/>
                      <a:pt x="3804770" y="63274"/>
                    </a:cubicBezTo>
                    <a:lnTo>
                      <a:pt x="3804770" y="33158"/>
                    </a:lnTo>
                    <a:cubicBezTo>
                      <a:pt x="3810651" y="31232"/>
                      <a:pt x="3816330" y="29203"/>
                      <a:pt x="3821805" y="27074"/>
                    </a:cubicBezTo>
                    <a:cubicBezTo>
                      <a:pt x="3827281" y="24945"/>
                      <a:pt x="3832680" y="22561"/>
                      <a:pt x="3838004" y="19925"/>
                    </a:cubicBezTo>
                    <a:cubicBezTo>
                      <a:pt x="3843328" y="17289"/>
                      <a:pt x="3848702" y="14348"/>
                      <a:pt x="3854126" y="11103"/>
                    </a:cubicBezTo>
                    <a:cubicBezTo>
                      <a:pt x="3859552" y="7859"/>
                      <a:pt x="3865154" y="4157"/>
                      <a:pt x="3870934" y="0"/>
                    </a:cubicBezTo>
                    <a:close/>
                    <a:moveTo>
                      <a:pt x="3663362" y="0"/>
                    </a:moveTo>
                    <a:cubicBezTo>
                      <a:pt x="3710807" y="0"/>
                      <a:pt x="3734530" y="36862"/>
                      <a:pt x="3734530" y="110587"/>
                    </a:cubicBezTo>
                    <a:cubicBezTo>
                      <a:pt x="3734530" y="147099"/>
                      <a:pt x="3727834" y="174959"/>
                      <a:pt x="3714444" y="194167"/>
                    </a:cubicBezTo>
                    <a:cubicBezTo>
                      <a:pt x="3701053" y="213375"/>
                      <a:pt x="3682320" y="222980"/>
                      <a:pt x="3658247" y="222980"/>
                    </a:cubicBezTo>
                    <a:cubicBezTo>
                      <a:pt x="3635778" y="222980"/>
                      <a:pt x="3618250" y="213802"/>
                      <a:pt x="3605662" y="195446"/>
                    </a:cubicBezTo>
                    <a:cubicBezTo>
                      <a:pt x="3593073" y="177090"/>
                      <a:pt x="3586779" y="150559"/>
                      <a:pt x="3586779" y="115854"/>
                    </a:cubicBezTo>
                    <a:cubicBezTo>
                      <a:pt x="3586779" y="77737"/>
                      <a:pt x="3593349" y="48899"/>
                      <a:pt x="3606489" y="29339"/>
                    </a:cubicBezTo>
                    <a:cubicBezTo>
                      <a:pt x="3619629" y="9780"/>
                      <a:pt x="3638587" y="0"/>
                      <a:pt x="3663362" y="0"/>
                    </a:cubicBezTo>
                    <a:close/>
                    <a:moveTo>
                      <a:pt x="3438698" y="0"/>
                    </a:moveTo>
                    <a:cubicBezTo>
                      <a:pt x="3486143" y="0"/>
                      <a:pt x="3509866" y="36862"/>
                      <a:pt x="3509866" y="110587"/>
                    </a:cubicBezTo>
                    <a:cubicBezTo>
                      <a:pt x="3509866" y="147099"/>
                      <a:pt x="3503170" y="174959"/>
                      <a:pt x="3489780" y="194167"/>
                    </a:cubicBezTo>
                    <a:cubicBezTo>
                      <a:pt x="3476389" y="213375"/>
                      <a:pt x="3457656" y="222980"/>
                      <a:pt x="3433583" y="222980"/>
                    </a:cubicBezTo>
                    <a:cubicBezTo>
                      <a:pt x="3411114" y="222980"/>
                      <a:pt x="3393586" y="213802"/>
                      <a:pt x="3380998" y="195446"/>
                    </a:cubicBezTo>
                    <a:cubicBezTo>
                      <a:pt x="3368409" y="177090"/>
                      <a:pt x="3362115" y="150559"/>
                      <a:pt x="3362115" y="115854"/>
                    </a:cubicBezTo>
                    <a:cubicBezTo>
                      <a:pt x="3362115" y="77737"/>
                      <a:pt x="3368685" y="48899"/>
                      <a:pt x="3381825" y="29339"/>
                    </a:cubicBezTo>
                    <a:cubicBezTo>
                      <a:pt x="3394965" y="9780"/>
                      <a:pt x="3413923" y="0"/>
                      <a:pt x="3438698" y="0"/>
                    </a:cubicBezTo>
                    <a:close/>
                    <a:moveTo>
                      <a:pt x="3292247" y="0"/>
                    </a:moveTo>
                    <a:lnTo>
                      <a:pt x="3307153" y="0"/>
                    </a:lnTo>
                    <a:lnTo>
                      <a:pt x="3307153" y="222980"/>
                    </a:lnTo>
                    <a:lnTo>
                      <a:pt x="3271865" y="222980"/>
                    </a:lnTo>
                    <a:lnTo>
                      <a:pt x="3271865" y="43196"/>
                    </a:lnTo>
                    <a:cubicBezTo>
                      <a:pt x="3265477" y="47760"/>
                      <a:pt x="3258607" y="51638"/>
                      <a:pt x="3251256" y="54832"/>
                    </a:cubicBezTo>
                    <a:cubicBezTo>
                      <a:pt x="3243904" y="58027"/>
                      <a:pt x="3235513" y="60840"/>
                      <a:pt x="3226083" y="63274"/>
                    </a:cubicBezTo>
                    <a:lnTo>
                      <a:pt x="3226083" y="33158"/>
                    </a:lnTo>
                    <a:cubicBezTo>
                      <a:pt x="3231964" y="31232"/>
                      <a:pt x="3237643" y="29203"/>
                      <a:pt x="3243118" y="27074"/>
                    </a:cubicBezTo>
                    <a:cubicBezTo>
                      <a:pt x="3248594" y="24945"/>
                      <a:pt x="3253993" y="22561"/>
                      <a:pt x="3259317" y="19925"/>
                    </a:cubicBezTo>
                    <a:cubicBezTo>
                      <a:pt x="3264641" y="17289"/>
                      <a:pt x="3270015" y="14348"/>
                      <a:pt x="3275439" y="11103"/>
                    </a:cubicBezTo>
                    <a:cubicBezTo>
                      <a:pt x="3280865" y="7859"/>
                      <a:pt x="3286467" y="4157"/>
                      <a:pt x="3292247" y="0"/>
                    </a:cubicBezTo>
                    <a:close/>
                    <a:moveTo>
                      <a:pt x="2987447" y="0"/>
                    </a:moveTo>
                    <a:lnTo>
                      <a:pt x="3002353" y="0"/>
                    </a:lnTo>
                    <a:lnTo>
                      <a:pt x="3002353" y="222980"/>
                    </a:lnTo>
                    <a:lnTo>
                      <a:pt x="2967065" y="222980"/>
                    </a:lnTo>
                    <a:lnTo>
                      <a:pt x="2967065" y="43196"/>
                    </a:lnTo>
                    <a:cubicBezTo>
                      <a:pt x="2960677" y="47760"/>
                      <a:pt x="2953807" y="51638"/>
                      <a:pt x="2946456" y="54832"/>
                    </a:cubicBezTo>
                    <a:cubicBezTo>
                      <a:pt x="2939104" y="58027"/>
                      <a:pt x="2930713" y="60840"/>
                      <a:pt x="2921283" y="63274"/>
                    </a:cubicBezTo>
                    <a:lnTo>
                      <a:pt x="2921283" y="33158"/>
                    </a:lnTo>
                    <a:cubicBezTo>
                      <a:pt x="2927164" y="31232"/>
                      <a:pt x="2932843" y="29203"/>
                      <a:pt x="2938318" y="27074"/>
                    </a:cubicBezTo>
                    <a:cubicBezTo>
                      <a:pt x="2943794" y="24945"/>
                      <a:pt x="2949193" y="22561"/>
                      <a:pt x="2954517" y="19925"/>
                    </a:cubicBezTo>
                    <a:cubicBezTo>
                      <a:pt x="2959841" y="17289"/>
                      <a:pt x="2965215" y="14348"/>
                      <a:pt x="2970639" y="11103"/>
                    </a:cubicBezTo>
                    <a:cubicBezTo>
                      <a:pt x="2976065" y="7859"/>
                      <a:pt x="2981667" y="4157"/>
                      <a:pt x="2987447" y="0"/>
                    </a:cubicBezTo>
                    <a:close/>
                    <a:moveTo>
                      <a:pt x="2592752" y="0"/>
                    </a:moveTo>
                    <a:lnTo>
                      <a:pt x="2607658" y="0"/>
                    </a:lnTo>
                    <a:lnTo>
                      <a:pt x="2607658" y="222980"/>
                    </a:lnTo>
                    <a:lnTo>
                      <a:pt x="2572370" y="222980"/>
                    </a:lnTo>
                    <a:lnTo>
                      <a:pt x="2572370" y="43196"/>
                    </a:lnTo>
                    <a:cubicBezTo>
                      <a:pt x="2565982" y="47760"/>
                      <a:pt x="2559112" y="51638"/>
                      <a:pt x="2551761" y="54832"/>
                    </a:cubicBezTo>
                    <a:cubicBezTo>
                      <a:pt x="2544409" y="58027"/>
                      <a:pt x="2536018" y="60840"/>
                      <a:pt x="2526588" y="63274"/>
                    </a:cubicBezTo>
                    <a:lnTo>
                      <a:pt x="2526588" y="33158"/>
                    </a:lnTo>
                    <a:cubicBezTo>
                      <a:pt x="2532469" y="31232"/>
                      <a:pt x="2538148" y="29203"/>
                      <a:pt x="2543623" y="27074"/>
                    </a:cubicBezTo>
                    <a:cubicBezTo>
                      <a:pt x="2549099" y="24945"/>
                      <a:pt x="2554498" y="22561"/>
                      <a:pt x="2559822" y="19925"/>
                    </a:cubicBezTo>
                    <a:cubicBezTo>
                      <a:pt x="2565146" y="17289"/>
                      <a:pt x="2570520" y="14348"/>
                      <a:pt x="2575944" y="11103"/>
                    </a:cubicBezTo>
                    <a:cubicBezTo>
                      <a:pt x="2581370" y="7859"/>
                      <a:pt x="2586972" y="4157"/>
                      <a:pt x="2592752" y="0"/>
                    </a:cubicBezTo>
                    <a:close/>
                    <a:moveTo>
                      <a:pt x="2442158" y="0"/>
                    </a:moveTo>
                    <a:lnTo>
                      <a:pt x="2457064" y="0"/>
                    </a:lnTo>
                    <a:lnTo>
                      <a:pt x="2457064" y="222980"/>
                    </a:lnTo>
                    <a:lnTo>
                      <a:pt x="2421776" y="222980"/>
                    </a:lnTo>
                    <a:lnTo>
                      <a:pt x="2421776" y="43196"/>
                    </a:lnTo>
                    <a:cubicBezTo>
                      <a:pt x="2415388" y="47760"/>
                      <a:pt x="2408518" y="51638"/>
                      <a:pt x="2401167" y="54832"/>
                    </a:cubicBezTo>
                    <a:cubicBezTo>
                      <a:pt x="2393815" y="58027"/>
                      <a:pt x="2385424" y="60840"/>
                      <a:pt x="2375994" y="63274"/>
                    </a:cubicBezTo>
                    <a:lnTo>
                      <a:pt x="2375994" y="33158"/>
                    </a:lnTo>
                    <a:cubicBezTo>
                      <a:pt x="2381875" y="31232"/>
                      <a:pt x="2387554" y="29203"/>
                      <a:pt x="2393029" y="27074"/>
                    </a:cubicBezTo>
                    <a:cubicBezTo>
                      <a:pt x="2398505" y="24945"/>
                      <a:pt x="2403904" y="22561"/>
                      <a:pt x="2409228" y="19925"/>
                    </a:cubicBezTo>
                    <a:cubicBezTo>
                      <a:pt x="2414552" y="17289"/>
                      <a:pt x="2419926" y="14348"/>
                      <a:pt x="2425350" y="11103"/>
                    </a:cubicBezTo>
                    <a:cubicBezTo>
                      <a:pt x="2430776" y="7859"/>
                      <a:pt x="2436378" y="4157"/>
                      <a:pt x="2442158" y="0"/>
                    </a:cubicBezTo>
                    <a:close/>
                    <a:moveTo>
                      <a:pt x="2308833" y="0"/>
                    </a:moveTo>
                    <a:lnTo>
                      <a:pt x="2323739" y="0"/>
                    </a:lnTo>
                    <a:lnTo>
                      <a:pt x="2323739" y="222980"/>
                    </a:lnTo>
                    <a:lnTo>
                      <a:pt x="2288451" y="222980"/>
                    </a:lnTo>
                    <a:lnTo>
                      <a:pt x="2288451" y="43196"/>
                    </a:lnTo>
                    <a:cubicBezTo>
                      <a:pt x="2282063" y="47760"/>
                      <a:pt x="2275193" y="51638"/>
                      <a:pt x="2267842" y="54832"/>
                    </a:cubicBezTo>
                    <a:cubicBezTo>
                      <a:pt x="2260490" y="58027"/>
                      <a:pt x="2252099" y="60840"/>
                      <a:pt x="2242669" y="63274"/>
                    </a:cubicBezTo>
                    <a:lnTo>
                      <a:pt x="2242669" y="33158"/>
                    </a:lnTo>
                    <a:cubicBezTo>
                      <a:pt x="2248550" y="31232"/>
                      <a:pt x="2254229" y="29203"/>
                      <a:pt x="2259704" y="27074"/>
                    </a:cubicBezTo>
                    <a:cubicBezTo>
                      <a:pt x="2265180" y="24945"/>
                      <a:pt x="2270579" y="22561"/>
                      <a:pt x="2275903" y="19925"/>
                    </a:cubicBezTo>
                    <a:cubicBezTo>
                      <a:pt x="2281227" y="17289"/>
                      <a:pt x="2286601" y="14348"/>
                      <a:pt x="2292025" y="11103"/>
                    </a:cubicBezTo>
                    <a:cubicBezTo>
                      <a:pt x="2297451" y="7859"/>
                      <a:pt x="2303053" y="4157"/>
                      <a:pt x="2308833" y="0"/>
                    </a:cubicBezTo>
                    <a:close/>
                    <a:moveTo>
                      <a:pt x="1555169" y="0"/>
                    </a:moveTo>
                    <a:lnTo>
                      <a:pt x="1570075" y="0"/>
                    </a:lnTo>
                    <a:lnTo>
                      <a:pt x="1570075" y="222980"/>
                    </a:lnTo>
                    <a:lnTo>
                      <a:pt x="1534787" y="222980"/>
                    </a:lnTo>
                    <a:lnTo>
                      <a:pt x="1534787" y="43196"/>
                    </a:lnTo>
                    <a:cubicBezTo>
                      <a:pt x="1528400" y="47760"/>
                      <a:pt x="1521529" y="51638"/>
                      <a:pt x="1514178" y="54832"/>
                    </a:cubicBezTo>
                    <a:cubicBezTo>
                      <a:pt x="1506826" y="58027"/>
                      <a:pt x="1498435" y="60840"/>
                      <a:pt x="1489005" y="63274"/>
                    </a:cubicBezTo>
                    <a:lnTo>
                      <a:pt x="1489005" y="33158"/>
                    </a:lnTo>
                    <a:cubicBezTo>
                      <a:pt x="1494886" y="31232"/>
                      <a:pt x="1500565" y="29203"/>
                      <a:pt x="1506040" y="27074"/>
                    </a:cubicBezTo>
                    <a:cubicBezTo>
                      <a:pt x="1511516" y="24945"/>
                      <a:pt x="1516916" y="22561"/>
                      <a:pt x="1522239" y="19925"/>
                    </a:cubicBezTo>
                    <a:cubicBezTo>
                      <a:pt x="1527563" y="17289"/>
                      <a:pt x="1532937" y="14348"/>
                      <a:pt x="1538362" y="11103"/>
                    </a:cubicBezTo>
                    <a:cubicBezTo>
                      <a:pt x="1543787" y="7859"/>
                      <a:pt x="1549389" y="4157"/>
                      <a:pt x="1555169" y="0"/>
                    </a:cubicBezTo>
                    <a:close/>
                    <a:moveTo>
                      <a:pt x="1401777" y="0"/>
                    </a:moveTo>
                    <a:lnTo>
                      <a:pt x="1416683" y="0"/>
                    </a:lnTo>
                    <a:lnTo>
                      <a:pt x="1416683" y="222980"/>
                    </a:lnTo>
                    <a:lnTo>
                      <a:pt x="1381395" y="222980"/>
                    </a:lnTo>
                    <a:lnTo>
                      <a:pt x="1381395" y="43196"/>
                    </a:lnTo>
                    <a:cubicBezTo>
                      <a:pt x="1375007" y="47760"/>
                      <a:pt x="1368137" y="51638"/>
                      <a:pt x="1360786" y="54832"/>
                    </a:cubicBezTo>
                    <a:cubicBezTo>
                      <a:pt x="1353434" y="58027"/>
                      <a:pt x="1345043" y="60840"/>
                      <a:pt x="1335613" y="63274"/>
                    </a:cubicBezTo>
                    <a:lnTo>
                      <a:pt x="1335613" y="33158"/>
                    </a:lnTo>
                    <a:cubicBezTo>
                      <a:pt x="1341494" y="31232"/>
                      <a:pt x="1347173" y="29203"/>
                      <a:pt x="1352648" y="27074"/>
                    </a:cubicBezTo>
                    <a:cubicBezTo>
                      <a:pt x="1358124" y="24945"/>
                      <a:pt x="1363524" y="22561"/>
                      <a:pt x="1368847" y="19925"/>
                    </a:cubicBezTo>
                    <a:cubicBezTo>
                      <a:pt x="1374171" y="17289"/>
                      <a:pt x="1379545" y="14348"/>
                      <a:pt x="1384970" y="11103"/>
                    </a:cubicBezTo>
                    <a:cubicBezTo>
                      <a:pt x="1390395" y="7859"/>
                      <a:pt x="1395997" y="4157"/>
                      <a:pt x="1401777" y="0"/>
                    </a:cubicBezTo>
                    <a:close/>
                    <a:moveTo>
                      <a:pt x="1107708" y="0"/>
                    </a:moveTo>
                    <a:lnTo>
                      <a:pt x="1122614" y="0"/>
                    </a:lnTo>
                    <a:lnTo>
                      <a:pt x="1122614" y="222980"/>
                    </a:lnTo>
                    <a:lnTo>
                      <a:pt x="1087326" y="222980"/>
                    </a:lnTo>
                    <a:lnTo>
                      <a:pt x="1087326" y="43196"/>
                    </a:lnTo>
                    <a:cubicBezTo>
                      <a:pt x="1080938" y="47760"/>
                      <a:pt x="1074068" y="51638"/>
                      <a:pt x="1066717" y="54832"/>
                    </a:cubicBezTo>
                    <a:cubicBezTo>
                      <a:pt x="1059365" y="58027"/>
                      <a:pt x="1050974" y="60840"/>
                      <a:pt x="1041544" y="63274"/>
                    </a:cubicBezTo>
                    <a:lnTo>
                      <a:pt x="1041544" y="33158"/>
                    </a:lnTo>
                    <a:cubicBezTo>
                      <a:pt x="1047425" y="31232"/>
                      <a:pt x="1053104" y="29203"/>
                      <a:pt x="1058579" y="27074"/>
                    </a:cubicBezTo>
                    <a:cubicBezTo>
                      <a:pt x="1064055" y="24945"/>
                      <a:pt x="1069455" y="22561"/>
                      <a:pt x="1074778" y="19925"/>
                    </a:cubicBezTo>
                    <a:cubicBezTo>
                      <a:pt x="1080102" y="17289"/>
                      <a:pt x="1085476" y="14348"/>
                      <a:pt x="1090901" y="11103"/>
                    </a:cubicBezTo>
                    <a:cubicBezTo>
                      <a:pt x="1096326" y="7859"/>
                      <a:pt x="1101928" y="4157"/>
                      <a:pt x="1107708" y="0"/>
                    </a:cubicBezTo>
                    <a:close/>
                    <a:moveTo>
                      <a:pt x="732569" y="0"/>
                    </a:moveTo>
                    <a:lnTo>
                      <a:pt x="747475" y="0"/>
                    </a:lnTo>
                    <a:lnTo>
                      <a:pt x="747475" y="222980"/>
                    </a:lnTo>
                    <a:lnTo>
                      <a:pt x="712187" y="222980"/>
                    </a:lnTo>
                    <a:lnTo>
                      <a:pt x="712187" y="43196"/>
                    </a:lnTo>
                    <a:cubicBezTo>
                      <a:pt x="705799" y="47760"/>
                      <a:pt x="698929" y="51638"/>
                      <a:pt x="691578" y="54832"/>
                    </a:cubicBezTo>
                    <a:cubicBezTo>
                      <a:pt x="684226" y="58027"/>
                      <a:pt x="675835" y="60840"/>
                      <a:pt x="666405" y="63274"/>
                    </a:cubicBezTo>
                    <a:lnTo>
                      <a:pt x="666405" y="33158"/>
                    </a:lnTo>
                    <a:cubicBezTo>
                      <a:pt x="672286" y="31232"/>
                      <a:pt x="677965" y="29203"/>
                      <a:pt x="683440" y="27074"/>
                    </a:cubicBezTo>
                    <a:cubicBezTo>
                      <a:pt x="688916" y="24945"/>
                      <a:pt x="694316" y="22561"/>
                      <a:pt x="699639" y="19925"/>
                    </a:cubicBezTo>
                    <a:cubicBezTo>
                      <a:pt x="704963" y="17289"/>
                      <a:pt x="710337" y="14348"/>
                      <a:pt x="715762" y="11103"/>
                    </a:cubicBezTo>
                    <a:cubicBezTo>
                      <a:pt x="721187" y="7859"/>
                      <a:pt x="726789" y="4157"/>
                      <a:pt x="732569" y="0"/>
                    </a:cubicBezTo>
                    <a:close/>
                    <a:moveTo>
                      <a:pt x="583712" y="0"/>
                    </a:moveTo>
                    <a:lnTo>
                      <a:pt x="598618" y="0"/>
                    </a:lnTo>
                    <a:lnTo>
                      <a:pt x="598618" y="222980"/>
                    </a:lnTo>
                    <a:lnTo>
                      <a:pt x="563330" y="222980"/>
                    </a:lnTo>
                    <a:lnTo>
                      <a:pt x="563330" y="43196"/>
                    </a:lnTo>
                    <a:cubicBezTo>
                      <a:pt x="556942" y="47760"/>
                      <a:pt x="550072" y="51638"/>
                      <a:pt x="542721" y="54832"/>
                    </a:cubicBezTo>
                    <a:cubicBezTo>
                      <a:pt x="535369" y="58027"/>
                      <a:pt x="526978" y="60840"/>
                      <a:pt x="517548" y="63274"/>
                    </a:cubicBezTo>
                    <a:lnTo>
                      <a:pt x="517548" y="33158"/>
                    </a:lnTo>
                    <a:cubicBezTo>
                      <a:pt x="523429" y="31232"/>
                      <a:pt x="529108" y="29203"/>
                      <a:pt x="534583" y="27074"/>
                    </a:cubicBezTo>
                    <a:cubicBezTo>
                      <a:pt x="540059" y="24945"/>
                      <a:pt x="545459" y="22561"/>
                      <a:pt x="550782" y="19925"/>
                    </a:cubicBezTo>
                    <a:cubicBezTo>
                      <a:pt x="556106" y="17289"/>
                      <a:pt x="561480" y="14348"/>
                      <a:pt x="566905" y="11103"/>
                    </a:cubicBezTo>
                    <a:cubicBezTo>
                      <a:pt x="572330" y="7859"/>
                      <a:pt x="577932" y="4157"/>
                      <a:pt x="583712" y="0"/>
                    </a:cubicBezTo>
                    <a:close/>
                    <a:moveTo>
                      <a:pt x="434855" y="0"/>
                    </a:moveTo>
                    <a:lnTo>
                      <a:pt x="449761" y="0"/>
                    </a:lnTo>
                    <a:lnTo>
                      <a:pt x="449761" y="222980"/>
                    </a:lnTo>
                    <a:lnTo>
                      <a:pt x="414473" y="222980"/>
                    </a:lnTo>
                    <a:lnTo>
                      <a:pt x="414473" y="43196"/>
                    </a:lnTo>
                    <a:cubicBezTo>
                      <a:pt x="408085" y="47760"/>
                      <a:pt x="401215" y="51638"/>
                      <a:pt x="393864" y="54832"/>
                    </a:cubicBezTo>
                    <a:cubicBezTo>
                      <a:pt x="386512" y="58027"/>
                      <a:pt x="378121" y="60840"/>
                      <a:pt x="368691" y="63274"/>
                    </a:cubicBezTo>
                    <a:lnTo>
                      <a:pt x="368691" y="33158"/>
                    </a:lnTo>
                    <a:cubicBezTo>
                      <a:pt x="374572" y="31232"/>
                      <a:pt x="380251" y="29203"/>
                      <a:pt x="385726" y="27074"/>
                    </a:cubicBezTo>
                    <a:cubicBezTo>
                      <a:pt x="391202" y="24945"/>
                      <a:pt x="396602" y="22561"/>
                      <a:pt x="401925" y="19925"/>
                    </a:cubicBezTo>
                    <a:cubicBezTo>
                      <a:pt x="407249" y="17289"/>
                      <a:pt x="412623" y="14348"/>
                      <a:pt x="418048" y="11103"/>
                    </a:cubicBezTo>
                    <a:cubicBezTo>
                      <a:pt x="423473" y="7859"/>
                      <a:pt x="429075" y="4157"/>
                      <a:pt x="434855" y="0"/>
                    </a:cubicBezTo>
                    <a:close/>
                    <a:moveTo>
                      <a:pt x="285998" y="0"/>
                    </a:moveTo>
                    <a:lnTo>
                      <a:pt x="300904" y="0"/>
                    </a:lnTo>
                    <a:lnTo>
                      <a:pt x="300904" y="222980"/>
                    </a:lnTo>
                    <a:lnTo>
                      <a:pt x="265616" y="222980"/>
                    </a:lnTo>
                    <a:lnTo>
                      <a:pt x="265616" y="43196"/>
                    </a:lnTo>
                    <a:cubicBezTo>
                      <a:pt x="259228" y="47760"/>
                      <a:pt x="252358" y="51638"/>
                      <a:pt x="245007" y="54832"/>
                    </a:cubicBezTo>
                    <a:cubicBezTo>
                      <a:pt x="237655" y="58027"/>
                      <a:pt x="229264" y="60840"/>
                      <a:pt x="219834" y="63274"/>
                    </a:cubicBezTo>
                    <a:lnTo>
                      <a:pt x="219834" y="33158"/>
                    </a:lnTo>
                    <a:cubicBezTo>
                      <a:pt x="225715" y="31232"/>
                      <a:pt x="231394" y="29203"/>
                      <a:pt x="236869" y="27074"/>
                    </a:cubicBezTo>
                    <a:cubicBezTo>
                      <a:pt x="242345" y="24945"/>
                      <a:pt x="247745" y="22561"/>
                      <a:pt x="253068" y="19925"/>
                    </a:cubicBezTo>
                    <a:cubicBezTo>
                      <a:pt x="258392" y="17289"/>
                      <a:pt x="263766" y="14348"/>
                      <a:pt x="269191" y="11103"/>
                    </a:cubicBezTo>
                    <a:cubicBezTo>
                      <a:pt x="274616" y="7859"/>
                      <a:pt x="280218" y="4157"/>
                      <a:pt x="285998" y="0"/>
                    </a:cubicBezTo>
                    <a:close/>
                    <a:moveTo>
                      <a:pt x="76584" y="0"/>
                    </a:moveTo>
                    <a:cubicBezTo>
                      <a:pt x="124028" y="0"/>
                      <a:pt x="147751" y="36862"/>
                      <a:pt x="147751" y="110587"/>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4" y="177090"/>
                      <a:pt x="0" y="150559"/>
                      <a:pt x="0" y="115854"/>
                    </a:cubicBezTo>
                    <a:cubicBezTo>
                      <a:pt x="0" y="77737"/>
                      <a:pt x="6570"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3" name="Freeform 402"/>
              <p:cNvSpPr/>
              <p:nvPr/>
            </p:nvSpPr>
            <p:spPr>
              <a:xfrm>
                <a:off x="4523784" y="73882"/>
                <a:ext cx="6567108" cy="222980"/>
              </a:xfrm>
              <a:custGeom>
                <a:avLst/>
                <a:gdLst>
                  <a:gd name="connsiteX0" fmla="*/ 6494286 w 6567108"/>
                  <a:gd name="connsiteY0" fmla="*/ 27835 h 222980"/>
                  <a:gd name="connsiteX1" fmla="*/ 6455016 w 6567108"/>
                  <a:gd name="connsiteY1" fmla="*/ 114349 h 222980"/>
                  <a:gd name="connsiteX2" fmla="*/ 6493534 w 6567108"/>
                  <a:gd name="connsiteY2" fmla="*/ 195295 h 222980"/>
                  <a:gd name="connsiteX3" fmla="*/ 6531449 w 6567108"/>
                  <a:gd name="connsiteY3" fmla="*/ 112995 h 222980"/>
                  <a:gd name="connsiteX4" fmla="*/ 6494286 w 6567108"/>
                  <a:gd name="connsiteY4" fmla="*/ 27835 h 222980"/>
                  <a:gd name="connsiteX5" fmla="*/ 6133684 w 6567108"/>
                  <a:gd name="connsiteY5" fmla="*/ 27835 h 222980"/>
                  <a:gd name="connsiteX6" fmla="*/ 6094414 w 6567108"/>
                  <a:gd name="connsiteY6" fmla="*/ 114349 h 222980"/>
                  <a:gd name="connsiteX7" fmla="*/ 6132932 w 6567108"/>
                  <a:gd name="connsiteY7" fmla="*/ 195295 h 222980"/>
                  <a:gd name="connsiteX8" fmla="*/ 6170847 w 6567108"/>
                  <a:gd name="connsiteY8" fmla="*/ 112995 h 222980"/>
                  <a:gd name="connsiteX9" fmla="*/ 6133684 w 6567108"/>
                  <a:gd name="connsiteY9" fmla="*/ 27835 h 222980"/>
                  <a:gd name="connsiteX10" fmla="*/ 74928 w 6567108"/>
                  <a:gd name="connsiteY10" fmla="*/ 27835 h 222980"/>
                  <a:gd name="connsiteX11" fmla="*/ 35659 w 6567108"/>
                  <a:gd name="connsiteY11" fmla="*/ 114349 h 222980"/>
                  <a:gd name="connsiteX12" fmla="*/ 74176 w 6567108"/>
                  <a:gd name="connsiteY12" fmla="*/ 195295 h 222980"/>
                  <a:gd name="connsiteX13" fmla="*/ 112092 w 6567108"/>
                  <a:gd name="connsiteY13" fmla="*/ 112995 h 222980"/>
                  <a:gd name="connsiteX14" fmla="*/ 74928 w 6567108"/>
                  <a:gd name="connsiteY14" fmla="*/ 27835 h 222980"/>
                  <a:gd name="connsiteX15" fmla="*/ 439941 w 6567108"/>
                  <a:gd name="connsiteY15" fmla="*/ 27835 h 222980"/>
                  <a:gd name="connsiteX16" fmla="*/ 400672 w 6567108"/>
                  <a:gd name="connsiteY16" fmla="*/ 114349 h 222980"/>
                  <a:gd name="connsiteX17" fmla="*/ 439189 w 6567108"/>
                  <a:gd name="connsiteY17" fmla="*/ 195295 h 222980"/>
                  <a:gd name="connsiteX18" fmla="*/ 477105 w 6567108"/>
                  <a:gd name="connsiteY18" fmla="*/ 112995 h 222980"/>
                  <a:gd name="connsiteX19" fmla="*/ 439941 w 6567108"/>
                  <a:gd name="connsiteY19" fmla="*/ 27835 h 222980"/>
                  <a:gd name="connsiteX20" fmla="*/ 6495941 w 6567108"/>
                  <a:gd name="connsiteY20" fmla="*/ 0 h 222980"/>
                  <a:gd name="connsiteX21" fmla="*/ 6567108 w 6567108"/>
                  <a:gd name="connsiteY21" fmla="*/ 110587 h 222980"/>
                  <a:gd name="connsiteX22" fmla="*/ 6547022 w 6567108"/>
                  <a:gd name="connsiteY22" fmla="*/ 194167 h 222980"/>
                  <a:gd name="connsiteX23" fmla="*/ 6490825 w 6567108"/>
                  <a:gd name="connsiteY23" fmla="*/ 222980 h 222980"/>
                  <a:gd name="connsiteX24" fmla="*/ 6438240 w 6567108"/>
                  <a:gd name="connsiteY24" fmla="*/ 195446 h 222980"/>
                  <a:gd name="connsiteX25" fmla="*/ 6419357 w 6567108"/>
                  <a:gd name="connsiteY25" fmla="*/ 115854 h 222980"/>
                  <a:gd name="connsiteX26" fmla="*/ 6439067 w 6567108"/>
                  <a:gd name="connsiteY26" fmla="*/ 29339 h 222980"/>
                  <a:gd name="connsiteX27" fmla="*/ 6495941 w 6567108"/>
                  <a:gd name="connsiteY27" fmla="*/ 0 h 222980"/>
                  <a:gd name="connsiteX28" fmla="*/ 6135339 w 6567108"/>
                  <a:gd name="connsiteY28" fmla="*/ 0 h 222980"/>
                  <a:gd name="connsiteX29" fmla="*/ 6206506 w 6567108"/>
                  <a:gd name="connsiteY29" fmla="*/ 110587 h 222980"/>
                  <a:gd name="connsiteX30" fmla="*/ 6186420 w 6567108"/>
                  <a:gd name="connsiteY30" fmla="*/ 194167 h 222980"/>
                  <a:gd name="connsiteX31" fmla="*/ 6130223 w 6567108"/>
                  <a:gd name="connsiteY31" fmla="*/ 222980 h 222980"/>
                  <a:gd name="connsiteX32" fmla="*/ 6077638 w 6567108"/>
                  <a:gd name="connsiteY32" fmla="*/ 195446 h 222980"/>
                  <a:gd name="connsiteX33" fmla="*/ 6058755 w 6567108"/>
                  <a:gd name="connsiteY33" fmla="*/ 115854 h 222980"/>
                  <a:gd name="connsiteX34" fmla="*/ 6078465 w 6567108"/>
                  <a:gd name="connsiteY34" fmla="*/ 29339 h 222980"/>
                  <a:gd name="connsiteX35" fmla="*/ 6135339 w 6567108"/>
                  <a:gd name="connsiteY35" fmla="*/ 0 h 222980"/>
                  <a:gd name="connsiteX36" fmla="*/ 441596 w 6567108"/>
                  <a:gd name="connsiteY36" fmla="*/ 0 h 222980"/>
                  <a:gd name="connsiteX37" fmla="*/ 512764 w 6567108"/>
                  <a:gd name="connsiteY37" fmla="*/ 110587 h 222980"/>
                  <a:gd name="connsiteX38" fmla="*/ 492678 w 6567108"/>
                  <a:gd name="connsiteY38" fmla="*/ 194167 h 222980"/>
                  <a:gd name="connsiteX39" fmla="*/ 436481 w 6567108"/>
                  <a:gd name="connsiteY39" fmla="*/ 222980 h 222980"/>
                  <a:gd name="connsiteX40" fmla="*/ 383895 w 6567108"/>
                  <a:gd name="connsiteY40" fmla="*/ 195446 h 222980"/>
                  <a:gd name="connsiteX41" fmla="*/ 365013 w 6567108"/>
                  <a:gd name="connsiteY41" fmla="*/ 115854 h 222980"/>
                  <a:gd name="connsiteX42" fmla="*/ 384723 w 6567108"/>
                  <a:gd name="connsiteY42" fmla="*/ 29339 h 222980"/>
                  <a:gd name="connsiteX43" fmla="*/ 441596 w 6567108"/>
                  <a:gd name="connsiteY43" fmla="*/ 0 h 222980"/>
                  <a:gd name="connsiteX44" fmla="*/ 76583 w 6567108"/>
                  <a:gd name="connsiteY44" fmla="*/ 0 h 222980"/>
                  <a:gd name="connsiteX45" fmla="*/ 147751 w 6567108"/>
                  <a:gd name="connsiteY45" fmla="*/ 110587 h 222980"/>
                  <a:gd name="connsiteX46" fmla="*/ 127665 w 6567108"/>
                  <a:gd name="connsiteY46" fmla="*/ 194167 h 222980"/>
                  <a:gd name="connsiteX47" fmla="*/ 71468 w 6567108"/>
                  <a:gd name="connsiteY47" fmla="*/ 222980 h 222980"/>
                  <a:gd name="connsiteX48" fmla="*/ 18882 w 6567108"/>
                  <a:gd name="connsiteY48" fmla="*/ 195446 h 222980"/>
                  <a:gd name="connsiteX49" fmla="*/ 0 w 6567108"/>
                  <a:gd name="connsiteY49" fmla="*/ 115854 h 222980"/>
                  <a:gd name="connsiteX50" fmla="*/ 19710 w 6567108"/>
                  <a:gd name="connsiteY50" fmla="*/ 29339 h 222980"/>
                  <a:gd name="connsiteX51" fmla="*/ 76583 w 6567108"/>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67108" h="222980">
                    <a:moveTo>
                      <a:pt x="6494286" y="27835"/>
                    </a:moveTo>
                    <a:cubicBezTo>
                      <a:pt x="6468106" y="27835"/>
                      <a:pt x="6455016" y="56673"/>
                      <a:pt x="6455016" y="114349"/>
                    </a:cubicBezTo>
                    <a:cubicBezTo>
                      <a:pt x="6455016" y="168313"/>
                      <a:pt x="6467855" y="195295"/>
                      <a:pt x="6493534" y="195295"/>
                    </a:cubicBezTo>
                    <a:cubicBezTo>
                      <a:pt x="6518810" y="195295"/>
                      <a:pt x="6531449" y="167862"/>
                      <a:pt x="6531449" y="112995"/>
                    </a:cubicBezTo>
                    <a:cubicBezTo>
                      <a:pt x="6531449" y="56221"/>
                      <a:pt x="6519061" y="27835"/>
                      <a:pt x="6494286" y="27835"/>
                    </a:cubicBezTo>
                    <a:close/>
                    <a:moveTo>
                      <a:pt x="6133684" y="27835"/>
                    </a:moveTo>
                    <a:cubicBezTo>
                      <a:pt x="6107504" y="27835"/>
                      <a:pt x="6094414" y="56673"/>
                      <a:pt x="6094414" y="114349"/>
                    </a:cubicBezTo>
                    <a:cubicBezTo>
                      <a:pt x="6094414" y="168313"/>
                      <a:pt x="6107253" y="195295"/>
                      <a:pt x="6132932" y="195295"/>
                    </a:cubicBezTo>
                    <a:cubicBezTo>
                      <a:pt x="6158208" y="195295"/>
                      <a:pt x="6170847" y="167862"/>
                      <a:pt x="6170847" y="112995"/>
                    </a:cubicBezTo>
                    <a:cubicBezTo>
                      <a:pt x="6170847" y="56221"/>
                      <a:pt x="6158459" y="27835"/>
                      <a:pt x="6133684" y="27835"/>
                    </a:cubicBezTo>
                    <a:close/>
                    <a:moveTo>
                      <a:pt x="74928" y="27835"/>
                    </a:moveTo>
                    <a:cubicBezTo>
                      <a:pt x="48749" y="27835"/>
                      <a:pt x="35659" y="56673"/>
                      <a:pt x="35659" y="114349"/>
                    </a:cubicBezTo>
                    <a:cubicBezTo>
                      <a:pt x="35659" y="168313"/>
                      <a:pt x="48498" y="195295"/>
                      <a:pt x="74176" y="195295"/>
                    </a:cubicBezTo>
                    <a:cubicBezTo>
                      <a:pt x="99453" y="195295"/>
                      <a:pt x="112092" y="167862"/>
                      <a:pt x="112092" y="112995"/>
                    </a:cubicBezTo>
                    <a:cubicBezTo>
                      <a:pt x="112092" y="56221"/>
                      <a:pt x="99704" y="27835"/>
                      <a:pt x="74928" y="27835"/>
                    </a:cubicBezTo>
                    <a:close/>
                    <a:moveTo>
                      <a:pt x="439941" y="27835"/>
                    </a:moveTo>
                    <a:cubicBezTo>
                      <a:pt x="413762" y="27835"/>
                      <a:pt x="400672" y="56673"/>
                      <a:pt x="400672" y="114349"/>
                    </a:cubicBezTo>
                    <a:cubicBezTo>
                      <a:pt x="400672" y="168313"/>
                      <a:pt x="413511" y="195295"/>
                      <a:pt x="439189" y="195295"/>
                    </a:cubicBezTo>
                    <a:cubicBezTo>
                      <a:pt x="464466" y="195295"/>
                      <a:pt x="477105" y="167862"/>
                      <a:pt x="477105" y="112995"/>
                    </a:cubicBezTo>
                    <a:cubicBezTo>
                      <a:pt x="477105" y="56221"/>
                      <a:pt x="464717" y="27835"/>
                      <a:pt x="439941" y="27835"/>
                    </a:cubicBezTo>
                    <a:close/>
                    <a:moveTo>
                      <a:pt x="6495941" y="0"/>
                    </a:moveTo>
                    <a:cubicBezTo>
                      <a:pt x="6543385" y="0"/>
                      <a:pt x="6567108" y="36862"/>
                      <a:pt x="6567108" y="110587"/>
                    </a:cubicBezTo>
                    <a:cubicBezTo>
                      <a:pt x="6567108" y="147099"/>
                      <a:pt x="6560412" y="174959"/>
                      <a:pt x="6547022" y="194167"/>
                    </a:cubicBezTo>
                    <a:cubicBezTo>
                      <a:pt x="6533631" y="213375"/>
                      <a:pt x="6514899" y="222980"/>
                      <a:pt x="6490825" y="222980"/>
                    </a:cubicBezTo>
                    <a:cubicBezTo>
                      <a:pt x="6468357" y="222980"/>
                      <a:pt x="6450828" y="213802"/>
                      <a:pt x="6438240" y="195446"/>
                    </a:cubicBezTo>
                    <a:cubicBezTo>
                      <a:pt x="6425651" y="177090"/>
                      <a:pt x="6419357" y="150559"/>
                      <a:pt x="6419357" y="115854"/>
                    </a:cubicBezTo>
                    <a:cubicBezTo>
                      <a:pt x="6419357" y="77737"/>
                      <a:pt x="6425927" y="48899"/>
                      <a:pt x="6439067" y="29339"/>
                    </a:cubicBezTo>
                    <a:cubicBezTo>
                      <a:pt x="6452208" y="9780"/>
                      <a:pt x="6471165" y="0"/>
                      <a:pt x="6495941" y="0"/>
                    </a:cubicBezTo>
                    <a:close/>
                    <a:moveTo>
                      <a:pt x="6135339" y="0"/>
                    </a:moveTo>
                    <a:cubicBezTo>
                      <a:pt x="6182783" y="0"/>
                      <a:pt x="6206506" y="36862"/>
                      <a:pt x="6206506" y="110587"/>
                    </a:cubicBezTo>
                    <a:cubicBezTo>
                      <a:pt x="6206506" y="147099"/>
                      <a:pt x="6199810" y="174959"/>
                      <a:pt x="6186420" y="194167"/>
                    </a:cubicBezTo>
                    <a:cubicBezTo>
                      <a:pt x="6173029" y="213375"/>
                      <a:pt x="6154297" y="222980"/>
                      <a:pt x="6130223" y="222980"/>
                    </a:cubicBezTo>
                    <a:cubicBezTo>
                      <a:pt x="6107755" y="222980"/>
                      <a:pt x="6090226" y="213802"/>
                      <a:pt x="6077638" y="195446"/>
                    </a:cubicBezTo>
                    <a:cubicBezTo>
                      <a:pt x="6065049" y="177090"/>
                      <a:pt x="6058755" y="150559"/>
                      <a:pt x="6058755" y="115854"/>
                    </a:cubicBezTo>
                    <a:cubicBezTo>
                      <a:pt x="6058755" y="77737"/>
                      <a:pt x="6065325" y="48899"/>
                      <a:pt x="6078465" y="29339"/>
                    </a:cubicBezTo>
                    <a:cubicBezTo>
                      <a:pt x="6091606" y="9780"/>
                      <a:pt x="6110563" y="0"/>
                      <a:pt x="6135339" y="0"/>
                    </a:cubicBezTo>
                    <a:close/>
                    <a:moveTo>
                      <a:pt x="441596" y="0"/>
                    </a:moveTo>
                    <a:cubicBezTo>
                      <a:pt x="489041" y="0"/>
                      <a:pt x="512764" y="36862"/>
                      <a:pt x="512764" y="110587"/>
                    </a:cubicBezTo>
                    <a:cubicBezTo>
                      <a:pt x="512764" y="147099"/>
                      <a:pt x="506068" y="174959"/>
                      <a:pt x="492678" y="194167"/>
                    </a:cubicBezTo>
                    <a:cubicBezTo>
                      <a:pt x="479286" y="213375"/>
                      <a:pt x="460554" y="222980"/>
                      <a:pt x="436481" y="222980"/>
                    </a:cubicBezTo>
                    <a:cubicBezTo>
                      <a:pt x="414012" y="222980"/>
                      <a:pt x="396484" y="213802"/>
                      <a:pt x="383895" y="195446"/>
                    </a:cubicBezTo>
                    <a:cubicBezTo>
                      <a:pt x="371307" y="177090"/>
                      <a:pt x="365013" y="150559"/>
                      <a:pt x="365013" y="115854"/>
                    </a:cubicBezTo>
                    <a:cubicBezTo>
                      <a:pt x="365013" y="77737"/>
                      <a:pt x="371583" y="48899"/>
                      <a:pt x="384723" y="29339"/>
                    </a:cubicBezTo>
                    <a:cubicBezTo>
                      <a:pt x="397863" y="9780"/>
                      <a:pt x="416821" y="0"/>
                      <a:pt x="441596" y="0"/>
                    </a:cubicBezTo>
                    <a:close/>
                    <a:moveTo>
                      <a:pt x="76583" y="0"/>
                    </a:moveTo>
                    <a:cubicBezTo>
                      <a:pt x="124028" y="0"/>
                      <a:pt x="147751" y="36862"/>
                      <a:pt x="147751" y="110587"/>
                    </a:cubicBezTo>
                    <a:cubicBezTo>
                      <a:pt x="147751" y="147099"/>
                      <a:pt x="141055" y="174959"/>
                      <a:pt x="127665" y="194167"/>
                    </a:cubicBezTo>
                    <a:cubicBezTo>
                      <a:pt x="114273" y="213375"/>
                      <a:pt x="95541" y="222980"/>
                      <a:pt x="71468" y="222980"/>
                    </a:cubicBezTo>
                    <a:cubicBezTo>
                      <a:pt x="48999" y="222980"/>
                      <a:pt x="31471" y="213802"/>
                      <a:pt x="18882" y="195446"/>
                    </a:cubicBezTo>
                    <a:cubicBezTo>
                      <a:pt x="6294" y="177090"/>
                      <a:pt x="0" y="150559"/>
                      <a:pt x="0" y="115854"/>
                    </a:cubicBezTo>
                    <a:cubicBezTo>
                      <a:pt x="0" y="77737"/>
                      <a:pt x="6570" y="48899"/>
                      <a:pt x="19710" y="29339"/>
                    </a:cubicBezTo>
                    <a:cubicBezTo>
                      <a:pt x="32850" y="9780"/>
                      <a:pt x="51808" y="0"/>
                      <a:pt x="76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404" name="Freeform 403"/>
              <p:cNvSpPr/>
              <p:nvPr/>
            </p:nvSpPr>
            <p:spPr>
              <a:xfrm>
                <a:off x="2938234" y="73882"/>
                <a:ext cx="6250822" cy="222980"/>
              </a:xfrm>
              <a:custGeom>
                <a:avLst/>
                <a:gdLst>
                  <a:gd name="connsiteX0" fmla="*/ 6172192 w 6250822"/>
                  <a:gd name="connsiteY0" fmla="*/ 0 h 222980"/>
                  <a:gd name="connsiteX1" fmla="*/ 6226878 w 6250822"/>
                  <a:gd name="connsiteY1" fmla="*/ 39021 h 222980"/>
                  <a:gd name="connsiteX2" fmla="*/ 6226878 w 6250822"/>
                  <a:gd name="connsiteY2" fmla="*/ 75382 h 222980"/>
                  <a:gd name="connsiteX3" fmla="*/ 6250822 w 6250822"/>
                  <a:gd name="connsiteY3" fmla="*/ 102242 h 222980"/>
                  <a:gd name="connsiteX4" fmla="*/ 6250822 w 6250822"/>
                  <a:gd name="connsiteY4" fmla="*/ 120738 h 222980"/>
                  <a:gd name="connsiteX5" fmla="*/ 6226878 w 6250822"/>
                  <a:gd name="connsiteY5" fmla="*/ 147091 h 222980"/>
                  <a:gd name="connsiteX6" fmla="*/ 6226878 w 6250822"/>
                  <a:gd name="connsiteY6" fmla="*/ 184465 h 222980"/>
                  <a:gd name="connsiteX7" fmla="*/ 6172192 w 6250822"/>
                  <a:gd name="connsiteY7" fmla="*/ 222980 h 222980"/>
                  <a:gd name="connsiteX8" fmla="*/ 6172192 w 6250822"/>
                  <a:gd name="connsiteY8" fmla="*/ 203469 h 222980"/>
                  <a:gd name="connsiteX9" fmla="*/ 6191270 w 6250822"/>
                  <a:gd name="connsiteY9" fmla="*/ 197388 h 222980"/>
                  <a:gd name="connsiteX10" fmla="*/ 6196909 w 6250822"/>
                  <a:gd name="connsiteY10" fmla="*/ 178131 h 222980"/>
                  <a:gd name="connsiteX11" fmla="*/ 6196909 w 6250822"/>
                  <a:gd name="connsiteY11" fmla="*/ 142783 h 222980"/>
                  <a:gd name="connsiteX12" fmla="*/ 6227341 w 6250822"/>
                  <a:gd name="connsiteY12" fmla="*/ 111490 h 222980"/>
                  <a:gd name="connsiteX13" fmla="*/ 6227341 w 6250822"/>
                  <a:gd name="connsiteY13" fmla="*/ 111110 h 222980"/>
                  <a:gd name="connsiteX14" fmla="*/ 6196909 w 6250822"/>
                  <a:gd name="connsiteY14" fmla="*/ 79563 h 222980"/>
                  <a:gd name="connsiteX15" fmla="*/ 6196909 w 6250822"/>
                  <a:gd name="connsiteY15" fmla="*/ 43836 h 222980"/>
                  <a:gd name="connsiteX16" fmla="*/ 6172192 w 6250822"/>
                  <a:gd name="connsiteY16" fmla="*/ 19638 h 222980"/>
                  <a:gd name="connsiteX17" fmla="*/ 6150873 w 6250822"/>
                  <a:gd name="connsiteY17" fmla="*/ 0 h 222980"/>
                  <a:gd name="connsiteX18" fmla="*/ 6150873 w 6250822"/>
                  <a:gd name="connsiteY18" fmla="*/ 19638 h 222980"/>
                  <a:gd name="connsiteX19" fmla="*/ 6126311 w 6250822"/>
                  <a:gd name="connsiteY19" fmla="*/ 43836 h 222980"/>
                  <a:gd name="connsiteX20" fmla="*/ 6126311 w 6250822"/>
                  <a:gd name="connsiteY20" fmla="*/ 79563 h 222980"/>
                  <a:gd name="connsiteX21" fmla="*/ 6095570 w 6250822"/>
                  <a:gd name="connsiteY21" fmla="*/ 111110 h 222980"/>
                  <a:gd name="connsiteX22" fmla="*/ 6095570 w 6250822"/>
                  <a:gd name="connsiteY22" fmla="*/ 111490 h 222980"/>
                  <a:gd name="connsiteX23" fmla="*/ 6126311 w 6250822"/>
                  <a:gd name="connsiteY23" fmla="*/ 142783 h 222980"/>
                  <a:gd name="connsiteX24" fmla="*/ 6126311 w 6250822"/>
                  <a:gd name="connsiteY24" fmla="*/ 178131 h 222980"/>
                  <a:gd name="connsiteX25" fmla="*/ 6131795 w 6250822"/>
                  <a:gd name="connsiteY25" fmla="*/ 197451 h 222980"/>
                  <a:gd name="connsiteX26" fmla="*/ 6150873 w 6250822"/>
                  <a:gd name="connsiteY26" fmla="*/ 203469 h 222980"/>
                  <a:gd name="connsiteX27" fmla="*/ 6150873 w 6250822"/>
                  <a:gd name="connsiteY27" fmla="*/ 222980 h 222980"/>
                  <a:gd name="connsiteX28" fmla="*/ 6095879 w 6250822"/>
                  <a:gd name="connsiteY28" fmla="*/ 184465 h 222980"/>
                  <a:gd name="connsiteX29" fmla="*/ 6095879 w 6250822"/>
                  <a:gd name="connsiteY29" fmla="*/ 147091 h 222980"/>
                  <a:gd name="connsiteX30" fmla="*/ 6071780 w 6250822"/>
                  <a:gd name="connsiteY30" fmla="*/ 120738 h 222980"/>
                  <a:gd name="connsiteX31" fmla="*/ 6071780 w 6250822"/>
                  <a:gd name="connsiteY31" fmla="*/ 102242 h 222980"/>
                  <a:gd name="connsiteX32" fmla="*/ 6095879 w 6250822"/>
                  <a:gd name="connsiteY32" fmla="*/ 75382 h 222980"/>
                  <a:gd name="connsiteX33" fmla="*/ 6095879 w 6250822"/>
                  <a:gd name="connsiteY33" fmla="*/ 39021 h 222980"/>
                  <a:gd name="connsiteX34" fmla="*/ 6150873 w 6250822"/>
                  <a:gd name="connsiteY34" fmla="*/ 0 h 222980"/>
                  <a:gd name="connsiteX35" fmla="*/ 100412 w 6250822"/>
                  <a:gd name="connsiteY35" fmla="*/ 0 h 222980"/>
                  <a:gd name="connsiteX36" fmla="*/ 155097 w 6250822"/>
                  <a:gd name="connsiteY36" fmla="*/ 39021 h 222980"/>
                  <a:gd name="connsiteX37" fmla="*/ 155097 w 6250822"/>
                  <a:gd name="connsiteY37" fmla="*/ 75382 h 222980"/>
                  <a:gd name="connsiteX38" fmla="*/ 179042 w 6250822"/>
                  <a:gd name="connsiteY38" fmla="*/ 102242 h 222980"/>
                  <a:gd name="connsiteX39" fmla="*/ 179042 w 6250822"/>
                  <a:gd name="connsiteY39" fmla="*/ 120738 h 222980"/>
                  <a:gd name="connsiteX40" fmla="*/ 155097 w 6250822"/>
                  <a:gd name="connsiteY40" fmla="*/ 147091 h 222980"/>
                  <a:gd name="connsiteX41" fmla="*/ 155097 w 6250822"/>
                  <a:gd name="connsiteY41" fmla="*/ 184465 h 222980"/>
                  <a:gd name="connsiteX42" fmla="*/ 100412 w 6250822"/>
                  <a:gd name="connsiteY42" fmla="*/ 222980 h 222980"/>
                  <a:gd name="connsiteX43" fmla="*/ 100412 w 6250822"/>
                  <a:gd name="connsiteY43" fmla="*/ 203469 h 222980"/>
                  <a:gd name="connsiteX44" fmla="*/ 119490 w 6250822"/>
                  <a:gd name="connsiteY44" fmla="*/ 197388 h 222980"/>
                  <a:gd name="connsiteX45" fmla="*/ 125129 w 6250822"/>
                  <a:gd name="connsiteY45" fmla="*/ 178131 h 222980"/>
                  <a:gd name="connsiteX46" fmla="*/ 125129 w 6250822"/>
                  <a:gd name="connsiteY46" fmla="*/ 142783 h 222980"/>
                  <a:gd name="connsiteX47" fmla="*/ 155561 w 6250822"/>
                  <a:gd name="connsiteY47" fmla="*/ 111490 h 222980"/>
                  <a:gd name="connsiteX48" fmla="*/ 155561 w 6250822"/>
                  <a:gd name="connsiteY48" fmla="*/ 111110 h 222980"/>
                  <a:gd name="connsiteX49" fmla="*/ 125129 w 6250822"/>
                  <a:gd name="connsiteY49" fmla="*/ 79563 h 222980"/>
                  <a:gd name="connsiteX50" fmla="*/ 125129 w 6250822"/>
                  <a:gd name="connsiteY50" fmla="*/ 43836 h 222980"/>
                  <a:gd name="connsiteX51" fmla="*/ 100412 w 6250822"/>
                  <a:gd name="connsiteY51" fmla="*/ 19638 h 222980"/>
                  <a:gd name="connsiteX52" fmla="*/ 79093 w 6250822"/>
                  <a:gd name="connsiteY52" fmla="*/ 0 h 222980"/>
                  <a:gd name="connsiteX53" fmla="*/ 79093 w 6250822"/>
                  <a:gd name="connsiteY53" fmla="*/ 19638 h 222980"/>
                  <a:gd name="connsiteX54" fmla="*/ 54531 w 6250822"/>
                  <a:gd name="connsiteY54" fmla="*/ 43836 h 222980"/>
                  <a:gd name="connsiteX55" fmla="*/ 54531 w 6250822"/>
                  <a:gd name="connsiteY55" fmla="*/ 79563 h 222980"/>
                  <a:gd name="connsiteX56" fmla="*/ 23790 w 6250822"/>
                  <a:gd name="connsiteY56" fmla="*/ 111110 h 222980"/>
                  <a:gd name="connsiteX57" fmla="*/ 23790 w 6250822"/>
                  <a:gd name="connsiteY57" fmla="*/ 111490 h 222980"/>
                  <a:gd name="connsiteX58" fmla="*/ 54531 w 6250822"/>
                  <a:gd name="connsiteY58" fmla="*/ 142783 h 222980"/>
                  <a:gd name="connsiteX59" fmla="*/ 54531 w 6250822"/>
                  <a:gd name="connsiteY59" fmla="*/ 178131 h 222980"/>
                  <a:gd name="connsiteX60" fmla="*/ 60015 w 6250822"/>
                  <a:gd name="connsiteY60" fmla="*/ 197451 h 222980"/>
                  <a:gd name="connsiteX61" fmla="*/ 79093 w 6250822"/>
                  <a:gd name="connsiteY61" fmla="*/ 203469 h 222980"/>
                  <a:gd name="connsiteX62" fmla="*/ 79093 w 6250822"/>
                  <a:gd name="connsiteY62" fmla="*/ 222980 h 222980"/>
                  <a:gd name="connsiteX63" fmla="*/ 24099 w 6250822"/>
                  <a:gd name="connsiteY63" fmla="*/ 184465 h 222980"/>
                  <a:gd name="connsiteX64" fmla="*/ 24099 w 6250822"/>
                  <a:gd name="connsiteY64" fmla="*/ 147091 h 222980"/>
                  <a:gd name="connsiteX65" fmla="*/ 0 w 6250822"/>
                  <a:gd name="connsiteY65" fmla="*/ 120738 h 222980"/>
                  <a:gd name="connsiteX66" fmla="*/ 0 w 6250822"/>
                  <a:gd name="connsiteY66" fmla="*/ 102242 h 222980"/>
                  <a:gd name="connsiteX67" fmla="*/ 24099 w 6250822"/>
                  <a:gd name="connsiteY67" fmla="*/ 75382 h 222980"/>
                  <a:gd name="connsiteX68" fmla="*/ 24099 w 6250822"/>
                  <a:gd name="connsiteY68" fmla="*/ 39021 h 222980"/>
                  <a:gd name="connsiteX69" fmla="*/ 79093 w 6250822"/>
                  <a:gd name="connsiteY6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50822" h="222980">
                    <a:moveTo>
                      <a:pt x="6172192" y="0"/>
                    </a:moveTo>
                    <a:cubicBezTo>
                      <a:pt x="6208649" y="338"/>
                      <a:pt x="6226878" y="13345"/>
                      <a:pt x="6226878" y="39021"/>
                    </a:cubicBezTo>
                    <a:lnTo>
                      <a:pt x="6226878" y="75382"/>
                    </a:lnTo>
                    <a:cubicBezTo>
                      <a:pt x="6226878" y="92444"/>
                      <a:pt x="6234859" y="101397"/>
                      <a:pt x="6250822" y="102242"/>
                    </a:cubicBezTo>
                    <a:lnTo>
                      <a:pt x="6250822" y="120738"/>
                    </a:lnTo>
                    <a:cubicBezTo>
                      <a:pt x="6234859" y="121583"/>
                      <a:pt x="6226878" y="130367"/>
                      <a:pt x="6226878" y="147091"/>
                    </a:cubicBezTo>
                    <a:lnTo>
                      <a:pt x="6226878" y="184465"/>
                    </a:lnTo>
                    <a:cubicBezTo>
                      <a:pt x="6226878" y="209804"/>
                      <a:pt x="6208649" y="222642"/>
                      <a:pt x="6172192" y="222980"/>
                    </a:cubicBezTo>
                    <a:lnTo>
                      <a:pt x="6172192" y="203469"/>
                    </a:lnTo>
                    <a:cubicBezTo>
                      <a:pt x="6181152" y="203300"/>
                      <a:pt x="6187511" y="201273"/>
                      <a:pt x="6191270" y="197388"/>
                    </a:cubicBezTo>
                    <a:cubicBezTo>
                      <a:pt x="6195029" y="193503"/>
                      <a:pt x="6196909" y="187084"/>
                      <a:pt x="6196909" y="178131"/>
                    </a:cubicBezTo>
                    <a:lnTo>
                      <a:pt x="6196909" y="142783"/>
                    </a:lnTo>
                    <a:cubicBezTo>
                      <a:pt x="6196909" y="125638"/>
                      <a:pt x="6207053" y="115206"/>
                      <a:pt x="6227341" y="111490"/>
                    </a:cubicBezTo>
                    <a:lnTo>
                      <a:pt x="6227341" y="111110"/>
                    </a:lnTo>
                    <a:cubicBezTo>
                      <a:pt x="6207053" y="107140"/>
                      <a:pt x="6196909" y="96625"/>
                      <a:pt x="6196909" y="79563"/>
                    </a:cubicBezTo>
                    <a:lnTo>
                      <a:pt x="6196909" y="43836"/>
                    </a:lnTo>
                    <a:cubicBezTo>
                      <a:pt x="6196909" y="28041"/>
                      <a:pt x="6188670" y="19975"/>
                      <a:pt x="6172192" y="19638"/>
                    </a:cubicBezTo>
                    <a:close/>
                    <a:moveTo>
                      <a:pt x="6150873" y="0"/>
                    </a:moveTo>
                    <a:lnTo>
                      <a:pt x="6150873" y="19638"/>
                    </a:lnTo>
                    <a:cubicBezTo>
                      <a:pt x="6134499" y="19975"/>
                      <a:pt x="6126311" y="28041"/>
                      <a:pt x="6126311" y="43836"/>
                    </a:cubicBezTo>
                    <a:lnTo>
                      <a:pt x="6126311" y="79563"/>
                    </a:lnTo>
                    <a:cubicBezTo>
                      <a:pt x="6126311" y="96625"/>
                      <a:pt x="6116064" y="107140"/>
                      <a:pt x="6095570" y="111110"/>
                    </a:cubicBezTo>
                    <a:lnTo>
                      <a:pt x="6095570" y="111490"/>
                    </a:lnTo>
                    <a:cubicBezTo>
                      <a:pt x="6116064" y="115206"/>
                      <a:pt x="6126311" y="125638"/>
                      <a:pt x="6126311" y="142783"/>
                    </a:cubicBezTo>
                    <a:lnTo>
                      <a:pt x="6126311" y="178131"/>
                    </a:lnTo>
                    <a:cubicBezTo>
                      <a:pt x="6126311" y="187168"/>
                      <a:pt x="6128139" y="193608"/>
                      <a:pt x="6131795" y="197451"/>
                    </a:cubicBezTo>
                    <a:cubicBezTo>
                      <a:pt x="6135451" y="201294"/>
                      <a:pt x="6141811" y="203300"/>
                      <a:pt x="6150873" y="203469"/>
                    </a:cubicBezTo>
                    <a:lnTo>
                      <a:pt x="6150873" y="222980"/>
                    </a:lnTo>
                    <a:cubicBezTo>
                      <a:pt x="6114210" y="222642"/>
                      <a:pt x="6095879" y="209804"/>
                      <a:pt x="6095879" y="184465"/>
                    </a:cubicBezTo>
                    <a:lnTo>
                      <a:pt x="6095879" y="147091"/>
                    </a:lnTo>
                    <a:cubicBezTo>
                      <a:pt x="6095879" y="130367"/>
                      <a:pt x="6087846" y="121583"/>
                      <a:pt x="6071780" y="120738"/>
                    </a:cubicBezTo>
                    <a:lnTo>
                      <a:pt x="6071780" y="102242"/>
                    </a:lnTo>
                    <a:cubicBezTo>
                      <a:pt x="6087846" y="101397"/>
                      <a:pt x="6095879" y="92444"/>
                      <a:pt x="6095879" y="75382"/>
                    </a:cubicBezTo>
                    <a:lnTo>
                      <a:pt x="6095879" y="39021"/>
                    </a:lnTo>
                    <a:cubicBezTo>
                      <a:pt x="6095879" y="13345"/>
                      <a:pt x="6114210" y="338"/>
                      <a:pt x="6150873" y="0"/>
                    </a:cubicBezTo>
                    <a:close/>
                    <a:moveTo>
                      <a:pt x="100412" y="0"/>
                    </a:moveTo>
                    <a:cubicBezTo>
                      <a:pt x="136869" y="338"/>
                      <a:pt x="155097" y="13345"/>
                      <a:pt x="155097" y="39021"/>
                    </a:cubicBezTo>
                    <a:lnTo>
                      <a:pt x="155097" y="75382"/>
                    </a:lnTo>
                    <a:cubicBezTo>
                      <a:pt x="155097" y="92444"/>
                      <a:pt x="163079" y="101397"/>
                      <a:pt x="179042" y="102242"/>
                    </a:cubicBezTo>
                    <a:lnTo>
                      <a:pt x="179042" y="120738"/>
                    </a:lnTo>
                    <a:cubicBezTo>
                      <a:pt x="163079" y="121583"/>
                      <a:pt x="155097" y="130367"/>
                      <a:pt x="155097" y="147091"/>
                    </a:cubicBezTo>
                    <a:lnTo>
                      <a:pt x="155097" y="184465"/>
                    </a:lnTo>
                    <a:cubicBezTo>
                      <a:pt x="155097" y="209804"/>
                      <a:pt x="136869" y="222642"/>
                      <a:pt x="100412" y="222980"/>
                    </a:cubicBezTo>
                    <a:lnTo>
                      <a:pt x="100412" y="203469"/>
                    </a:lnTo>
                    <a:cubicBezTo>
                      <a:pt x="109372" y="203300"/>
                      <a:pt x="115731" y="201273"/>
                      <a:pt x="119490" y="197388"/>
                    </a:cubicBezTo>
                    <a:cubicBezTo>
                      <a:pt x="123249" y="193503"/>
                      <a:pt x="125129" y="187084"/>
                      <a:pt x="125129" y="178131"/>
                    </a:cubicBezTo>
                    <a:lnTo>
                      <a:pt x="125129" y="142783"/>
                    </a:lnTo>
                    <a:cubicBezTo>
                      <a:pt x="125129" y="125638"/>
                      <a:pt x="135273" y="115206"/>
                      <a:pt x="155561" y="111490"/>
                    </a:cubicBezTo>
                    <a:lnTo>
                      <a:pt x="155561" y="111110"/>
                    </a:lnTo>
                    <a:cubicBezTo>
                      <a:pt x="135273" y="107140"/>
                      <a:pt x="125129" y="96625"/>
                      <a:pt x="125129" y="79563"/>
                    </a:cubicBezTo>
                    <a:lnTo>
                      <a:pt x="125129" y="43836"/>
                    </a:lnTo>
                    <a:cubicBezTo>
                      <a:pt x="125129" y="28041"/>
                      <a:pt x="116890" y="19975"/>
                      <a:pt x="100412" y="19638"/>
                    </a:cubicBezTo>
                    <a:close/>
                    <a:moveTo>
                      <a:pt x="79093" y="0"/>
                    </a:moveTo>
                    <a:lnTo>
                      <a:pt x="79093" y="19638"/>
                    </a:lnTo>
                    <a:cubicBezTo>
                      <a:pt x="62719" y="19975"/>
                      <a:pt x="54531" y="28041"/>
                      <a:pt x="54531" y="43836"/>
                    </a:cubicBezTo>
                    <a:lnTo>
                      <a:pt x="54531" y="79563"/>
                    </a:lnTo>
                    <a:cubicBezTo>
                      <a:pt x="54531" y="96625"/>
                      <a:pt x="44284" y="107140"/>
                      <a:pt x="23790" y="111110"/>
                    </a:cubicBezTo>
                    <a:lnTo>
                      <a:pt x="23790" y="111490"/>
                    </a:lnTo>
                    <a:cubicBezTo>
                      <a:pt x="44284" y="115206"/>
                      <a:pt x="54531" y="125638"/>
                      <a:pt x="54531" y="142783"/>
                    </a:cubicBezTo>
                    <a:lnTo>
                      <a:pt x="54531" y="178131"/>
                    </a:lnTo>
                    <a:cubicBezTo>
                      <a:pt x="54531" y="187168"/>
                      <a:pt x="56359" y="193608"/>
                      <a:pt x="60015" y="197451"/>
                    </a:cubicBezTo>
                    <a:cubicBezTo>
                      <a:pt x="63671" y="201294"/>
                      <a:pt x="70031" y="203300"/>
                      <a:pt x="79093" y="203469"/>
                    </a:cubicBezTo>
                    <a:lnTo>
                      <a:pt x="79093" y="222980"/>
                    </a:lnTo>
                    <a:cubicBezTo>
                      <a:pt x="42430" y="222642"/>
                      <a:pt x="24099" y="209804"/>
                      <a:pt x="24099" y="184465"/>
                    </a:cubicBezTo>
                    <a:lnTo>
                      <a:pt x="24099" y="147091"/>
                    </a:lnTo>
                    <a:cubicBezTo>
                      <a:pt x="24099" y="130367"/>
                      <a:pt x="16066" y="121583"/>
                      <a:pt x="0" y="120738"/>
                    </a:cubicBezTo>
                    <a:lnTo>
                      <a:pt x="0" y="102242"/>
                    </a:lnTo>
                    <a:cubicBezTo>
                      <a:pt x="16066" y="101397"/>
                      <a:pt x="24099" y="92444"/>
                      <a:pt x="24099" y="75382"/>
                    </a:cubicBezTo>
                    <a:lnTo>
                      <a:pt x="24099" y="39021"/>
                    </a:lnTo>
                    <a:cubicBezTo>
                      <a:pt x="24099" y="13345"/>
                      <a:pt x="42430" y="338"/>
                      <a:pt x="790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8" name="Group 387"/>
            <p:cNvGrpSpPr/>
            <p:nvPr/>
          </p:nvGrpSpPr>
          <p:grpSpPr>
            <a:xfrm>
              <a:off x="9916885" y="2604045"/>
              <a:ext cx="1319186" cy="25079"/>
              <a:chOff x="71712" y="703821"/>
              <a:chExt cx="12025613" cy="228614"/>
            </a:xfrm>
            <a:grpFill/>
          </p:grpSpPr>
          <p:sp>
            <p:nvSpPr>
              <p:cNvPr id="395" name="Freeform 394"/>
              <p:cNvSpPr/>
              <p:nvPr/>
            </p:nvSpPr>
            <p:spPr>
              <a:xfrm>
                <a:off x="221685" y="706636"/>
                <a:ext cx="10159068" cy="222980"/>
              </a:xfrm>
              <a:custGeom>
                <a:avLst/>
                <a:gdLst>
                  <a:gd name="connsiteX0" fmla="*/ 10144162 w 10159068"/>
                  <a:gd name="connsiteY0" fmla="*/ 0 h 222980"/>
                  <a:gd name="connsiteX1" fmla="*/ 10159068 w 10159068"/>
                  <a:gd name="connsiteY1" fmla="*/ 0 h 222980"/>
                  <a:gd name="connsiteX2" fmla="*/ 10159068 w 10159068"/>
                  <a:gd name="connsiteY2" fmla="*/ 222980 h 222980"/>
                  <a:gd name="connsiteX3" fmla="*/ 10123780 w 10159068"/>
                  <a:gd name="connsiteY3" fmla="*/ 222980 h 222980"/>
                  <a:gd name="connsiteX4" fmla="*/ 10123780 w 10159068"/>
                  <a:gd name="connsiteY4" fmla="*/ 43197 h 222980"/>
                  <a:gd name="connsiteX5" fmla="*/ 10103171 w 10159068"/>
                  <a:gd name="connsiteY5" fmla="*/ 54832 h 222980"/>
                  <a:gd name="connsiteX6" fmla="*/ 10077998 w 10159068"/>
                  <a:gd name="connsiteY6" fmla="*/ 63274 h 222980"/>
                  <a:gd name="connsiteX7" fmla="*/ 10077998 w 10159068"/>
                  <a:gd name="connsiteY7" fmla="*/ 33158 h 222980"/>
                  <a:gd name="connsiteX8" fmla="*/ 10095033 w 10159068"/>
                  <a:gd name="connsiteY8" fmla="*/ 27074 h 222980"/>
                  <a:gd name="connsiteX9" fmla="*/ 10111232 w 10159068"/>
                  <a:gd name="connsiteY9" fmla="*/ 19925 h 222980"/>
                  <a:gd name="connsiteX10" fmla="*/ 10127355 w 10159068"/>
                  <a:gd name="connsiteY10" fmla="*/ 11103 h 222980"/>
                  <a:gd name="connsiteX11" fmla="*/ 10144162 w 10159068"/>
                  <a:gd name="connsiteY11" fmla="*/ 0 h 222980"/>
                  <a:gd name="connsiteX12" fmla="*/ 7023458 w 10159068"/>
                  <a:gd name="connsiteY12" fmla="*/ 0 h 222980"/>
                  <a:gd name="connsiteX13" fmla="*/ 7038364 w 10159068"/>
                  <a:gd name="connsiteY13" fmla="*/ 0 h 222980"/>
                  <a:gd name="connsiteX14" fmla="*/ 7038364 w 10159068"/>
                  <a:gd name="connsiteY14" fmla="*/ 222980 h 222980"/>
                  <a:gd name="connsiteX15" fmla="*/ 7003076 w 10159068"/>
                  <a:gd name="connsiteY15" fmla="*/ 222980 h 222980"/>
                  <a:gd name="connsiteX16" fmla="*/ 7003076 w 10159068"/>
                  <a:gd name="connsiteY16" fmla="*/ 43197 h 222980"/>
                  <a:gd name="connsiteX17" fmla="*/ 6982467 w 10159068"/>
                  <a:gd name="connsiteY17" fmla="*/ 54832 h 222980"/>
                  <a:gd name="connsiteX18" fmla="*/ 6957294 w 10159068"/>
                  <a:gd name="connsiteY18" fmla="*/ 63274 h 222980"/>
                  <a:gd name="connsiteX19" fmla="*/ 6957294 w 10159068"/>
                  <a:gd name="connsiteY19" fmla="*/ 33158 h 222980"/>
                  <a:gd name="connsiteX20" fmla="*/ 6974329 w 10159068"/>
                  <a:gd name="connsiteY20" fmla="*/ 27074 h 222980"/>
                  <a:gd name="connsiteX21" fmla="*/ 6990528 w 10159068"/>
                  <a:gd name="connsiteY21" fmla="*/ 19925 h 222980"/>
                  <a:gd name="connsiteX22" fmla="*/ 7006651 w 10159068"/>
                  <a:gd name="connsiteY22" fmla="*/ 11103 h 222980"/>
                  <a:gd name="connsiteX23" fmla="*/ 7023458 w 10159068"/>
                  <a:gd name="connsiteY23" fmla="*/ 0 h 222980"/>
                  <a:gd name="connsiteX24" fmla="*/ 6131428 w 10159068"/>
                  <a:gd name="connsiteY24" fmla="*/ 0 h 222980"/>
                  <a:gd name="connsiteX25" fmla="*/ 6146334 w 10159068"/>
                  <a:gd name="connsiteY25" fmla="*/ 0 h 222980"/>
                  <a:gd name="connsiteX26" fmla="*/ 6146334 w 10159068"/>
                  <a:gd name="connsiteY26" fmla="*/ 222980 h 222980"/>
                  <a:gd name="connsiteX27" fmla="*/ 6111046 w 10159068"/>
                  <a:gd name="connsiteY27" fmla="*/ 222980 h 222980"/>
                  <a:gd name="connsiteX28" fmla="*/ 6111046 w 10159068"/>
                  <a:gd name="connsiteY28" fmla="*/ 43197 h 222980"/>
                  <a:gd name="connsiteX29" fmla="*/ 6090437 w 10159068"/>
                  <a:gd name="connsiteY29" fmla="*/ 54832 h 222980"/>
                  <a:gd name="connsiteX30" fmla="*/ 6065264 w 10159068"/>
                  <a:gd name="connsiteY30" fmla="*/ 63274 h 222980"/>
                  <a:gd name="connsiteX31" fmla="*/ 6065264 w 10159068"/>
                  <a:gd name="connsiteY31" fmla="*/ 33158 h 222980"/>
                  <a:gd name="connsiteX32" fmla="*/ 6082299 w 10159068"/>
                  <a:gd name="connsiteY32" fmla="*/ 27074 h 222980"/>
                  <a:gd name="connsiteX33" fmla="*/ 6098498 w 10159068"/>
                  <a:gd name="connsiteY33" fmla="*/ 19925 h 222980"/>
                  <a:gd name="connsiteX34" fmla="*/ 6114621 w 10159068"/>
                  <a:gd name="connsiteY34" fmla="*/ 11103 h 222980"/>
                  <a:gd name="connsiteX35" fmla="*/ 6131428 w 10159068"/>
                  <a:gd name="connsiteY35" fmla="*/ 0 h 222980"/>
                  <a:gd name="connsiteX36" fmla="*/ 4081694 w 10159068"/>
                  <a:gd name="connsiteY36" fmla="*/ 0 h 222980"/>
                  <a:gd name="connsiteX37" fmla="*/ 4096600 w 10159068"/>
                  <a:gd name="connsiteY37" fmla="*/ 0 h 222980"/>
                  <a:gd name="connsiteX38" fmla="*/ 4096600 w 10159068"/>
                  <a:gd name="connsiteY38" fmla="*/ 222980 h 222980"/>
                  <a:gd name="connsiteX39" fmla="*/ 4061312 w 10159068"/>
                  <a:gd name="connsiteY39" fmla="*/ 222980 h 222980"/>
                  <a:gd name="connsiteX40" fmla="*/ 4061312 w 10159068"/>
                  <a:gd name="connsiteY40" fmla="*/ 43197 h 222980"/>
                  <a:gd name="connsiteX41" fmla="*/ 4040703 w 10159068"/>
                  <a:gd name="connsiteY41" fmla="*/ 54832 h 222980"/>
                  <a:gd name="connsiteX42" fmla="*/ 4015530 w 10159068"/>
                  <a:gd name="connsiteY42" fmla="*/ 63274 h 222980"/>
                  <a:gd name="connsiteX43" fmla="*/ 4015530 w 10159068"/>
                  <a:gd name="connsiteY43" fmla="*/ 33158 h 222980"/>
                  <a:gd name="connsiteX44" fmla="*/ 4032565 w 10159068"/>
                  <a:gd name="connsiteY44" fmla="*/ 27074 h 222980"/>
                  <a:gd name="connsiteX45" fmla="*/ 4048764 w 10159068"/>
                  <a:gd name="connsiteY45" fmla="*/ 19925 h 222980"/>
                  <a:gd name="connsiteX46" fmla="*/ 4064887 w 10159068"/>
                  <a:gd name="connsiteY46" fmla="*/ 11103 h 222980"/>
                  <a:gd name="connsiteX47" fmla="*/ 4081694 w 10159068"/>
                  <a:gd name="connsiteY47" fmla="*/ 0 h 222980"/>
                  <a:gd name="connsiteX48" fmla="*/ 960106 w 10159068"/>
                  <a:gd name="connsiteY48" fmla="*/ 0 h 222980"/>
                  <a:gd name="connsiteX49" fmla="*/ 975012 w 10159068"/>
                  <a:gd name="connsiteY49" fmla="*/ 0 h 222980"/>
                  <a:gd name="connsiteX50" fmla="*/ 975012 w 10159068"/>
                  <a:gd name="connsiteY50" fmla="*/ 222980 h 222980"/>
                  <a:gd name="connsiteX51" fmla="*/ 939724 w 10159068"/>
                  <a:gd name="connsiteY51" fmla="*/ 222980 h 222980"/>
                  <a:gd name="connsiteX52" fmla="*/ 939724 w 10159068"/>
                  <a:gd name="connsiteY52" fmla="*/ 43197 h 222980"/>
                  <a:gd name="connsiteX53" fmla="*/ 919115 w 10159068"/>
                  <a:gd name="connsiteY53" fmla="*/ 54832 h 222980"/>
                  <a:gd name="connsiteX54" fmla="*/ 893943 w 10159068"/>
                  <a:gd name="connsiteY54" fmla="*/ 63274 h 222980"/>
                  <a:gd name="connsiteX55" fmla="*/ 893943 w 10159068"/>
                  <a:gd name="connsiteY55" fmla="*/ 33158 h 222980"/>
                  <a:gd name="connsiteX56" fmla="*/ 910978 w 10159068"/>
                  <a:gd name="connsiteY56" fmla="*/ 27074 h 222980"/>
                  <a:gd name="connsiteX57" fmla="*/ 927176 w 10159068"/>
                  <a:gd name="connsiteY57" fmla="*/ 19925 h 222980"/>
                  <a:gd name="connsiteX58" fmla="*/ 943299 w 10159068"/>
                  <a:gd name="connsiteY58" fmla="*/ 11103 h 222980"/>
                  <a:gd name="connsiteX59" fmla="*/ 960106 w 10159068"/>
                  <a:gd name="connsiteY59" fmla="*/ 0 h 222980"/>
                  <a:gd name="connsiteX60" fmla="*/ 66164 w 10159068"/>
                  <a:gd name="connsiteY60" fmla="*/ 0 h 222980"/>
                  <a:gd name="connsiteX61" fmla="*/ 81070 w 10159068"/>
                  <a:gd name="connsiteY61" fmla="*/ 0 h 222980"/>
                  <a:gd name="connsiteX62" fmla="*/ 81070 w 10159068"/>
                  <a:gd name="connsiteY62" fmla="*/ 222980 h 222980"/>
                  <a:gd name="connsiteX63" fmla="*/ 45782 w 10159068"/>
                  <a:gd name="connsiteY63" fmla="*/ 222980 h 222980"/>
                  <a:gd name="connsiteX64" fmla="*/ 45782 w 10159068"/>
                  <a:gd name="connsiteY64" fmla="*/ 43197 h 222980"/>
                  <a:gd name="connsiteX65" fmla="*/ 25173 w 10159068"/>
                  <a:gd name="connsiteY65" fmla="*/ 54832 h 222980"/>
                  <a:gd name="connsiteX66" fmla="*/ 0 w 10159068"/>
                  <a:gd name="connsiteY66" fmla="*/ 63274 h 222980"/>
                  <a:gd name="connsiteX67" fmla="*/ 0 w 10159068"/>
                  <a:gd name="connsiteY67" fmla="*/ 33158 h 222980"/>
                  <a:gd name="connsiteX68" fmla="*/ 17035 w 10159068"/>
                  <a:gd name="connsiteY68" fmla="*/ 27074 h 222980"/>
                  <a:gd name="connsiteX69" fmla="*/ 33235 w 10159068"/>
                  <a:gd name="connsiteY69" fmla="*/ 19925 h 222980"/>
                  <a:gd name="connsiteX70" fmla="*/ 49357 w 10159068"/>
                  <a:gd name="connsiteY70" fmla="*/ 11103 h 222980"/>
                  <a:gd name="connsiteX71" fmla="*/ 66164 w 10159068"/>
                  <a:gd name="connsiteY7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159068" h="222980">
                    <a:moveTo>
                      <a:pt x="10144162" y="0"/>
                    </a:moveTo>
                    <a:lnTo>
                      <a:pt x="10159068" y="0"/>
                    </a:lnTo>
                    <a:lnTo>
                      <a:pt x="10159068" y="222980"/>
                    </a:lnTo>
                    <a:lnTo>
                      <a:pt x="10123780" y="222980"/>
                    </a:lnTo>
                    <a:lnTo>
                      <a:pt x="10123780" y="43197"/>
                    </a:lnTo>
                    <a:cubicBezTo>
                      <a:pt x="10117392" y="47760"/>
                      <a:pt x="10110522" y="51638"/>
                      <a:pt x="10103171" y="54832"/>
                    </a:cubicBezTo>
                    <a:cubicBezTo>
                      <a:pt x="10095819" y="58027"/>
                      <a:pt x="10087428" y="60840"/>
                      <a:pt x="10077998" y="63274"/>
                    </a:cubicBezTo>
                    <a:lnTo>
                      <a:pt x="10077998" y="33158"/>
                    </a:lnTo>
                    <a:cubicBezTo>
                      <a:pt x="10083879" y="31232"/>
                      <a:pt x="10089558" y="29203"/>
                      <a:pt x="10095033" y="27074"/>
                    </a:cubicBezTo>
                    <a:cubicBezTo>
                      <a:pt x="10100509" y="24945"/>
                      <a:pt x="10105909" y="22562"/>
                      <a:pt x="10111232" y="19925"/>
                    </a:cubicBezTo>
                    <a:cubicBezTo>
                      <a:pt x="10116556" y="17289"/>
                      <a:pt x="10121930" y="14348"/>
                      <a:pt x="10127355" y="11103"/>
                    </a:cubicBezTo>
                    <a:cubicBezTo>
                      <a:pt x="10132780" y="7859"/>
                      <a:pt x="10138382" y="4157"/>
                      <a:pt x="10144162" y="0"/>
                    </a:cubicBezTo>
                    <a:close/>
                    <a:moveTo>
                      <a:pt x="7023458" y="0"/>
                    </a:moveTo>
                    <a:lnTo>
                      <a:pt x="7038364" y="0"/>
                    </a:lnTo>
                    <a:lnTo>
                      <a:pt x="7038364" y="222980"/>
                    </a:lnTo>
                    <a:lnTo>
                      <a:pt x="7003076" y="222980"/>
                    </a:lnTo>
                    <a:lnTo>
                      <a:pt x="7003076" y="43197"/>
                    </a:lnTo>
                    <a:cubicBezTo>
                      <a:pt x="6996688" y="47760"/>
                      <a:pt x="6989819" y="51638"/>
                      <a:pt x="6982467" y="54832"/>
                    </a:cubicBezTo>
                    <a:cubicBezTo>
                      <a:pt x="6975115" y="58027"/>
                      <a:pt x="6966725" y="60840"/>
                      <a:pt x="6957294" y="63274"/>
                    </a:cubicBezTo>
                    <a:lnTo>
                      <a:pt x="6957294" y="33158"/>
                    </a:lnTo>
                    <a:cubicBezTo>
                      <a:pt x="6963175" y="31232"/>
                      <a:pt x="6968854" y="29203"/>
                      <a:pt x="6974329" y="27074"/>
                    </a:cubicBezTo>
                    <a:cubicBezTo>
                      <a:pt x="6979805" y="24945"/>
                      <a:pt x="6985205" y="22562"/>
                      <a:pt x="6990528" y="19925"/>
                    </a:cubicBezTo>
                    <a:cubicBezTo>
                      <a:pt x="6995852" y="17289"/>
                      <a:pt x="7001226" y="14348"/>
                      <a:pt x="7006651" y="11103"/>
                    </a:cubicBezTo>
                    <a:cubicBezTo>
                      <a:pt x="7012076" y="7859"/>
                      <a:pt x="7017678" y="4157"/>
                      <a:pt x="7023458"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4081694" y="0"/>
                    </a:moveTo>
                    <a:lnTo>
                      <a:pt x="4096600" y="0"/>
                    </a:lnTo>
                    <a:lnTo>
                      <a:pt x="4096600" y="222980"/>
                    </a:lnTo>
                    <a:lnTo>
                      <a:pt x="4061312" y="222980"/>
                    </a:lnTo>
                    <a:lnTo>
                      <a:pt x="4061312" y="43197"/>
                    </a:lnTo>
                    <a:cubicBezTo>
                      <a:pt x="4054924" y="47760"/>
                      <a:pt x="4048055"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960106" y="0"/>
                    </a:moveTo>
                    <a:lnTo>
                      <a:pt x="975012" y="0"/>
                    </a:lnTo>
                    <a:lnTo>
                      <a:pt x="975012" y="222980"/>
                    </a:lnTo>
                    <a:lnTo>
                      <a:pt x="939724" y="222980"/>
                    </a:lnTo>
                    <a:lnTo>
                      <a:pt x="939724" y="43197"/>
                    </a:lnTo>
                    <a:cubicBezTo>
                      <a:pt x="933337" y="47760"/>
                      <a:pt x="926467" y="51638"/>
                      <a:pt x="919115" y="54832"/>
                    </a:cubicBezTo>
                    <a:cubicBezTo>
                      <a:pt x="911763" y="58027"/>
                      <a:pt x="903373" y="60840"/>
                      <a:pt x="893943" y="63274"/>
                    </a:cubicBezTo>
                    <a:lnTo>
                      <a:pt x="893943" y="33158"/>
                    </a:lnTo>
                    <a:cubicBezTo>
                      <a:pt x="899824" y="31232"/>
                      <a:pt x="905502" y="29203"/>
                      <a:pt x="910978" y="27074"/>
                    </a:cubicBezTo>
                    <a:cubicBezTo>
                      <a:pt x="916453" y="24945"/>
                      <a:pt x="921853" y="22562"/>
                      <a:pt x="927176" y="19925"/>
                    </a:cubicBezTo>
                    <a:cubicBezTo>
                      <a:pt x="932500" y="17289"/>
                      <a:pt x="937874" y="14348"/>
                      <a:pt x="943299" y="11103"/>
                    </a:cubicBezTo>
                    <a:cubicBezTo>
                      <a:pt x="948724" y="7859"/>
                      <a:pt x="954326" y="4157"/>
                      <a:pt x="960106" y="0"/>
                    </a:cubicBezTo>
                    <a:close/>
                    <a:moveTo>
                      <a:pt x="66164" y="0"/>
                    </a:moveTo>
                    <a:lnTo>
                      <a:pt x="81070" y="0"/>
                    </a:lnTo>
                    <a:lnTo>
                      <a:pt x="81070" y="222980"/>
                    </a:lnTo>
                    <a:lnTo>
                      <a:pt x="45782" y="222980"/>
                    </a:lnTo>
                    <a:lnTo>
                      <a:pt x="45782" y="43197"/>
                    </a:lnTo>
                    <a:cubicBezTo>
                      <a:pt x="39395" y="47760"/>
                      <a:pt x="32525" y="51638"/>
                      <a:pt x="25173" y="54832"/>
                    </a:cubicBezTo>
                    <a:cubicBezTo>
                      <a:pt x="17821" y="58027"/>
                      <a:pt x="9431" y="60840"/>
                      <a:pt x="0" y="63274"/>
                    </a:cubicBezTo>
                    <a:lnTo>
                      <a:pt x="0" y="33158"/>
                    </a:lnTo>
                    <a:cubicBezTo>
                      <a:pt x="5881" y="31232"/>
                      <a:pt x="11560" y="29203"/>
                      <a:pt x="17035" y="27074"/>
                    </a:cubicBezTo>
                    <a:cubicBezTo>
                      <a:pt x="22511" y="24945"/>
                      <a:pt x="27911" y="22562"/>
                      <a:pt x="33235"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6" name="Freeform 395"/>
              <p:cNvSpPr/>
              <p:nvPr/>
            </p:nvSpPr>
            <p:spPr>
              <a:xfrm>
                <a:off x="71712" y="706636"/>
                <a:ext cx="12025613" cy="222980"/>
              </a:xfrm>
              <a:custGeom>
                <a:avLst/>
                <a:gdLst>
                  <a:gd name="connsiteX0" fmla="*/ 9106010 w 12025612"/>
                  <a:gd name="connsiteY0" fmla="*/ 27835 h 222980"/>
                  <a:gd name="connsiteX1" fmla="*/ 9066740 w 12025612"/>
                  <a:gd name="connsiteY1" fmla="*/ 114349 h 222980"/>
                  <a:gd name="connsiteX2" fmla="*/ 9105258 w 12025612"/>
                  <a:gd name="connsiteY2" fmla="*/ 195296 h 222980"/>
                  <a:gd name="connsiteX3" fmla="*/ 9143173 w 12025612"/>
                  <a:gd name="connsiteY3" fmla="*/ 112995 h 222980"/>
                  <a:gd name="connsiteX4" fmla="*/ 9106010 w 12025612"/>
                  <a:gd name="connsiteY4" fmla="*/ 27835 h 222980"/>
                  <a:gd name="connsiteX5" fmla="*/ 8764253 w 12025612"/>
                  <a:gd name="connsiteY5" fmla="*/ 27835 h 222980"/>
                  <a:gd name="connsiteX6" fmla="*/ 8724983 w 12025612"/>
                  <a:gd name="connsiteY6" fmla="*/ 114349 h 222980"/>
                  <a:gd name="connsiteX7" fmla="*/ 8763501 w 12025612"/>
                  <a:gd name="connsiteY7" fmla="*/ 195296 h 222980"/>
                  <a:gd name="connsiteX8" fmla="*/ 8801416 w 12025612"/>
                  <a:gd name="connsiteY8" fmla="*/ 112995 h 222980"/>
                  <a:gd name="connsiteX9" fmla="*/ 8764253 w 12025612"/>
                  <a:gd name="connsiteY9" fmla="*/ 27835 h 222980"/>
                  <a:gd name="connsiteX10" fmla="*/ 8062851 w 12025612"/>
                  <a:gd name="connsiteY10" fmla="*/ 27835 h 222980"/>
                  <a:gd name="connsiteX11" fmla="*/ 8023581 w 12025612"/>
                  <a:gd name="connsiteY11" fmla="*/ 114349 h 222980"/>
                  <a:gd name="connsiteX12" fmla="*/ 8062099 w 12025612"/>
                  <a:gd name="connsiteY12" fmla="*/ 195296 h 222980"/>
                  <a:gd name="connsiteX13" fmla="*/ 8100014 w 12025612"/>
                  <a:gd name="connsiteY13" fmla="*/ 112995 h 222980"/>
                  <a:gd name="connsiteX14" fmla="*/ 8062851 w 12025612"/>
                  <a:gd name="connsiteY14" fmla="*/ 27835 h 222980"/>
                  <a:gd name="connsiteX15" fmla="*/ 6804362 w 12025612"/>
                  <a:gd name="connsiteY15" fmla="*/ 27835 h 222980"/>
                  <a:gd name="connsiteX16" fmla="*/ 6765092 w 12025612"/>
                  <a:gd name="connsiteY16" fmla="*/ 114349 h 222980"/>
                  <a:gd name="connsiteX17" fmla="*/ 6803610 w 12025612"/>
                  <a:gd name="connsiteY17" fmla="*/ 195296 h 222980"/>
                  <a:gd name="connsiteX18" fmla="*/ 6841525 w 12025612"/>
                  <a:gd name="connsiteY18" fmla="*/ 112995 h 222980"/>
                  <a:gd name="connsiteX19" fmla="*/ 6804362 w 12025612"/>
                  <a:gd name="connsiteY19" fmla="*/ 27835 h 222980"/>
                  <a:gd name="connsiteX20" fmla="*/ 6591268 w 12025612"/>
                  <a:gd name="connsiteY20" fmla="*/ 27835 h 222980"/>
                  <a:gd name="connsiteX21" fmla="*/ 6551998 w 12025612"/>
                  <a:gd name="connsiteY21" fmla="*/ 114349 h 222980"/>
                  <a:gd name="connsiteX22" fmla="*/ 6590516 w 12025612"/>
                  <a:gd name="connsiteY22" fmla="*/ 195296 h 222980"/>
                  <a:gd name="connsiteX23" fmla="*/ 6628431 w 12025612"/>
                  <a:gd name="connsiteY23" fmla="*/ 112995 h 222980"/>
                  <a:gd name="connsiteX24" fmla="*/ 6591268 w 12025612"/>
                  <a:gd name="connsiteY24" fmla="*/ 27835 h 222980"/>
                  <a:gd name="connsiteX25" fmla="*/ 3045592 w 12025612"/>
                  <a:gd name="connsiteY25" fmla="*/ 27835 h 222980"/>
                  <a:gd name="connsiteX26" fmla="*/ 3006322 w 12025612"/>
                  <a:gd name="connsiteY26" fmla="*/ 114349 h 222980"/>
                  <a:gd name="connsiteX27" fmla="*/ 3044840 w 12025612"/>
                  <a:gd name="connsiteY27" fmla="*/ 195296 h 222980"/>
                  <a:gd name="connsiteX28" fmla="*/ 3082755 w 12025612"/>
                  <a:gd name="connsiteY28" fmla="*/ 112995 h 222980"/>
                  <a:gd name="connsiteX29" fmla="*/ 3045592 w 12025612"/>
                  <a:gd name="connsiteY29" fmla="*/ 27835 h 222980"/>
                  <a:gd name="connsiteX30" fmla="*/ 2698789 w 12025612"/>
                  <a:gd name="connsiteY30" fmla="*/ 27835 h 222980"/>
                  <a:gd name="connsiteX31" fmla="*/ 2659519 w 12025612"/>
                  <a:gd name="connsiteY31" fmla="*/ 114349 h 222980"/>
                  <a:gd name="connsiteX32" fmla="*/ 2698037 w 12025612"/>
                  <a:gd name="connsiteY32" fmla="*/ 195296 h 222980"/>
                  <a:gd name="connsiteX33" fmla="*/ 2735952 w 12025612"/>
                  <a:gd name="connsiteY33" fmla="*/ 112995 h 222980"/>
                  <a:gd name="connsiteX34" fmla="*/ 2698789 w 12025612"/>
                  <a:gd name="connsiteY34" fmla="*/ 27835 h 222980"/>
                  <a:gd name="connsiteX35" fmla="*/ 2007424 w 12025612"/>
                  <a:gd name="connsiteY35" fmla="*/ 27835 h 222980"/>
                  <a:gd name="connsiteX36" fmla="*/ 1968154 w 12025612"/>
                  <a:gd name="connsiteY36" fmla="*/ 114349 h 222980"/>
                  <a:gd name="connsiteX37" fmla="*/ 2006672 w 12025612"/>
                  <a:gd name="connsiteY37" fmla="*/ 195296 h 222980"/>
                  <a:gd name="connsiteX38" fmla="*/ 2044587 w 12025612"/>
                  <a:gd name="connsiteY38" fmla="*/ 112995 h 222980"/>
                  <a:gd name="connsiteX39" fmla="*/ 2007424 w 12025612"/>
                  <a:gd name="connsiteY39" fmla="*/ 27835 h 222980"/>
                  <a:gd name="connsiteX40" fmla="*/ 752217 w 12025612"/>
                  <a:gd name="connsiteY40" fmla="*/ 27835 h 222980"/>
                  <a:gd name="connsiteX41" fmla="*/ 712947 w 12025612"/>
                  <a:gd name="connsiteY41" fmla="*/ 114349 h 222980"/>
                  <a:gd name="connsiteX42" fmla="*/ 751465 w 12025612"/>
                  <a:gd name="connsiteY42" fmla="*/ 195296 h 222980"/>
                  <a:gd name="connsiteX43" fmla="*/ 789380 w 12025612"/>
                  <a:gd name="connsiteY43" fmla="*/ 112995 h 222980"/>
                  <a:gd name="connsiteX44" fmla="*/ 752217 w 12025612"/>
                  <a:gd name="connsiteY44" fmla="*/ 27835 h 222980"/>
                  <a:gd name="connsiteX45" fmla="*/ 531617 w 12025612"/>
                  <a:gd name="connsiteY45" fmla="*/ 27835 h 222980"/>
                  <a:gd name="connsiteX46" fmla="*/ 492347 w 12025612"/>
                  <a:gd name="connsiteY46" fmla="*/ 114349 h 222980"/>
                  <a:gd name="connsiteX47" fmla="*/ 530865 w 12025612"/>
                  <a:gd name="connsiteY47" fmla="*/ 195296 h 222980"/>
                  <a:gd name="connsiteX48" fmla="*/ 568780 w 12025612"/>
                  <a:gd name="connsiteY48" fmla="*/ 112995 h 222980"/>
                  <a:gd name="connsiteX49" fmla="*/ 531617 w 12025612"/>
                  <a:gd name="connsiteY49" fmla="*/ 27835 h 222980"/>
                  <a:gd name="connsiteX50" fmla="*/ 12010706 w 12025612"/>
                  <a:gd name="connsiteY50" fmla="*/ 0 h 222980"/>
                  <a:gd name="connsiteX51" fmla="*/ 12025612 w 12025612"/>
                  <a:gd name="connsiteY51" fmla="*/ 0 h 222980"/>
                  <a:gd name="connsiteX52" fmla="*/ 12025612 w 12025612"/>
                  <a:gd name="connsiteY52" fmla="*/ 222980 h 222980"/>
                  <a:gd name="connsiteX53" fmla="*/ 11990324 w 12025612"/>
                  <a:gd name="connsiteY53" fmla="*/ 222980 h 222980"/>
                  <a:gd name="connsiteX54" fmla="*/ 11990324 w 12025612"/>
                  <a:gd name="connsiteY54" fmla="*/ 43197 h 222980"/>
                  <a:gd name="connsiteX55" fmla="*/ 11969715 w 12025612"/>
                  <a:gd name="connsiteY55" fmla="*/ 54832 h 222980"/>
                  <a:gd name="connsiteX56" fmla="*/ 11944542 w 12025612"/>
                  <a:gd name="connsiteY56" fmla="*/ 63274 h 222980"/>
                  <a:gd name="connsiteX57" fmla="*/ 11944542 w 12025612"/>
                  <a:gd name="connsiteY57" fmla="*/ 33158 h 222980"/>
                  <a:gd name="connsiteX58" fmla="*/ 11961577 w 12025612"/>
                  <a:gd name="connsiteY58" fmla="*/ 27074 h 222980"/>
                  <a:gd name="connsiteX59" fmla="*/ 11977776 w 12025612"/>
                  <a:gd name="connsiteY59" fmla="*/ 19925 h 222980"/>
                  <a:gd name="connsiteX60" fmla="*/ 11993899 w 12025612"/>
                  <a:gd name="connsiteY60" fmla="*/ 11103 h 222980"/>
                  <a:gd name="connsiteX61" fmla="*/ 12010706 w 12025612"/>
                  <a:gd name="connsiteY61" fmla="*/ 0 h 222980"/>
                  <a:gd name="connsiteX62" fmla="*/ 11638141 w 12025612"/>
                  <a:gd name="connsiteY62" fmla="*/ 0 h 222980"/>
                  <a:gd name="connsiteX63" fmla="*/ 11653047 w 12025612"/>
                  <a:gd name="connsiteY63" fmla="*/ 0 h 222980"/>
                  <a:gd name="connsiteX64" fmla="*/ 11653047 w 12025612"/>
                  <a:gd name="connsiteY64" fmla="*/ 222980 h 222980"/>
                  <a:gd name="connsiteX65" fmla="*/ 11617759 w 12025612"/>
                  <a:gd name="connsiteY65" fmla="*/ 222980 h 222980"/>
                  <a:gd name="connsiteX66" fmla="*/ 11617759 w 12025612"/>
                  <a:gd name="connsiteY66" fmla="*/ 43197 h 222980"/>
                  <a:gd name="connsiteX67" fmla="*/ 11597150 w 12025612"/>
                  <a:gd name="connsiteY67" fmla="*/ 54832 h 222980"/>
                  <a:gd name="connsiteX68" fmla="*/ 11571977 w 12025612"/>
                  <a:gd name="connsiteY68" fmla="*/ 63274 h 222980"/>
                  <a:gd name="connsiteX69" fmla="*/ 11571977 w 12025612"/>
                  <a:gd name="connsiteY69" fmla="*/ 33158 h 222980"/>
                  <a:gd name="connsiteX70" fmla="*/ 11589012 w 12025612"/>
                  <a:gd name="connsiteY70" fmla="*/ 27074 h 222980"/>
                  <a:gd name="connsiteX71" fmla="*/ 11605211 w 12025612"/>
                  <a:gd name="connsiteY71" fmla="*/ 19925 h 222980"/>
                  <a:gd name="connsiteX72" fmla="*/ 11621334 w 12025612"/>
                  <a:gd name="connsiteY72" fmla="*/ 11103 h 222980"/>
                  <a:gd name="connsiteX73" fmla="*/ 11638141 w 12025612"/>
                  <a:gd name="connsiteY73" fmla="*/ 0 h 222980"/>
                  <a:gd name="connsiteX74" fmla="*/ 11488168 w 12025612"/>
                  <a:gd name="connsiteY74" fmla="*/ 0 h 222980"/>
                  <a:gd name="connsiteX75" fmla="*/ 11503074 w 12025612"/>
                  <a:gd name="connsiteY75" fmla="*/ 0 h 222980"/>
                  <a:gd name="connsiteX76" fmla="*/ 11503074 w 12025612"/>
                  <a:gd name="connsiteY76" fmla="*/ 222980 h 222980"/>
                  <a:gd name="connsiteX77" fmla="*/ 11467786 w 12025612"/>
                  <a:gd name="connsiteY77" fmla="*/ 222980 h 222980"/>
                  <a:gd name="connsiteX78" fmla="*/ 11467786 w 12025612"/>
                  <a:gd name="connsiteY78" fmla="*/ 43197 h 222980"/>
                  <a:gd name="connsiteX79" fmla="*/ 11447177 w 12025612"/>
                  <a:gd name="connsiteY79" fmla="*/ 54832 h 222980"/>
                  <a:gd name="connsiteX80" fmla="*/ 11422004 w 12025612"/>
                  <a:gd name="connsiteY80" fmla="*/ 63274 h 222980"/>
                  <a:gd name="connsiteX81" fmla="*/ 11422004 w 12025612"/>
                  <a:gd name="connsiteY81" fmla="*/ 33158 h 222980"/>
                  <a:gd name="connsiteX82" fmla="*/ 11439039 w 12025612"/>
                  <a:gd name="connsiteY82" fmla="*/ 27074 h 222980"/>
                  <a:gd name="connsiteX83" fmla="*/ 11455238 w 12025612"/>
                  <a:gd name="connsiteY83" fmla="*/ 19925 h 222980"/>
                  <a:gd name="connsiteX84" fmla="*/ 11471361 w 12025612"/>
                  <a:gd name="connsiteY84" fmla="*/ 11103 h 222980"/>
                  <a:gd name="connsiteX85" fmla="*/ 11488168 w 12025612"/>
                  <a:gd name="connsiteY85" fmla="*/ 0 h 222980"/>
                  <a:gd name="connsiteX86" fmla="*/ 11338195 w 12025612"/>
                  <a:gd name="connsiteY86" fmla="*/ 0 h 222980"/>
                  <a:gd name="connsiteX87" fmla="*/ 11353101 w 12025612"/>
                  <a:gd name="connsiteY87" fmla="*/ 0 h 222980"/>
                  <a:gd name="connsiteX88" fmla="*/ 11353101 w 12025612"/>
                  <a:gd name="connsiteY88" fmla="*/ 222980 h 222980"/>
                  <a:gd name="connsiteX89" fmla="*/ 11317813 w 12025612"/>
                  <a:gd name="connsiteY89" fmla="*/ 222980 h 222980"/>
                  <a:gd name="connsiteX90" fmla="*/ 11317813 w 12025612"/>
                  <a:gd name="connsiteY90" fmla="*/ 43197 h 222980"/>
                  <a:gd name="connsiteX91" fmla="*/ 11297204 w 12025612"/>
                  <a:gd name="connsiteY91" fmla="*/ 54832 h 222980"/>
                  <a:gd name="connsiteX92" fmla="*/ 11272031 w 12025612"/>
                  <a:gd name="connsiteY92" fmla="*/ 63274 h 222980"/>
                  <a:gd name="connsiteX93" fmla="*/ 11272031 w 12025612"/>
                  <a:gd name="connsiteY93" fmla="*/ 33158 h 222980"/>
                  <a:gd name="connsiteX94" fmla="*/ 11289066 w 12025612"/>
                  <a:gd name="connsiteY94" fmla="*/ 27074 h 222980"/>
                  <a:gd name="connsiteX95" fmla="*/ 11305265 w 12025612"/>
                  <a:gd name="connsiteY95" fmla="*/ 19925 h 222980"/>
                  <a:gd name="connsiteX96" fmla="*/ 11321388 w 12025612"/>
                  <a:gd name="connsiteY96" fmla="*/ 11103 h 222980"/>
                  <a:gd name="connsiteX97" fmla="*/ 11338195 w 12025612"/>
                  <a:gd name="connsiteY97" fmla="*/ 0 h 222980"/>
                  <a:gd name="connsiteX98" fmla="*/ 10595237 w 12025612"/>
                  <a:gd name="connsiteY98" fmla="*/ 0 h 222980"/>
                  <a:gd name="connsiteX99" fmla="*/ 10610143 w 12025612"/>
                  <a:gd name="connsiteY99" fmla="*/ 0 h 222980"/>
                  <a:gd name="connsiteX100" fmla="*/ 10610143 w 12025612"/>
                  <a:gd name="connsiteY100" fmla="*/ 222980 h 222980"/>
                  <a:gd name="connsiteX101" fmla="*/ 10574855 w 12025612"/>
                  <a:gd name="connsiteY101" fmla="*/ 222980 h 222980"/>
                  <a:gd name="connsiteX102" fmla="*/ 10574855 w 12025612"/>
                  <a:gd name="connsiteY102" fmla="*/ 43197 h 222980"/>
                  <a:gd name="connsiteX103" fmla="*/ 10554246 w 12025612"/>
                  <a:gd name="connsiteY103" fmla="*/ 54832 h 222980"/>
                  <a:gd name="connsiteX104" fmla="*/ 10529073 w 12025612"/>
                  <a:gd name="connsiteY104" fmla="*/ 63274 h 222980"/>
                  <a:gd name="connsiteX105" fmla="*/ 10529073 w 12025612"/>
                  <a:gd name="connsiteY105" fmla="*/ 33158 h 222980"/>
                  <a:gd name="connsiteX106" fmla="*/ 10546108 w 12025612"/>
                  <a:gd name="connsiteY106" fmla="*/ 27074 h 222980"/>
                  <a:gd name="connsiteX107" fmla="*/ 10562307 w 12025612"/>
                  <a:gd name="connsiteY107" fmla="*/ 19925 h 222980"/>
                  <a:gd name="connsiteX108" fmla="*/ 10578430 w 12025612"/>
                  <a:gd name="connsiteY108" fmla="*/ 11103 h 222980"/>
                  <a:gd name="connsiteX109" fmla="*/ 10595237 w 12025612"/>
                  <a:gd name="connsiteY109" fmla="*/ 0 h 222980"/>
                  <a:gd name="connsiteX110" fmla="*/ 10444108 w 12025612"/>
                  <a:gd name="connsiteY110" fmla="*/ 0 h 222980"/>
                  <a:gd name="connsiteX111" fmla="*/ 10459014 w 12025612"/>
                  <a:gd name="connsiteY111" fmla="*/ 0 h 222980"/>
                  <a:gd name="connsiteX112" fmla="*/ 10459014 w 12025612"/>
                  <a:gd name="connsiteY112" fmla="*/ 222980 h 222980"/>
                  <a:gd name="connsiteX113" fmla="*/ 10423726 w 12025612"/>
                  <a:gd name="connsiteY113" fmla="*/ 222980 h 222980"/>
                  <a:gd name="connsiteX114" fmla="*/ 10423726 w 12025612"/>
                  <a:gd name="connsiteY114" fmla="*/ 43197 h 222980"/>
                  <a:gd name="connsiteX115" fmla="*/ 10403117 w 12025612"/>
                  <a:gd name="connsiteY115" fmla="*/ 54832 h 222980"/>
                  <a:gd name="connsiteX116" fmla="*/ 10377944 w 12025612"/>
                  <a:gd name="connsiteY116" fmla="*/ 63274 h 222980"/>
                  <a:gd name="connsiteX117" fmla="*/ 10377944 w 12025612"/>
                  <a:gd name="connsiteY117" fmla="*/ 33158 h 222980"/>
                  <a:gd name="connsiteX118" fmla="*/ 10394979 w 12025612"/>
                  <a:gd name="connsiteY118" fmla="*/ 27074 h 222980"/>
                  <a:gd name="connsiteX119" fmla="*/ 10411178 w 12025612"/>
                  <a:gd name="connsiteY119" fmla="*/ 19925 h 222980"/>
                  <a:gd name="connsiteX120" fmla="*/ 10427301 w 12025612"/>
                  <a:gd name="connsiteY120" fmla="*/ 11103 h 222980"/>
                  <a:gd name="connsiteX121" fmla="*/ 10444108 w 12025612"/>
                  <a:gd name="connsiteY121" fmla="*/ 0 h 222980"/>
                  <a:gd name="connsiteX122" fmla="*/ 10144161 w 12025612"/>
                  <a:gd name="connsiteY122" fmla="*/ 0 h 222980"/>
                  <a:gd name="connsiteX123" fmla="*/ 10159067 w 12025612"/>
                  <a:gd name="connsiteY123" fmla="*/ 0 h 222980"/>
                  <a:gd name="connsiteX124" fmla="*/ 10159067 w 12025612"/>
                  <a:gd name="connsiteY124" fmla="*/ 222980 h 222980"/>
                  <a:gd name="connsiteX125" fmla="*/ 10123779 w 12025612"/>
                  <a:gd name="connsiteY125" fmla="*/ 222980 h 222980"/>
                  <a:gd name="connsiteX126" fmla="*/ 10123779 w 12025612"/>
                  <a:gd name="connsiteY126" fmla="*/ 43197 h 222980"/>
                  <a:gd name="connsiteX127" fmla="*/ 10103170 w 12025612"/>
                  <a:gd name="connsiteY127" fmla="*/ 54832 h 222980"/>
                  <a:gd name="connsiteX128" fmla="*/ 10077997 w 12025612"/>
                  <a:gd name="connsiteY128" fmla="*/ 63274 h 222980"/>
                  <a:gd name="connsiteX129" fmla="*/ 10077997 w 12025612"/>
                  <a:gd name="connsiteY129" fmla="*/ 33158 h 222980"/>
                  <a:gd name="connsiteX130" fmla="*/ 10095032 w 12025612"/>
                  <a:gd name="connsiteY130" fmla="*/ 27074 h 222980"/>
                  <a:gd name="connsiteX131" fmla="*/ 10111231 w 12025612"/>
                  <a:gd name="connsiteY131" fmla="*/ 19925 h 222980"/>
                  <a:gd name="connsiteX132" fmla="*/ 10127354 w 12025612"/>
                  <a:gd name="connsiteY132" fmla="*/ 11103 h 222980"/>
                  <a:gd name="connsiteX133" fmla="*/ 10144161 w 12025612"/>
                  <a:gd name="connsiteY133" fmla="*/ 0 h 222980"/>
                  <a:gd name="connsiteX134" fmla="*/ 9759133 w 12025612"/>
                  <a:gd name="connsiteY134" fmla="*/ 0 h 222980"/>
                  <a:gd name="connsiteX135" fmla="*/ 9774039 w 12025612"/>
                  <a:gd name="connsiteY135" fmla="*/ 0 h 222980"/>
                  <a:gd name="connsiteX136" fmla="*/ 9774039 w 12025612"/>
                  <a:gd name="connsiteY136" fmla="*/ 222980 h 222980"/>
                  <a:gd name="connsiteX137" fmla="*/ 9738751 w 12025612"/>
                  <a:gd name="connsiteY137" fmla="*/ 222980 h 222980"/>
                  <a:gd name="connsiteX138" fmla="*/ 9738751 w 12025612"/>
                  <a:gd name="connsiteY138" fmla="*/ 43197 h 222980"/>
                  <a:gd name="connsiteX139" fmla="*/ 9718142 w 12025612"/>
                  <a:gd name="connsiteY139" fmla="*/ 54832 h 222980"/>
                  <a:gd name="connsiteX140" fmla="*/ 9692969 w 12025612"/>
                  <a:gd name="connsiteY140" fmla="*/ 63274 h 222980"/>
                  <a:gd name="connsiteX141" fmla="*/ 9692969 w 12025612"/>
                  <a:gd name="connsiteY141" fmla="*/ 33158 h 222980"/>
                  <a:gd name="connsiteX142" fmla="*/ 9710004 w 12025612"/>
                  <a:gd name="connsiteY142" fmla="*/ 27074 h 222980"/>
                  <a:gd name="connsiteX143" fmla="*/ 9726203 w 12025612"/>
                  <a:gd name="connsiteY143" fmla="*/ 19925 h 222980"/>
                  <a:gd name="connsiteX144" fmla="*/ 9742326 w 12025612"/>
                  <a:gd name="connsiteY144" fmla="*/ 11103 h 222980"/>
                  <a:gd name="connsiteX145" fmla="*/ 9759133 w 12025612"/>
                  <a:gd name="connsiteY145" fmla="*/ 0 h 222980"/>
                  <a:gd name="connsiteX146" fmla="*/ 9608004 w 12025612"/>
                  <a:gd name="connsiteY146" fmla="*/ 0 h 222980"/>
                  <a:gd name="connsiteX147" fmla="*/ 9622910 w 12025612"/>
                  <a:gd name="connsiteY147" fmla="*/ 0 h 222980"/>
                  <a:gd name="connsiteX148" fmla="*/ 9622910 w 12025612"/>
                  <a:gd name="connsiteY148" fmla="*/ 222980 h 222980"/>
                  <a:gd name="connsiteX149" fmla="*/ 9587622 w 12025612"/>
                  <a:gd name="connsiteY149" fmla="*/ 222980 h 222980"/>
                  <a:gd name="connsiteX150" fmla="*/ 9587622 w 12025612"/>
                  <a:gd name="connsiteY150" fmla="*/ 43197 h 222980"/>
                  <a:gd name="connsiteX151" fmla="*/ 9567013 w 12025612"/>
                  <a:gd name="connsiteY151" fmla="*/ 54832 h 222980"/>
                  <a:gd name="connsiteX152" fmla="*/ 9541840 w 12025612"/>
                  <a:gd name="connsiteY152" fmla="*/ 63274 h 222980"/>
                  <a:gd name="connsiteX153" fmla="*/ 9541840 w 12025612"/>
                  <a:gd name="connsiteY153" fmla="*/ 33158 h 222980"/>
                  <a:gd name="connsiteX154" fmla="*/ 9558875 w 12025612"/>
                  <a:gd name="connsiteY154" fmla="*/ 27074 h 222980"/>
                  <a:gd name="connsiteX155" fmla="*/ 9575074 w 12025612"/>
                  <a:gd name="connsiteY155" fmla="*/ 19925 h 222980"/>
                  <a:gd name="connsiteX156" fmla="*/ 9591197 w 12025612"/>
                  <a:gd name="connsiteY156" fmla="*/ 11103 h 222980"/>
                  <a:gd name="connsiteX157" fmla="*/ 9608004 w 12025612"/>
                  <a:gd name="connsiteY157" fmla="*/ 0 h 222980"/>
                  <a:gd name="connsiteX158" fmla="*/ 9458031 w 12025612"/>
                  <a:gd name="connsiteY158" fmla="*/ 0 h 222980"/>
                  <a:gd name="connsiteX159" fmla="*/ 9472937 w 12025612"/>
                  <a:gd name="connsiteY159" fmla="*/ 0 h 222980"/>
                  <a:gd name="connsiteX160" fmla="*/ 9472937 w 12025612"/>
                  <a:gd name="connsiteY160" fmla="*/ 222980 h 222980"/>
                  <a:gd name="connsiteX161" fmla="*/ 9437649 w 12025612"/>
                  <a:gd name="connsiteY161" fmla="*/ 222980 h 222980"/>
                  <a:gd name="connsiteX162" fmla="*/ 9437649 w 12025612"/>
                  <a:gd name="connsiteY162" fmla="*/ 43197 h 222980"/>
                  <a:gd name="connsiteX163" fmla="*/ 9417040 w 12025612"/>
                  <a:gd name="connsiteY163" fmla="*/ 54832 h 222980"/>
                  <a:gd name="connsiteX164" fmla="*/ 9391867 w 12025612"/>
                  <a:gd name="connsiteY164" fmla="*/ 63274 h 222980"/>
                  <a:gd name="connsiteX165" fmla="*/ 9391867 w 12025612"/>
                  <a:gd name="connsiteY165" fmla="*/ 33158 h 222980"/>
                  <a:gd name="connsiteX166" fmla="*/ 9408902 w 12025612"/>
                  <a:gd name="connsiteY166" fmla="*/ 27074 h 222980"/>
                  <a:gd name="connsiteX167" fmla="*/ 9425101 w 12025612"/>
                  <a:gd name="connsiteY167" fmla="*/ 19925 h 222980"/>
                  <a:gd name="connsiteX168" fmla="*/ 9441224 w 12025612"/>
                  <a:gd name="connsiteY168" fmla="*/ 11103 h 222980"/>
                  <a:gd name="connsiteX169" fmla="*/ 9458031 w 12025612"/>
                  <a:gd name="connsiteY169" fmla="*/ 0 h 222980"/>
                  <a:gd name="connsiteX170" fmla="*/ 9308058 w 12025612"/>
                  <a:gd name="connsiteY170" fmla="*/ 0 h 222980"/>
                  <a:gd name="connsiteX171" fmla="*/ 9322964 w 12025612"/>
                  <a:gd name="connsiteY171" fmla="*/ 0 h 222980"/>
                  <a:gd name="connsiteX172" fmla="*/ 9322964 w 12025612"/>
                  <a:gd name="connsiteY172" fmla="*/ 222980 h 222980"/>
                  <a:gd name="connsiteX173" fmla="*/ 9287676 w 12025612"/>
                  <a:gd name="connsiteY173" fmla="*/ 222980 h 222980"/>
                  <a:gd name="connsiteX174" fmla="*/ 9287676 w 12025612"/>
                  <a:gd name="connsiteY174" fmla="*/ 43197 h 222980"/>
                  <a:gd name="connsiteX175" fmla="*/ 9267067 w 12025612"/>
                  <a:gd name="connsiteY175" fmla="*/ 54832 h 222980"/>
                  <a:gd name="connsiteX176" fmla="*/ 9241894 w 12025612"/>
                  <a:gd name="connsiteY176" fmla="*/ 63274 h 222980"/>
                  <a:gd name="connsiteX177" fmla="*/ 9241894 w 12025612"/>
                  <a:gd name="connsiteY177" fmla="*/ 33158 h 222980"/>
                  <a:gd name="connsiteX178" fmla="*/ 9258929 w 12025612"/>
                  <a:gd name="connsiteY178" fmla="*/ 27074 h 222980"/>
                  <a:gd name="connsiteX179" fmla="*/ 9275128 w 12025612"/>
                  <a:gd name="connsiteY179" fmla="*/ 19925 h 222980"/>
                  <a:gd name="connsiteX180" fmla="*/ 9291251 w 12025612"/>
                  <a:gd name="connsiteY180" fmla="*/ 11103 h 222980"/>
                  <a:gd name="connsiteX181" fmla="*/ 9308058 w 12025612"/>
                  <a:gd name="connsiteY181" fmla="*/ 0 h 222980"/>
                  <a:gd name="connsiteX182" fmla="*/ 9107665 w 12025612"/>
                  <a:gd name="connsiteY182" fmla="*/ 0 h 222980"/>
                  <a:gd name="connsiteX183" fmla="*/ 9178832 w 12025612"/>
                  <a:gd name="connsiteY183" fmla="*/ 110588 h 222980"/>
                  <a:gd name="connsiteX184" fmla="*/ 9158746 w 12025612"/>
                  <a:gd name="connsiteY184" fmla="*/ 194167 h 222980"/>
                  <a:gd name="connsiteX185" fmla="*/ 9102549 w 12025612"/>
                  <a:gd name="connsiteY185" fmla="*/ 222980 h 222980"/>
                  <a:gd name="connsiteX186" fmla="*/ 9049964 w 12025612"/>
                  <a:gd name="connsiteY186" fmla="*/ 195446 h 222980"/>
                  <a:gd name="connsiteX187" fmla="*/ 9031081 w 12025612"/>
                  <a:gd name="connsiteY187" fmla="*/ 115854 h 222980"/>
                  <a:gd name="connsiteX188" fmla="*/ 9050791 w 12025612"/>
                  <a:gd name="connsiteY188" fmla="*/ 29339 h 222980"/>
                  <a:gd name="connsiteX189" fmla="*/ 9107665 w 12025612"/>
                  <a:gd name="connsiteY189" fmla="*/ 0 h 222980"/>
                  <a:gd name="connsiteX190" fmla="*/ 8976589 w 12025612"/>
                  <a:gd name="connsiteY190" fmla="*/ 0 h 222980"/>
                  <a:gd name="connsiteX191" fmla="*/ 8991495 w 12025612"/>
                  <a:gd name="connsiteY191" fmla="*/ 0 h 222980"/>
                  <a:gd name="connsiteX192" fmla="*/ 8991495 w 12025612"/>
                  <a:gd name="connsiteY192" fmla="*/ 222980 h 222980"/>
                  <a:gd name="connsiteX193" fmla="*/ 8956207 w 12025612"/>
                  <a:gd name="connsiteY193" fmla="*/ 222980 h 222980"/>
                  <a:gd name="connsiteX194" fmla="*/ 8956207 w 12025612"/>
                  <a:gd name="connsiteY194" fmla="*/ 43197 h 222980"/>
                  <a:gd name="connsiteX195" fmla="*/ 8935598 w 12025612"/>
                  <a:gd name="connsiteY195" fmla="*/ 54832 h 222980"/>
                  <a:gd name="connsiteX196" fmla="*/ 8910425 w 12025612"/>
                  <a:gd name="connsiteY196" fmla="*/ 63274 h 222980"/>
                  <a:gd name="connsiteX197" fmla="*/ 8910425 w 12025612"/>
                  <a:gd name="connsiteY197" fmla="*/ 33158 h 222980"/>
                  <a:gd name="connsiteX198" fmla="*/ 8927460 w 12025612"/>
                  <a:gd name="connsiteY198" fmla="*/ 27074 h 222980"/>
                  <a:gd name="connsiteX199" fmla="*/ 8943659 w 12025612"/>
                  <a:gd name="connsiteY199" fmla="*/ 19925 h 222980"/>
                  <a:gd name="connsiteX200" fmla="*/ 8959782 w 12025612"/>
                  <a:gd name="connsiteY200" fmla="*/ 11103 h 222980"/>
                  <a:gd name="connsiteX201" fmla="*/ 8976589 w 12025612"/>
                  <a:gd name="connsiteY201" fmla="*/ 0 h 222980"/>
                  <a:gd name="connsiteX202" fmla="*/ 8765908 w 12025612"/>
                  <a:gd name="connsiteY202" fmla="*/ 0 h 222980"/>
                  <a:gd name="connsiteX203" fmla="*/ 8837075 w 12025612"/>
                  <a:gd name="connsiteY203" fmla="*/ 110588 h 222980"/>
                  <a:gd name="connsiteX204" fmla="*/ 8816989 w 12025612"/>
                  <a:gd name="connsiteY204" fmla="*/ 194167 h 222980"/>
                  <a:gd name="connsiteX205" fmla="*/ 8760792 w 12025612"/>
                  <a:gd name="connsiteY205" fmla="*/ 222980 h 222980"/>
                  <a:gd name="connsiteX206" fmla="*/ 8708207 w 12025612"/>
                  <a:gd name="connsiteY206" fmla="*/ 195446 h 222980"/>
                  <a:gd name="connsiteX207" fmla="*/ 8689324 w 12025612"/>
                  <a:gd name="connsiteY207" fmla="*/ 115854 h 222980"/>
                  <a:gd name="connsiteX208" fmla="*/ 8709034 w 12025612"/>
                  <a:gd name="connsiteY208" fmla="*/ 29339 h 222980"/>
                  <a:gd name="connsiteX209" fmla="*/ 8765908 w 12025612"/>
                  <a:gd name="connsiteY209" fmla="*/ 0 h 222980"/>
                  <a:gd name="connsiteX210" fmla="*/ 8064506 w 12025612"/>
                  <a:gd name="connsiteY210" fmla="*/ 0 h 222980"/>
                  <a:gd name="connsiteX211" fmla="*/ 8135673 w 12025612"/>
                  <a:gd name="connsiteY211" fmla="*/ 110588 h 222980"/>
                  <a:gd name="connsiteX212" fmla="*/ 8115587 w 12025612"/>
                  <a:gd name="connsiteY212" fmla="*/ 194167 h 222980"/>
                  <a:gd name="connsiteX213" fmla="*/ 8059390 w 12025612"/>
                  <a:gd name="connsiteY213" fmla="*/ 222980 h 222980"/>
                  <a:gd name="connsiteX214" fmla="*/ 8006805 w 12025612"/>
                  <a:gd name="connsiteY214" fmla="*/ 195446 h 222980"/>
                  <a:gd name="connsiteX215" fmla="*/ 7987922 w 12025612"/>
                  <a:gd name="connsiteY215" fmla="*/ 115854 h 222980"/>
                  <a:gd name="connsiteX216" fmla="*/ 8007632 w 12025612"/>
                  <a:gd name="connsiteY216" fmla="*/ 29339 h 222980"/>
                  <a:gd name="connsiteX217" fmla="*/ 8064506 w 12025612"/>
                  <a:gd name="connsiteY217" fmla="*/ 0 h 222980"/>
                  <a:gd name="connsiteX218" fmla="*/ 7685345 w 12025612"/>
                  <a:gd name="connsiteY218" fmla="*/ 0 h 222980"/>
                  <a:gd name="connsiteX219" fmla="*/ 7700251 w 12025612"/>
                  <a:gd name="connsiteY219" fmla="*/ 0 h 222980"/>
                  <a:gd name="connsiteX220" fmla="*/ 7700251 w 12025612"/>
                  <a:gd name="connsiteY220" fmla="*/ 222980 h 222980"/>
                  <a:gd name="connsiteX221" fmla="*/ 7664963 w 12025612"/>
                  <a:gd name="connsiteY221" fmla="*/ 222980 h 222980"/>
                  <a:gd name="connsiteX222" fmla="*/ 7664963 w 12025612"/>
                  <a:gd name="connsiteY222" fmla="*/ 43197 h 222980"/>
                  <a:gd name="connsiteX223" fmla="*/ 7644354 w 12025612"/>
                  <a:gd name="connsiteY223" fmla="*/ 54832 h 222980"/>
                  <a:gd name="connsiteX224" fmla="*/ 7619181 w 12025612"/>
                  <a:gd name="connsiteY224" fmla="*/ 63274 h 222980"/>
                  <a:gd name="connsiteX225" fmla="*/ 7619181 w 12025612"/>
                  <a:gd name="connsiteY225" fmla="*/ 33158 h 222980"/>
                  <a:gd name="connsiteX226" fmla="*/ 7636216 w 12025612"/>
                  <a:gd name="connsiteY226" fmla="*/ 27074 h 222980"/>
                  <a:gd name="connsiteX227" fmla="*/ 7652415 w 12025612"/>
                  <a:gd name="connsiteY227" fmla="*/ 19925 h 222980"/>
                  <a:gd name="connsiteX228" fmla="*/ 7668538 w 12025612"/>
                  <a:gd name="connsiteY228" fmla="*/ 11103 h 222980"/>
                  <a:gd name="connsiteX229" fmla="*/ 7685345 w 12025612"/>
                  <a:gd name="connsiteY229" fmla="*/ 0 h 222980"/>
                  <a:gd name="connsiteX230" fmla="*/ 7323403 w 12025612"/>
                  <a:gd name="connsiteY230" fmla="*/ 0 h 222980"/>
                  <a:gd name="connsiteX231" fmla="*/ 7338309 w 12025612"/>
                  <a:gd name="connsiteY231" fmla="*/ 0 h 222980"/>
                  <a:gd name="connsiteX232" fmla="*/ 7338309 w 12025612"/>
                  <a:gd name="connsiteY232" fmla="*/ 222980 h 222980"/>
                  <a:gd name="connsiteX233" fmla="*/ 7303021 w 12025612"/>
                  <a:gd name="connsiteY233" fmla="*/ 222980 h 222980"/>
                  <a:gd name="connsiteX234" fmla="*/ 7303021 w 12025612"/>
                  <a:gd name="connsiteY234" fmla="*/ 43197 h 222980"/>
                  <a:gd name="connsiteX235" fmla="*/ 7282412 w 12025612"/>
                  <a:gd name="connsiteY235" fmla="*/ 54832 h 222980"/>
                  <a:gd name="connsiteX236" fmla="*/ 7257239 w 12025612"/>
                  <a:gd name="connsiteY236" fmla="*/ 63274 h 222980"/>
                  <a:gd name="connsiteX237" fmla="*/ 7257239 w 12025612"/>
                  <a:gd name="connsiteY237" fmla="*/ 33158 h 222980"/>
                  <a:gd name="connsiteX238" fmla="*/ 7274274 w 12025612"/>
                  <a:gd name="connsiteY238" fmla="*/ 27074 h 222980"/>
                  <a:gd name="connsiteX239" fmla="*/ 7290473 w 12025612"/>
                  <a:gd name="connsiteY239" fmla="*/ 19925 h 222980"/>
                  <a:gd name="connsiteX240" fmla="*/ 7306596 w 12025612"/>
                  <a:gd name="connsiteY240" fmla="*/ 11103 h 222980"/>
                  <a:gd name="connsiteX241" fmla="*/ 7323403 w 12025612"/>
                  <a:gd name="connsiteY241" fmla="*/ 0 h 222980"/>
                  <a:gd name="connsiteX242" fmla="*/ 7023457 w 12025612"/>
                  <a:gd name="connsiteY242" fmla="*/ 0 h 222980"/>
                  <a:gd name="connsiteX243" fmla="*/ 7038363 w 12025612"/>
                  <a:gd name="connsiteY243" fmla="*/ 0 h 222980"/>
                  <a:gd name="connsiteX244" fmla="*/ 7038363 w 12025612"/>
                  <a:gd name="connsiteY244" fmla="*/ 222980 h 222980"/>
                  <a:gd name="connsiteX245" fmla="*/ 7003075 w 12025612"/>
                  <a:gd name="connsiteY245" fmla="*/ 222980 h 222980"/>
                  <a:gd name="connsiteX246" fmla="*/ 7003075 w 12025612"/>
                  <a:gd name="connsiteY246" fmla="*/ 43197 h 222980"/>
                  <a:gd name="connsiteX247" fmla="*/ 6982466 w 12025612"/>
                  <a:gd name="connsiteY247" fmla="*/ 54832 h 222980"/>
                  <a:gd name="connsiteX248" fmla="*/ 6957293 w 12025612"/>
                  <a:gd name="connsiteY248" fmla="*/ 63274 h 222980"/>
                  <a:gd name="connsiteX249" fmla="*/ 6957293 w 12025612"/>
                  <a:gd name="connsiteY249" fmla="*/ 33158 h 222980"/>
                  <a:gd name="connsiteX250" fmla="*/ 6974328 w 12025612"/>
                  <a:gd name="connsiteY250" fmla="*/ 27074 h 222980"/>
                  <a:gd name="connsiteX251" fmla="*/ 6990527 w 12025612"/>
                  <a:gd name="connsiteY251" fmla="*/ 19925 h 222980"/>
                  <a:gd name="connsiteX252" fmla="*/ 7006650 w 12025612"/>
                  <a:gd name="connsiteY252" fmla="*/ 11103 h 222980"/>
                  <a:gd name="connsiteX253" fmla="*/ 7023457 w 12025612"/>
                  <a:gd name="connsiteY253" fmla="*/ 0 h 222980"/>
                  <a:gd name="connsiteX254" fmla="*/ 6806017 w 12025612"/>
                  <a:gd name="connsiteY254" fmla="*/ 0 h 222980"/>
                  <a:gd name="connsiteX255" fmla="*/ 6877184 w 12025612"/>
                  <a:gd name="connsiteY255" fmla="*/ 110588 h 222980"/>
                  <a:gd name="connsiteX256" fmla="*/ 6857098 w 12025612"/>
                  <a:gd name="connsiteY256" fmla="*/ 194167 h 222980"/>
                  <a:gd name="connsiteX257" fmla="*/ 6800901 w 12025612"/>
                  <a:gd name="connsiteY257" fmla="*/ 222980 h 222980"/>
                  <a:gd name="connsiteX258" fmla="*/ 6748316 w 12025612"/>
                  <a:gd name="connsiteY258" fmla="*/ 195446 h 222980"/>
                  <a:gd name="connsiteX259" fmla="*/ 6729433 w 12025612"/>
                  <a:gd name="connsiteY259" fmla="*/ 115854 h 222980"/>
                  <a:gd name="connsiteX260" fmla="*/ 6749143 w 12025612"/>
                  <a:gd name="connsiteY260" fmla="*/ 29339 h 222980"/>
                  <a:gd name="connsiteX261" fmla="*/ 6806017 w 12025612"/>
                  <a:gd name="connsiteY261" fmla="*/ 0 h 222980"/>
                  <a:gd name="connsiteX262" fmla="*/ 6592923 w 12025612"/>
                  <a:gd name="connsiteY262" fmla="*/ 0 h 222980"/>
                  <a:gd name="connsiteX263" fmla="*/ 6664090 w 12025612"/>
                  <a:gd name="connsiteY263" fmla="*/ 110588 h 222980"/>
                  <a:gd name="connsiteX264" fmla="*/ 6644004 w 12025612"/>
                  <a:gd name="connsiteY264" fmla="*/ 194167 h 222980"/>
                  <a:gd name="connsiteX265" fmla="*/ 6587807 w 12025612"/>
                  <a:gd name="connsiteY265" fmla="*/ 222980 h 222980"/>
                  <a:gd name="connsiteX266" fmla="*/ 6535222 w 12025612"/>
                  <a:gd name="connsiteY266" fmla="*/ 195446 h 222980"/>
                  <a:gd name="connsiteX267" fmla="*/ 6516339 w 12025612"/>
                  <a:gd name="connsiteY267" fmla="*/ 115854 h 222980"/>
                  <a:gd name="connsiteX268" fmla="*/ 6536049 w 12025612"/>
                  <a:gd name="connsiteY268" fmla="*/ 29339 h 222980"/>
                  <a:gd name="connsiteX269" fmla="*/ 6592923 w 12025612"/>
                  <a:gd name="connsiteY269" fmla="*/ 0 h 222980"/>
                  <a:gd name="connsiteX270" fmla="*/ 6431374 w 12025612"/>
                  <a:gd name="connsiteY270" fmla="*/ 0 h 222980"/>
                  <a:gd name="connsiteX271" fmla="*/ 6446280 w 12025612"/>
                  <a:gd name="connsiteY271" fmla="*/ 0 h 222980"/>
                  <a:gd name="connsiteX272" fmla="*/ 6446280 w 12025612"/>
                  <a:gd name="connsiteY272" fmla="*/ 222980 h 222980"/>
                  <a:gd name="connsiteX273" fmla="*/ 6410992 w 12025612"/>
                  <a:gd name="connsiteY273" fmla="*/ 222980 h 222980"/>
                  <a:gd name="connsiteX274" fmla="*/ 6410992 w 12025612"/>
                  <a:gd name="connsiteY274" fmla="*/ 43197 h 222980"/>
                  <a:gd name="connsiteX275" fmla="*/ 6390383 w 12025612"/>
                  <a:gd name="connsiteY275" fmla="*/ 54832 h 222980"/>
                  <a:gd name="connsiteX276" fmla="*/ 6365210 w 12025612"/>
                  <a:gd name="connsiteY276" fmla="*/ 63274 h 222980"/>
                  <a:gd name="connsiteX277" fmla="*/ 6365210 w 12025612"/>
                  <a:gd name="connsiteY277" fmla="*/ 33158 h 222980"/>
                  <a:gd name="connsiteX278" fmla="*/ 6382245 w 12025612"/>
                  <a:gd name="connsiteY278" fmla="*/ 27074 h 222980"/>
                  <a:gd name="connsiteX279" fmla="*/ 6398444 w 12025612"/>
                  <a:gd name="connsiteY279" fmla="*/ 19925 h 222980"/>
                  <a:gd name="connsiteX280" fmla="*/ 6414567 w 12025612"/>
                  <a:gd name="connsiteY280" fmla="*/ 11103 h 222980"/>
                  <a:gd name="connsiteX281" fmla="*/ 6431374 w 12025612"/>
                  <a:gd name="connsiteY281" fmla="*/ 0 h 222980"/>
                  <a:gd name="connsiteX282" fmla="*/ 6131428 w 12025612"/>
                  <a:gd name="connsiteY282" fmla="*/ 0 h 222980"/>
                  <a:gd name="connsiteX283" fmla="*/ 6146334 w 12025612"/>
                  <a:gd name="connsiteY283" fmla="*/ 0 h 222980"/>
                  <a:gd name="connsiteX284" fmla="*/ 6146334 w 12025612"/>
                  <a:gd name="connsiteY284" fmla="*/ 222980 h 222980"/>
                  <a:gd name="connsiteX285" fmla="*/ 6111046 w 12025612"/>
                  <a:gd name="connsiteY285" fmla="*/ 222980 h 222980"/>
                  <a:gd name="connsiteX286" fmla="*/ 6111046 w 12025612"/>
                  <a:gd name="connsiteY286" fmla="*/ 43197 h 222980"/>
                  <a:gd name="connsiteX287" fmla="*/ 6090437 w 12025612"/>
                  <a:gd name="connsiteY287" fmla="*/ 54832 h 222980"/>
                  <a:gd name="connsiteX288" fmla="*/ 6065264 w 12025612"/>
                  <a:gd name="connsiteY288" fmla="*/ 63274 h 222980"/>
                  <a:gd name="connsiteX289" fmla="*/ 6065264 w 12025612"/>
                  <a:gd name="connsiteY289" fmla="*/ 33158 h 222980"/>
                  <a:gd name="connsiteX290" fmla="*/ 6082299 w 12025612"/>
                  <a:gd name="connsiteY290" fmla="*/ 27074 h 222980"/>
                  <a:gd name="connsiteX291" fmla="*/ 6098498 w 12025612"/>
                  <a:gd name="connsiteY291" fmla="*/ 19925 h 222980"/>
                  <a:gd name="connsiteX292" fmla="*/ 6114621 w 12025612"/>
                  <a:gd name="connsiteY292" fmla="*/ 11103 h 222980"/>
                  <a:gd name="connsiteX293" fmla="*/ 6131428 w 12025612"/>
                  <a:gd name="connsiteY293" fmla="*/ 0 h 222980"/>
                  <a:gd name="connsiteX294" fmla="*/ 5947899 w 12025612"/>
                  <a:gd name="connsiteY294" fmla="*/ 0 h 222980"/>
                  <a:gd name="connsiteX295" fmla="*/ 5962805 w 12025612"/>
                  <a:gd name="connsiteY295" fmla="*/ 0 h 222980"/>
                  <a:gd name="connsiteX296" fmla="*/ 5962805 w 12025612"/>
                  <a:gd name="connsiteY296" fmla="*/ 222980 h 222980"/>
                  <a:gd name="connsiteX297" fmla="*/ 5927517 w 12025612"/>
                  <a:gd name="connsiteY297" fmla="*/ 222980 h 222980"/>
                  <a:gd name="connsiteX298" fmla="*/ 5927517 w 12025612"/>
                  <a:gd name="connsiteY298" fmla="*/ 43197 h 222980"/>
                  <a:gd name="connsiteX299" fmla="*/ 5906908 w 12025612"/>
                  <a:gd name="connsiteY299" fmla="*/ 54832 h 222980"/>
                  <a:gd name="connsiteX300" fmla="*/ 5881735 w 12025612"/>
                  <a:gd name="connsiteY300" fmla="*/ 63274 h 222980"/>
                  <a:gd name="connsiteX301" fmla="*/ 5881735 w 12025612"/>
                  <a:gd name="connsiteY301" fmla="*/ 33158 h 222980"/>
                  <a:gd name="connsiteX302" fmla="*/ 5898770 w 12025612"/>
                  <a:gd name="connsiteY302" fmla="*/ 27074 h 222980"/>
                  <a:gd name="connsiteX303" fmla="*/ 5914969 w 12025612"/>
                  <a:gd name="connsiteY303" fmla="*/ 19925 h 222980"/>
                  <a:gd name="connsiteX304" fmla="*/ 5931092 w 12025612"/>
                  <a:gd name="connsiteY304" fmla="*/ 11103 h 222980"/>
                  <a:gd name="connsiteX305" fmla="*/ 5947899 w 12025612"/>
                  <a:gd name="connsiteY305" fmla="*/ 0 h 222980"/>
                  <a:gd name="connsiteX306" fmla="*/ 5580237 w 12025612"/>
                  <a:gd name="connsiteY306" fmla="*/ 0 h 222980"/>
                  <a:gd name="connsiteX307" fmla="*/ 5595143 w 12025612"/>
                  <a:gd name="connsiteY307" fmla="*/ 0 h 222980"/>
                  <a:gd name="connsiteX308" fmla="*/ 5595143 w 12025612"/>
                  <a:gd name="connsiteY308" fmla="*/ 222980 h 222980"/>
                  <a:gd name="connsiteX309" fmla="*/ 5559855 w 12025612"/>
                  <a:gd name="connsiteY309" fmla="*/ 222980 h 222980"/>
                  <a:gd name="connsiteX310" fmla="*/ 5559855 w 12025612"/>
                  <a:gd name="connsiteY310" fmla="*/ 43197 h 222980"/>
                  <a:gd name="connsiteX311" fmla="*/ 5539246 w 12025612"/>
                  <a:gd name="connsiteY311" fmla="*/ 54832 h 222980"/>
                  <a:gd name="connsiteX312" fmla="*/ 5514073 w 12025612"/>
                  <a:gd name="connsiteY312" fmla="*/ 63274 h 222980"/>
                  <a:gd name="connsiteX313" fmla="*/ 5514073 w 12025612"/>
                  <a:gd name="connsiteY313" fmla="*/ 33158 h 222980"/>
                  <a:gd name="connsiteX314" fmla="*/ 5531108 w 12025612"/>
                  <a:gd name="connsiteY314" fmla="*/ 27074 h 222980"/>
                  <a:gd name="connsiteX315" fmla="*/ 5547307 w 12025612"/>
                  <a:gd name="connsiteY315" fmla="*/ 19925 h 222980"/>
                  <a:gd name="connsiteX316" fmla="*/ 5563430 w 12025612"/>
                  <a:gd name="connsiteY316" fmla="*/ 11103 h 222980"/>
                  <a:gd name="connsiteX317" fmla="*/ 5580237 w 12025612"/>
                  <a:gd name="connsiteY317" fmla="*/ 0 h 222980"/>
                  <a:gd name="connsiteX318" fmla="*/ 5430264 w 12025612"/>
                  <a:gd name="connsiteY318" fmla="*/ 0 h 222980"/>
                  <a:gd name="connsiteX319" fmla="*/ 5445170 w 12025612"/>
                  <a:gd name="connsiteY319" fmla="*/ 0 h 222980"/>
                  <a:gd name="connsiteX320" fmla="*/ 5445170 w 12025612"/>
                  <a:gd name="connsiteY320" fmla="*/ 222980 h 222980"/>
                  <a:gd name="connsiteX321" fmla="*/ 5409882 w 12025612"/>
                  <a:gd name="connsiteY321" fmla="*/ 222980 h 222980"/>
                  <a:gd name="connsiteX322" fmla="*/ 5409882 w 12025612"/>
                  <a:gd name="connsiteY322" fmla="*/ 43197 h 222980"/>
                  <a:gd name="connsiteX323" fmla="*/ 5389273 w 12025612"/>
                  <a:gd name="connsiteY323" fmla="*/ 54832 h 222980"/>
                  <a:gd name="connsiteX324" fmla="*/ 5364100 w 12025612"/>
                  <a:gd name="connsiteY324" fmla="*/ 63274 h 222980"/>
                  <a:gd name="connsiteX325" fmla="*/ 5364100 w 12025612"/>
                  <a:gd name="connsiteY325" fmla="*/ 33158 h 222980"/>
                  <a:gd name="connsiteX326" fmla="*/ 5381135 w 12025612"/>
                  <a:gd name="connsiteY326" fmla="*/ 27074 h 222980"/>
                  <a:gd name="connsiteX327" fmla="*/ 5397334 w 12025612"/>
                  <a:gd name="connsiteY327" fmla="*/ 19925 h 222980"/>
                  <a:gd name="connsiteX328" fmla="*/ 5413457 w 12025612"/>
                  <a:gd name="connsiteY328" fmla="*/ 11103 h 222980"/>
                  <a:gd name="connsiteX329" fmla="*/ 5430264 w 12025612"/>
                  <a:gd name="connsiteY329" fmla="*/ 0 h 222980"/>
                  <a:gd name="connsiteX330" fmla="*/ 5280291 w 12025612"/>
                  <a:gd name="connsiteY330" fmla="*/ 0 h 222980"/>
                  <a:gd name="connsiteX331" fmla="*/ 5295197 w 12025612"/>
                  <a:gd name="connsiteY331" fmla="*/ 0 h 222980"/>
                  <a:gd name="connsiteX332" fmla="*/ 5295197 w 12025612"/>
                  <a:gd name="connsiteY332" fmla="*/ 222980 h 222980"/>
                  <a:gd name="connsiteX333" fmla="*/ 5259909 w 12025612"/>
                  <a:gd name="connsiteY333" fmla="*/ 222980 h 222980"/>
                  <a:gd name="connsiteX334" fmla="*/ 5259909 w 12025612"/>
                  <a:gd name="connsiteY334" fmla="*/ 43197 h 222980"/>
                  <a:gd name="connsiteX335" fmla="*/ 5239300 w 12025612"/>
                  <a:gd name="connsiteY335" fmla="*/ 54832 h 222980"/>
                  <a:gd name="connsiteX336" fmla="*/ 5214127 w 12025612"/>
                  <a:gd name="connsiteY336" fmla="*/ 63274 h 222980"/>
                  <a:gd name="connsiteX337" fmla="*/ 5214127 w 12025612"/>
                  <a:gd name="connsiteY337" fmla="*/ 33158 h 222980"/>
                  <a:gd name="connsiteX338" fmla="*/ 5231162 w 12025612"/>
                  <a:gd name="connsiteY338" fmla="*/ 27074 h 222980"/>
                  <a:gd name="connsiteX339" fmla="*/ 5247361 w 12025612"/>
                  <a:gd name="connsiteY339" fmla="*/ 19925 h 222980"/>
                  <a:gd name="connsiteX340" fmla="*/ 5263484 w 12025612"/>
                  <a:gd name="connsiteY340" fmla="*/ 11103 h 222980"/>
                  <a:gd name="connsiteX341" fmla="*/ 5280291 w 12025612"/>
                  <a:gd name="connsiteY341" fmla="*/ 0 h 222980"/>
                  <a:gd name="connsiteX342" fmla="*/ 4531613 w 12025612"/>
                  <a:gd name="connsiteY342" fmla="*/ 0 h 222980"/>
                  <a:gd name="connsiteX343" fmla="*/ 4546519 w 12025612"/>
                  <a:gd name="connsiteY343" fmla="*/ 0 h 222980"/>
                  <a:gd name="connsiteX344" fmla="*/ 4546519 w 12025612"/>
                  <a:gd name="connsiteY344" fmla="*/ 222980 h 222980"/>
                  <a:gd name="connsiteX345" fmla="*/ 4511231 w 12025612"/>
                  <a:gd name="connsiteY345" fmla="*/ 222980 h 222980"/>
                  <a:gd name="connsiteX346" fmla="*/ 4511231 w 12025612"/>
                  <a:gd name="connsiteY346" fmla="*/ 43197 h 222980"/>
                  <a:gd name="connsiteX347" fmla="*/ 4490622 w 12025612"/>
                  <a:gd name="connsiteY347" fmla="*/ 54832 h 222980"/>
                  <a:gd name="connsiteX348" fmla="*/ 4465449 w 12025612"/>
                  <a:gd name="connsiteY348" fmla="*/ 63274 h 222980"/>
                  <a:gd name="connsiteX349" fmla="*/ 4465449 w 12025612"/>
                  <a:gd name="connsiteY349" fmla="*/ 33158 h 222980"/>
                  <a:gd name="connsiteX350" fmla="*/ 4482484 w 12025612"/>
                  <a:gd name="connsiteY350" fmla="*/ 27074 h 222980"/>
                  <a:gd name="connsiteX351" fmla="*/ 4498683 w 12025612"/>
                  <a:gd name="connsiteY351" fmla="*/ 19925 h 222980"/>
                  <a:gd name="connsiteX352" fmla="*/ 4514806 w 12025612"/>
                  <a:gd name="connsiteY352" fmla="*/ 11103 h 222980"/>
                  <a:gd name="connsiteX353" fmla="*/ 4531613 w 12025612"/>
                  <a:gd name="connsiteY353" fmla="*/ 0 h 222980"/>
                  <a:gd name="connsiteX354" fmla="*/ 4381640 w 12025612"/>
                  <a:gd name="connsiteY354" fmla="*/ 0 h 222980"/>
                  <a:gd name="connsiteX355" fmla="*/ 4396546 w 12025612"/>
                  <a:gd name="connsiteY355" fmla="*/ 0 h 222980"/>
                  <a:gd name="connsiteX356" fmla="*/ 4396546 w 12025612"/>
                  <a:gd name="connsiteY356" fmla="*/ 222980 h 222980"/>
                  <a:gd name="connsiteX357" fmla="*/ 4361258 w 12025612"/>
                  <a:gd name="connsiteY357" fmla="*/ 222980 h 222980"/>
                  <a:gd name="connsiteX358" fmla="*/ 4361258 w 12025612"/>
                  <a:gd name="connsiteY358" fmla="*/ 43197 h 222980"/>
                  <a:gd name="connsiteX359" fmla="*/ 4340649 w 12025612"/>
                  <a:gd name="connsiteY359" fmla="*/ 54832 h 222980"/>
                  <a:gd name="connsiteX360" fmla="*/ 4315476 w 12025612"/>
                  <a:gd name="connsiteY360" fmla="*/ 63274 h 222980"/>
                  <a:gd name="connsiteX361" fmla="*/ 4315476 w 12025612"/>
                  <a:gd name="connsiteY361" fmla="*/ 33158 h 222980"/>
                  <a:gd name="connsiteX362" fmla="*/ 4332511 w 12025612"/>
                  <a:gd name="connsiteY362" fmla="*/ 27074 h 222980"/>
                  <a:gd name="connsiteX363" fmla="*/ 4348710 w 12025612"/>
                  <a:gd name="connsiteY363" fmla="*/ 19925 h 222980"/>
                  <a:gd name="connsiteX364" fmla="*/ 4364833 w 12025612"/>
                  <a:gd name="connsiteY364" fmla="*/ 11103 h 222980"/>
                  <a:gd name="connsiteX365" fmla="*/ 4381640 w 12025612"/>
                  <a:gd name="connsiteY365" fmla="*/ 0 h 222980"/>
                  <a:gd name="connsiteX366" fmla="*/ 4081694 w 12025612"/>
                  <a:gd name="connsiteY366" fmla="*/ 0 h 222980"/>
                  <a:gd name="connsiteX367" fmla="*/ 4096600 w 12025612"/>
                  <a:gd name="connsiteY367" fmla="*/ 0 h 222980"/>
                  <a:gd name="connsiteX368" fmla="*/ 4096600 w 12025612"/>
                  <a:gd name="connsiteY368" fmla="*/ 222980 h 222980"/>
                  <a:gd name="connsiteX369" fmla="*/ 4061312 w 12025612"/>
                  <a:gd name="connsiteY369" fmla="*/ 222980 h 222980"/>
                  <a:gd name="connsiteX370" fmla="*/ 4061312 w 12025612"/>
                  <a:gd name="connsiteY370" fmla="*/ 43197 h 222980"/>
                  <a:gd name="connsiteX371" fmla="*/ 4040703 w 12025612"/>
                  <a:gd name="connsiteY371" fmla="*/ 54832 h 222980"/>
                  <a:gd name="connsiteX372" fmla="*/ 4015530 w 12025612"/>
                  <a:gd name="connsiteY372" fmla="*/ 63274 h 222980"/>
                  <a:gd name="connsiteX373" fmla="*/ 4015530 w 12025612"/>
                  <a:gd name="connsiteY373" fmla="*/ 33158 h 222980"/>
                  <a:gd name="connsiteX374" fmla="*/ 4032565 w 12025612"/>
                  <a:gd name="connsiteY374" fmla="*/ 27074 h 222980"/>
                  <a:gd name="connsiteX375" fmla="*/ 4048764 w 12025612"/>
                  <a:gd name="connsiteY375" fmla="*/ 19925 h 222980"/>
                  <a:gd name="connsiteX376" fmla="*/ 4064887 w 12025612"/>
                  <a:gd name="connsiteY376" fmla="*/ 11103 h 222980"/>
                  <a:gd name="connsiteX377" fmla="*/ 4081694 w 12025612"/>
                  <a:gd name="connsiteY377" fmla="*/ 0 h 222980"/>
                  <a:gd name="connsiteX378" fmla="*/ 3701103 w 12025612"/>
                  <a:gd name="connsiteY378" fmla="*/ 0 h 222980"/>
                  <a:gd name="connsiteX379" fmla="*/ 3716009 w 12025612"/>
                  <a:gd name="connsiteY379" fmla="*/ 0 h 222980"/>
                  <a:gd name="connsiteX380" fmla="*/ 3716009 w 12025612"/>
                  <a:gd name="connsiteY380" fmla="*/ 222980 h 222980"/>
                  <a:gd name="connsiteX381" fmla="*/ 3680721 w 12025612"/>
                  <a:gd name="connsiteY381" fmla="*/ 222980 h 222980"/>
                  <a:gd name="connsiteX382" fmla="*/ 3680721 w 12025612"/>
                  <a:gd name="connsiteY382" fmla="*/ 43197 h 222980"/>
                  <a:gd name="connsiteX383" fmla="*/ 3660112 w 12025612"/>
                  <a:gd name="connsiteY383" fmla="*/ 54832 h 222980"/>
                  <a:gd name="connsiteX384" fmla="*/ 3634939 w 12025612"/>
                  <a:gd name="connsiteY384" fmla="*/ 63274 h 222980"/>
                  <a:gd name="connsiteX385" fmla="*/ 3634939 w 12025612"/>
                  <a:gd name="connsiteY385" fmla="*/ 33158 h 222980"/>
                  <a:gd name="connsiteX386" fmla="*/ 3651974 w 12025612"/>
                  <a:gd name="connsiteY386" fmla="*/ 27074 h 222980"/>
                  <a:gd name="connsiteX387" fmla="*/ 3668173 w 12025612"/>
                  <a:gd name="connsiteY387" fmla="*/ 19925 h 222980"/>
                  <a:gd name="connsiteX388" fmla="*/ 3684296 w 12025612"/>
                  <a:gd name="connsiteY388" fmla="*/ 11103 h 222980"/>
                  <a:gd name="connsiteX389" fmla="*/ 3701103 w 12025612"/>
                  <a:gd name="connsiteY389" fmla="*/ 0 h 222980"/>
                  <a:gd name="connsiteX390" fmla="*/ 3551130 w 12025612"/>
                  <a:gd name="connsiteY390" fmla="*/ 0 h 222980"/>
                  <a:gd name="connsiteX391" fmla="*/ 3566036 w 12025612"/>
                  <a:gd name="connsiteY391" fmla="*/ 0 h 222980"/>
                  <a:gd name="connsiteX392" fmla="*/ 3566036 w 12025612"/>
                  <a:gd name="connsiteY392" fmla="*/ 222980 h 222980"/>
                  <a:gd name="connsiteX393" fmla="*/ 3530748 w 12025612"/>
                  <a:gd name="connsiteY393" fmla="*/ 222980 h 222980"/>
                  <a:gd name="connsiteX394" fmla="*/ 3530748 w 12025612"/>
                  <a:gd name="connsiteY394" fmla="*/ 43197 h 222980"/>
                  <a:gd name="connsiteX395" fmla="*/ 3510139 w 12025612"/>
                  <a:gd name="connsiteY395" fmla="*/ 54832 h 222980"/>
                  <a:gd name="connsiteX396" fmla="*/ 3484966 w 12025612"/>
                  <a:gd name="connsiteY396" fmla="*/ 63274 h 222980"/>
                  <a:gd name="connsiteX397" fmla="*/ 3484966 w 12025612"/>
                  <a:gd name="connsiteY397" fmla="*/ 33158 h 222980"/>
                  <a:gd name="connsiteX398" fmla="*/ 3502001 w 12025612"/>
                  <a:gd name="connsiteY398" fmla="*/ 27074 h 222980"/>
                  <a:gd name="connsiteX399" fmla="*/ 3518200 w 12025612"/>
                  <a:gd name="connsiteY399" fmla="*/ 19925 h 222980"/>
                  <a:gd name="connsiteX400" fmla="*/ 3534323 w 12025612"/>
                  <a:gd name="connsiteY400" fmla="*/ 11103 h 222980"/>
                  <a:gd name="connsiteX401" fmla="*/ 3551130 w 12025612"/>
                  <a:gd name="connsiteY401" fmla="*/ 0 h 222980"/>
                  <a:gd name="connsiteX402" fmla="*/ 3401157 w 12025612"/>
                  <a:gd name="connsiteY402" fmla="*/ 0 h 222980"/>
                  <a:gd name="connsiteX403" fmla="*/ 3416063 w 12025612"/>
                  <a:gd name="connsiteY403" fmla="*/ 0 h 222980"/>
                  <a:gd name="connsiteX404" fmla="*/ 3416063 w 12025612"/>
                  <a:gd name="connsiteY404" fmla="*/ 222980 h 222980"/>
                  <a:gd name="connsiteX405" fmla="*/ 3380775 w 12025612"/>
                  <a:gd name="connsiteY405" fmla="*/ 222980 h 222980"/>
                  <a:gd name="connsiteX406" fmla="*/ 3380775 w 12025612"/>
                  <a:gd name="connsiteY406" fmla="*/ 43197 h 222980"/>
                  <a:gd name="connsiteX407" fmla="*/ 3360166 w 12025612"/>
                  <a:gd name="connsiteY407" fmla="*/ 54832 h 222980"/>
                  <a:gd name="connsiteX408" fmla="*/ 3334993 w 12025612"/>
                  <a:gd name="connsiteY408" fmla="*/ 63274 h 222980"/>
                  <a:gd name="connsiteX409" fmla="*/ 3334993 w 12025612"/>
                  <a:gd name="connsiteY409" fmla="*/ 33158 h 222980"/>
                  <a:gd name="connsiteX410" fmla="*/ 3352028 w 12025612"/>
                  <a:gd name="connsiteY410" fmla="*/ 27074 h 222980"/>
                  <a:gd name="connsiteX411" fmla="*/ 3368227 w 12025612"/>
                  <a:gd name="connsiteY411" fmla="*/ 19925 h 222980"/>
                  <a:gd name="connsiteX412" fmla="*/ 3384350 w 12025612"/>
                  <a:gd name="connsiteY412" fmla="*/ 11103 h 222980"/>
                  <a:gd name="connsiteX413" fmla="*/ 3401157 w 12025612"/>
                  <a:gd name="connsiteY413" fmla="*/ 0 h 222980"/>
                  <a:gd name="connsiteX414" fmla="*/ 3251184 w 12025612"/>
                  <a:gd name="connsiteY414" fmla="*/ 0 h 222980"/>
                  <a:gd name="connsiteX415" fmla="*/ 3266090 w 12025612"/>
                  <a:gd name="connsiteY415" fmla="*/ 0 h 222980"/>
                  <a:gd name="connsiteX416" fmla="*/ 3266090 w 12025612"/>
                  <a:gd name="connsiteY416" fmla="*/ 222980 h 222980"/>
                  <a:gd name="connsiteX417" fmla="*/ 3230802 w 12025612"/>
                  <a:gd name="connsiteY417" fmla="*/ 222980 h 222980"/>
                  <a:gd name="connsiteX418" fmla="*/ 3230802 w 12025612"/>
                  <a:gd name="connsiteY418" fmla="*/ 43197 h 222980"/>
                  <a:gd name="connsiteX419" fmla="*/ 3210193 w 12025612"/>
                  <a:gd name="connsiteY419" fmla="*/ 54832 h 222980"/>
                  <a:gd name="connsiteX420" fmla="*/ 3185020 w 12025612"/>
                  <a:gd name="connsiteY420" fmla="*/ 63274 h 222980"/>
                  <a:gd name="connsiteX421" fmla="*/ 3185020 w 12025612"/>
                  <a:gd name="connsiteY421" fmla="*/ 33158 h 222980"/>
                  <a:gd name="connsiteX422" fmla="*/ 3202055 w 12025612"/>
                  <a:gd name="connsiteY422" fmla="*/ 27074 h 222980"/>
                  <a:gd name="connsiteX423" fmla="*/ 3218254 w 12025612"/>
                  <a:gd name="connsiteY423" fmla="*/ 19925 h 222980"/>
                  <a:gd name="connsiteX424" fmla="*/ 3234377 w 12025612"/>
                  <a:gd name="connsiteY424" fmla="*/ 11103 h 222980"/>
                  <a:gd name="connsiteX425" fmla="*/ 3251184 w 12025612"/>
                  <a:gd name="connsiteY425" fmla="*/ 0 h 222980"/>
                  <a:gd name="connsiteX426" fmla="*/ 3047247 w 12025612"/>
                  <a:gd name="connsiteY426" fmla="*/ 0 h 222980"/>
                  <a:gd name="connsiteX427" fmla="*/ 3118414 w 12025612"/>
                  <a:gd name="connsiteY427" fmla="*/ 110588 h 222980"/>
                  <a:gd name="connsiteX428" fmla="*/ 3098328 w 12025612"/>
                  <a:gd name="connsiteY428" fmla="*/ 194167 h 222980"/>
                  <a:gd name="connsiteX429" fmla="*/ 3042131 w 12025612"/>
                  <a:gd name="connsiteY429" fmla="*/ 222980 h 222980"/>
                  <a:gd name="connsiteX430" fmla="*/ 2989546 w 12025612"/>
                  <a:gd name="connsiteY430" fmla="*/ 195446 h 222980"/>
                  <a:gd name="connsiteX431" fmla="*/ 2970663 w 12025612"/>
                  <a:gd name="connsiteY431" fmla="*/ 115854 h 222980"/>
                  <a:gd name="connsiteX432" fmla="*/ 2990373 w 12025612"/>
                  <a:gd name="connsiteY432" fmla="*/ 29339 h 222980"/>
                  <a:gd name="connsiteX433" fmla="*/ 3047247 w 12025612"/>
                  <a:gd name="connsiteY433" fmla="*/ 0 h 222980"/>
                  <a:gd name="connsiteX434" fmla="*/ 2917001 w 12025612"/>
                  <a:gd name="connsiteY434" fmla="*/ 0 h 222980"/>
                  <a:gd name="connsiteX435" fmla="*/ 2931907 w 12025612"/>
                  <a:gd name="connsiteY435" fmla="*/ 0 h 222980"/>
                  <a:gd name="connsiteX436" fmla="*/ 2931907 w 12025612"/>
                  <a:gd name="connsiteY436" fmla="*/ 222980 h 222980"/>
                  <a:gd name="connsiteX437" fmla="*/ 2896619 w 12025612"/>
                  <a:gd name="connsiteY437" fmla="*/ 222980 h 222980"/>
                  <a:gd name="connsiteX438" fmla="*/ 2896619 w 12025612"/>
                  <a:gd name="connsiteY438" fmla="*/ 43197 h 222980"/>
                  <a:gd name="connsiteX439" fmla="*/ 2876010 w 12025612"/>
                  <a:gd name="connsiteY439" fmla="*/ 54832 h 222980"/>
                  <a:gd name="connsiteX440" fmla="*/ 2850837 w 12025612"/>
                  <a:gd name="connsiteY440" fmla="*/ 63274 h 222980"/>
                  <a:gd name="connsiteX441" fmla="*/ 2850837 w 12025612"/>
                  <a:gd name="connsiteY441" fmla="*/ 33158 h 222980"/>
                  <a:gd name="connsiteX442" fmla="*/ 2867872 w 12025612"/>
                  <a:gd name="connsiteY442" fmla="*/ 27074 h 222980"/>
                  <a:gd name="connsiteX443" fmla="*/ 2884071 w 12025612"/>
                  <a:gd name="connsiteY443" fmla="*/ 19925 h 222980"/>
                  <a:gd name="connsiteX444" fmla="*/ 2900194 w 12025612"/>
                  <a:gd name="connsiteY444" fmla="*/ 11103 h 222980"/>
                  <a:gd name="connsiteX445" fmla="*/ 2917001 w 12025612"/>
                  <a:gd name="connsiteY445" fmla="*/ 0 h 222980"/>
                  <a:gd name="connsiteX446" fmla="*/ 2700444 w 12025612"/>
                  <a:gd name="connsiteY446" fmla="*/ 0 h 222980"/>
                  <a:gd name="connsiteX447" fmla="*/ 2771611 w 12025612"/>
                  <a:gd name="connsiteY447" fmla="*/ 110588 h 222980"/>
                  <a:gd name="connsiteX448" fmla="*/ 2751525 w 12025612"/>
                  <a:gd name="connsiteY448" fmla="*/ 194167 h 222980"/>
                  <a:gd name="connsiteX449" fmla="*/ 2695328 w 12025612"/>
                  <a:gd name="connsiteY449" fmla="*/ 222980 h 222980"/>
                  <a:gd name="connsiteX450" fmla="*/ 2642743 w 12025612"/>
                  <a:gd name="connsiteY450" fmla="*/ 195446 h 222980"/>
                  <a:gd name="connsiteX451" fmla="*/ 2623860 w 12025612"/>
                  <a:gd name="connsiteY451" fmla="*/ 115854 h 222980"/>
                  <a:gd name="connsiteX452" fmla="*/ 2643570 w 12025612"/>
                  <a:gd name="connsiteY452" fmla="*/ 29339 h 222980"/>
                  <a:gd name="connsiteX453" fmla="*/ 2700444 w 12025612"/>
                  <a:gd name="connsiteY453" fmla="*/ 0 h 222980"/>
                  <a:gd name="connsiteX454" fmla="*/ 2009079 w 12025612"/>
                  <a:gd name="connsiteY454" fmla="*/ 0 h 222980"/>
                  <a:gd name="connsiteX455" fmla="*/ 2080246 w 12025612"/>
                  <a:gd name="connsiteY455" fmla="*/ 110588 h 222980"/>
                  <a:gd name="connsiteX456" fmla="*/ 2060160 w 12025612"/>
                  <a:gd name="connsiteY456" fmla="*/ 194167 h 222980"/>
                  <a:gd name="connsiteX457" fmla="*/ 2003963 w 12025612"/>
                  <a:gd name="connsiteY457" fmla="*/ 222980 h 222980"/>
                  <a:gd name="connsiteX458" fmla="*/ 1951378 w 12025612"/>
                  <a:gd name="connsiteY458" fmla="*/ 195446 h 222980"/>
                  <a:gd name="connsiteX459" fmla="*/ 1932495 w 12025612"/>
                  <a:gd name="connsiteY459" fmla="*/ 115854 h 222980"/>
                  <a:gd name="connsiteX460" fmla="*/ 1952205 w 12025612"/>
                  <a:gd name="connsiteY460" fmla="*/ 29339 h 222980"/>
                  <a:gd name="connsiteX461" fmla="*/ 2009079 w 12025612"/>
                  <a:gd name="connsiteY461" fmla="*/ 0 h 222980"/>
                  <a:gd name="connsiteX462" fmla="*/ 1636718 w 12025612"/>
                  <a:gd name="connsiteY462" fmla="*/ 0 h 222980"/>
                  <a:gd name="connsiteX463" fmla="*/ 1651624 w 12025612"/>
                  <a:gd name="connsiteY463" fmla="*/ 0 h 222980"/>
                  <a:gd name="connsiteX464" fmla="*/ 1651624 w 12025612"/>
                  <a:gd name="connsiteY464" fmla="*/ 222980 h 222980"/>
                  <a:gd name="connsiteX465" fmla="*/ 1616336 w 12025612"/>
                  <a:gd name="connsiteY465" fmla="*/ 222980 h 222980"/>
                  <a:gd name="connsiteX466" fmla="*/ 1616336 w 12025612"/>
                  <a:gd name="connsiteY466" fmla="*/ 43197 h 222980"/>
                  <a:gd name="connsiteX467" fmla="*/ 1595727 w 12025612"/>
                  <a:gd name="connsiteY467" fmla="*/ 54832 h 222980"/>
                  <a:gd name="connsiteX468" fmla="*/ 1570554 w 12025612"/>
                  <a:gd name="connsiteY468" fmla="*/ 63274 h 222980"/>
                  <a:gd name="connsiteX469" fmla="*/ 1570554 w 12025612"/>
                  <a:gd name="connsiteY469" fmla="*/ 33158 h 222980"/>
                  <a:gd name="connsiteX470" fmla="*/ 1587589 w 12025612"/>
                  <a:gd name="connsiteY470" fmla="*/ 27074 h 222980"/>
                  <a:gd name="connsiteX471" fmla="*/ 1603788 w 12025612"/>
                  <a:gd name="connsiteY471" fmla="*/ 19925 h 222980"/>
                  <a:gd name="connsiteX472" fmla="*/ 1619911 w 12025612"/>
                  <a:gd name="connsiteY472" fmla="*/ 11103 h 222980"/>
                  <a:gd name="connsiteX473" fmla="*/ 1636718 w 12025612"/>
                  <a:gd name="connsiteY473" fmla="*/ 0 h 222980"/>
                  <a:gd name="connsiteX474" fmla="*/ 1260052 w 12025612"/>
                  <a:gd name="connsiteY474" fmla="*/ 0 h 222980"/>
                  <a:gd name="connsiteX475" fmla="*/ 1274958 w 12025612"/>
                  <a:gd name="connsiteY475" fmla="*/ 0 h 222980"/>
                  <a:gd name="connsiteX476" fmla="*/ 1274958 w 12025612"/>
                  <a:gd name="connsiteY476" fmla="*/ 222980 h 222980"/>
                  <a:gd name="connsiteX477" fmla="*/ 1239670 w 12025612"/>
                  <a:gd name="connsiteY477" fmla="*/ 222980 h 222980"/>
                  <a:gd name="connsiteX478" fmla="*/ 1239670 w 12025612"/>
                  <a:gd name="connsiteY478" fmla="*/ 43197 h 222980"/>
                  <a:gd name="connsiteX479" fmla="*/ 1219061 w 12025612"/>
                  <a:gd name="connsiteY479" fmla="*/ 54832 h 222980"/>
                  <a:gd name="connsiteX480" fmla="*/ 1193888 w 12025612"/>
                  <a:gd name="connsiteY480" fmla="*/ 63274 h 222980"/>
                  <a:gd name="connsiteX481" fmla="*/ 1193888 w 12025612"/>
                  <a:gd name="connsiteY481" fmla="*/ 33158 h 222980"/>
                  <a:gd name="connsiteX482" fmla="*/ 1210923 w 12025612"/>
                  <a:gd name="connsiteY482" fmla="*/ 27074 h 222980"/>
                  <a:gd name="connsiteX483" fmla="*/ 1227122 w 12025612"/>
                  <a:gd name="connsiteY483" fmla="*/ 19925 h 222980"/>
                  <a:gd name="connsiteX484" fmla="*/ 1243245 w 12025612"/>
                  <a:gd name="connsiteY484" fmla="*/ 11103 h 222980"/>
                  <a:gd name="connsiteX485" fmla="*/ 1260052 w 12025612"/>
                  <a:gd name="connsiteY485" fmla="*/ 0 h 222980"/>
                  <a:gd name="connsiteX486" fmla="*/ 960106 w 12025612"/>
                  <a:gd name="connsiteY486" fmla="*/ 0 h 222980"/>
                  <a:gd name="connsiteX487" fmla="*/ 975012 w 12025612"/>
                  <a:gd name="connsiteY487" fmla="*/ 0 h 222980"/>
                  <a:gd name="connsiteX488" fmla="*/ 975012 w 12025612"/>
                  <a:gd name="connsiteY488" fmla="*/ 222980 h 222980"/>
                  <a:gd name="connsiteX489" fmla="*/ 939724 w 12025612"/>
                  <a:gd name="connsiteY489" fmla="*/ 222980 h 222980"/>
                  <a:gd name="connsiteX490" fmla="*/ 939724 w 12025612"/>
                  <a:gd name="connsiteY490" fmla="*/ 43197 h 222980"/>
                  <a:gd name="connsiteX491" fmla="*/ 919115 w 12025612"/>
                  <a:gd name="connsiteY491" fmla="*/ 54832 h 222980"/>
                  <a:gd name="connsiteX492" fmla="*/ 893942 w 12025612"/>
                  <a:gd name="connsiteY492" fmla="*/ 63274 h 222980"/>
                  <a:gd name="connsiteX493" fmla="*/ 893942 w 12025612"/>
                  <a:gd name="connsiteY493" fmla="*/ 33158 h 222980"/>
                  <a:gd name="connsiteX494" fmla="*/ 910977 w 12025612"/>
                  <a:gd name="connsiteY494" fmla="*/ 27074 h 222980"/>
                  <a:gd name="connsiteX495" fmla="*/ 927176 w 12025612"/>
                  <a:gd name="connsiteY495" fmla="*/ 19925 h 222980"/>
                  <a:gd name="connsiteX496" fmla="*/ 943299 w 12025612"/>
                  <a:gd name="connsiteY496" fmla="*/ 11103 h 222980"/>
                  <a:gd name="connsiteX497" fmla="*/ 960106 w 12025612"/>
                  <a:gd name="connsiteY497" fmla="*/ 0 h 222980"/>
                  <a:gd name="connsiteX498" fmla="*/ 753872 w 12025612"/>
                  <a:gd name="connsiteY498" fmla="*/ 0 h 222980"/>
                  <a:gd name="connsiteX499" fmla="*/ 825039 w 12025612"/>
                  <a:gd name="connsiteY499" fmla="*/ 110588 h 222980"/>
                  <a:gd name="connsiteX500" fmla="*/ 804953 w 12025612"/>
                  <a:gd name="connsiteY500" fmla="*/ 194167 h 222980"/>
                  <a:gd name="connsiteX501" fmla="*/ 748756 w 12025612"/>
                  <a:gd name="connsiteY501" fmla="*/ 222980 h 222980"/>
                  <a:gd name="connsiteX502" fmla="*/ 696171 w 12025612"/>
                  <a:gd name="connsiteY502" fmla="*/ 195446 h 222980"/>
                  <a:gd name="connsiteX503" fmla="*/ 677288 w 12025612"/>
                  <a:gd name="connsiteY503" fmla="*/ 115854 h 222980"/>
                  <a:gd name="connsiteX504" fmla="*/ 696998 w 12025612"/>
                  <a:gd name="connsiteY504" fmla="*/ 29339 h 222980"/>
                  <a:gd name="connsiteX505" fmla="*/ 753872 w 12025612"/>
                  <a:gd name="connsiteY505" fmla="*/ 0 h 222980"/>
                  <a:gd name="connsiteX506" fmla="*/ 533272 w 12025612"/>
                  <a:gd name="connsiteY506" fmla="*/ 0 h 222980"/>
                  <a:gd name="connsiteX507" fmla="*/ 604439 w 12025612"/>
                  <a:gd name="connsiteY507" fmla="*/ 110588 h 222980"/>
                  <a:gd name="connsiteX508" fmla="*/ 584353 w 12025612"/>
                  <a:gd name="connsiteY508" fmla="*/ 194167 h 222980"/>
                  <a:gd name="connsiteX509" fmla="*/ 528156 w 12025612"/>
                  <a:gd name="connsiteY509" fmla="*/ 222980 h 222980"/>
                  <a:gd name="connsiteX510" fmla="*/ 475571 w 12025612"/>
                  <a:gd name="connsiteY510" fmla="*/ 195446 h 222980"/>
                  <a:gd name="connsiteX511" fmla="*/ 456688 w 12025612"/>
                  <a:gd name="connsiteY511" fmla="*/ 115854 h 222980"/>
                  <a:gd name="connsiteX512" fmla="*/ 476398 w 12025612"/>
                  <a:gd name="connsiteY512" fmla="*/ 29339 h 222980"/>
                  <a:gd name="connsiteX513" fmla="*/ 533272 w 12025612"/>
                  <a:gd name="connsiteY513" fmla="*/ 0 h 222980"/>
                  <a:gd name="connsiteX514" fmla="*/ 366110 w 12025612"/>
                  <a:gd name="connsiteY514" fmla="*/ 0 h 222980"/>
                  <a:gd name="connsiteX515" fmla="*/ 381016 w 12025612"/>
                  <a:gd name="connsiteY515" fmla="*/ 0 h 222980"/>
                  <a:gd name="connsiteX516" fmla="*/ 381016 w 12025612"/>
                  <a:gd name="connsiteY516" fmla="*/ 222980 h 222980"/>
                  <a:gd name="connsiteX517" fmla="*/ 345728 w 12025612"/>
                  <a:gd name="connsiteY517" fmla="*/ 222980 h 222980"/>
                  <a:gd name="connsiteX518" fmla="*/ 345728 w 12025612"/>
                  <a:gd name="connsiteY518" fmla="*/ 43197 h 222980"/>
                  <a:gd name="connsiteX519" fmla="*/ 325119 w 12025612"/>
                  <a:gd name="connsiteY519" fmla="*/ 54832 h 222980"/>
                  <a:gd name="connsiteX520" fmla="*/ 299946 w 12025612"/>
                  <a:gd name="connsiteY520" fmla="*/ 63274 h 222980"/>
                  <a:gd name="connsiteX521" fmla="*/ 299946 w 12025612"/>
                  <a:gd name="connsiteY521" fmla="*/ 33158 h 222980"/>
                  <a:gd name="connsiteX522" fmla="*/ 316981 w 12025612"/>
                  <a:gd name="connsiteY522" fmla="*/ 27074 h 222980"/>
                  <a:gd name="connsiteX523" fmla="*/ 333180 w 12025612"/>
                  <a:gd name="connsiteY523" fmla="*/ 19925 h 222980"/>
                  <a:gd name="connsiteX524" fmla="*/ 349303 w 12025612"/>
                  <a:gd name="connsiteY524" fmla="*/ 11103 h 222980"/>
                  <a:gd name="connsiteX525" fmla="*/ 366110 w 12025612"/>
                  <a:gd name="connsiteY525" fmla="*/ 0 h 222980"/>
                  <a:gd name="connsiteX526" fmla="*/ 66164 w 12025612"/>
                  <a:gd name="connsiteY526" fmla="*/ 0 h 222980"/>
                  <a:gd name="connsiteX527" fmla="*/ 81070 w 12025612"/>
                  <a:gd name="connsiteY527" fmla="*/ 0 h 222980"/>
                  <a:gd name="connsiteX528" fmla="*/ 81070 w 12025612"/>
                  <a:gd name="connsiteY528" fmla="*/ 222980 h 222980"/>
                  <a:gd name="connsiteX529" fmla="*/ 45782 w 12025612"/>
                  <a:gd name="connsiteY529" fmla="*/ 222980 h 222980"/>
                  <a:gd name="connsiteX530" fmla="*/ 45782 w 12025612"/>
                  <a:gd name="connsiteY530" fmla="*/ 43197 h 222980"/>
                  <a:gd name="connsiteX531" fmla="*/ 25173 w 12025612"/>
                  <a:gd name="connsiteY531" fmla="*/ 54832 h 222980"/>
                  <a:gd name="connsiteX532" fmla="*/ 0 w 12025612"/>
                  <a:gd name="connsiteY532" fmla="*/ 63274 h 222980"/>
                  <a:gd name="connsiteX533" fmla="*/ 0 w 12025612"/>
                  <a:gd name="connsiteY533" fmla="*/ 33158 h 222980"/>
                  <a:gd name="connsiteX534" fmla="*/ 17035 w 12025612"/>
                  <a:gd name="connsiteY534" fmla="*/ 27074 h 222980"/>
                  <a:gd name="connsiteX535" fmla="*/ 33234 w 12025612"/>
                  <a:gd name="connsiteY535" fmla="*/ 19925 h 222980"/>
                  <a:gd name="connsiteX536" fmla="*/ 49357 w 12025612"/>
                  <a:gd name="connsiteY536" fmla="*/ 11103 h 222980"/>
                  <a:gd name="connsiteX537" fmla="*/ 66164 w 12025612"/>
                  <a:gd name="connsiteY537"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Lst>
                <a:rect l="l" t="t" r="r" b="b"/>
                <a:pathLst>
                  <a:path w="12025612" h="222980">
                    <a:moveTo>
                      <a:pt x="9106010" y="27835"/>
                    </a:moveTo>
                    <a:cubicBezTo>
                      <a:pt x="9079830" y="27835"/>
                      <a:pt x="9066740" y="56673"/>
                      <a:pt x="9066740" y="114349"/>
                    </a:cubicBezTo>
                    <a:cubicBezTo>
                      <a:pt x="9066740" y="168313"/>
                      <a:pt x="9079579" y="195296"/>
                      <a:pt x="9105258" y="195296"/>
                    </a:cubicBezTo>
                    <a:cubicBezTo>
                      <a:pt x="9130534" y="195296"/>
                      <a:pt x="9143173" y="167862"/>
                      <a:pt x="9143173" y="112995"/>
                    </a:cubicBezTo>
                    <a:cubicBezTo>
                      <a:pt x="9143173" y="56221"/>
                      <a:pt x="9130785" y="27835"/>
                      <a:pt x="9106010" y="27835"/>
                    </a:cubicBezTo>
                    <a:close/>
                    <a:moveTo>
                      <a:pt x="8764253" y="27835"/>
                    </a:moveTo>
                    <a:cubicBezTo>
                      <a:pt x="8738073" y="27835"/>
                      <a:pt x="8724983" y="56673"/>
                      <a:pt x="8724983" y="114349"/>
                    </a:cubicBezTo>
                    <a:cubicBezTo>
                      <a:pt x="8724983" y="168313"/>
                      <a:pt x="8737822" y="195296"/>
                      <a:pt x="8763501" y="195296"/>
                    </a:cubicBezTo>
                    <a:cubicBezTo>
                      <a:pt x="8788777" y="195296"/>
                      <a:pt x="8801416" y="167862"/>
                      <a:pt x="8801416" y="112995"/>
                    </a:cubicBezTo>
                    <a:cubicBezTo>
                      <a:pt x="8801416" y="56221"/>
                      <a:pt x="8789028" y="27835"/>
                      <a:pt x="8764253" y="27835"/>
                    </a:cubicBezTo>
                    <a:close/>
                    <a:moveTo>
                      <a:pt x="8062851" y="27835"/>
                    </a:moveTo>
                    <a:cubicBezTo>
                      <a:pt x="8036671" y="27835"/>
                      <a:pt x="8023581" y="56673"/>
                      <a:pt x="8023581" y="114349"/>
                    </a:cubicBezTo>
                    <a:cubicBezTo>
                      <a:pt x="8023581" y="168313"/>
                      <a:pt x="8036420" y="195296"/>
                      <a:pt x="8062099" y="195296"/>
                    </a:cubicBezTo>
                    <a:cubicBezTo>
                      <a:pt x="8087376" y="195296"/>
                      <a:pt x="8100014" y="167862"/>
                      <a:pt x="8100014" y="112995"/>
                    </a:cubicBezTo>
                    <a:cubicBezTo>
                      <a:pt x="8100014" y="56221"/>
                      <a:pt x="8087626" y="27835"/>
                      <a:pt x="8062851" y="27835"/>
                    </a:cubicBezTo>
                    <a:close/>
                    <a:moveTo>
                      <a:pt x="6804362" y="27835"/>
                    </a:moveTo>
                    <a:cubicBezTo>
                      <a:pt x="6778182" y="27835"/>
                      <a:pt x="6765092" y="56673"/>
                      <a:pt x="6765092" y="114349"/>
                    </a:cubicBezTo>
                    <a:cubicBezTo>
                      <a:pt x="6765092" y="168313"/>
                      <a:pt x="6777931" y="195296"/>
                      <a:pt x="6803610" y="195296"/>
                    </a:cubicBezTo>
                    <a:cubicBezTo>
                      <a:pt x="6828887" y="195296"/>
                      <a:pt x="6841525" y="167862"/>
                      <a:pt x="6841525" y="112995"/>
                    </a:cubicBezTo>
                    <a:cubicBezTo>
                      <a:pt x="6841525" y="56221"/>
                      <a:pt x="6829137" y="27835"/>
                      <a:pt x="6804362" y="27835"/>
                    </a:cubicBezTo>
                    <a:close/>
                    <a:moveTo>
                      <a:pt x="6591268" y="27835"/>
                    </a:moveTo>
                    <a:cubicBezTo>
                      <a:pt x="6565088" y="27835"/>
                      <a:pt x="6551998" y="56673"/>
                      <a:pt x="6551998" y="114349"/>
                    </a:cubicBezTo>
                    <a:cubicBezTo>
                      <a:pt x="6551998" y="168313"/>
                      <a:pt x="6564837" y="195296"/>
                      <a:pt x="6590516" y="195296"/>
                    </a:cubicBezTo>
                    <a:cubicBezTo>
                      <a:pt x="6615793" y="195296"/>
                      <a:pt x="6628431" y="167862"/>
                      <a:pt x="6628431" y="112995"/>
                    </a:cubicBezTo>
                    <a:cubicBezTo>
                      <a:pt x="6628431" y="56221"/>
                      <a:pt x="6616043" y="27835"/>
                      <a:pt x="6591268" y="27835"/>
                    </a:cubicBezTo>
                    <a:close/>
                    <a:moveTo>
                      <a:pt x="3045592" y="27835"/>
                    </a:moveTo>
                    <a:cubicBezTo>
                      <a:pt x="3019412" y="27835"/>
                      <a:pt x="3006322" y="56673"/>
                      <a:pt x="3006322" y="114349"/>
                    </a:cubicBezTo>
                    <a:cubicBezTo>
                      <a:pt x="3006322" y="168313"/>
                      <a:pt x="3019161" y="195296"/>
                      <a:pt x="3044840" y="195296"/>
                    </a:cubicBezTo>
                    <a:cubicBezTo>
                      <a:pt x="3070117" y="195296"/>
                      <a:pt x="3082755" y="167862"/>
                      <a:pt x="3082755" y="112995"/>
                    </a:cubicBezTo>
                    <a:cubicBezTo>
                      <a:pt x="3082755" y="56221"/>
                      <a:pt x="3070367" y="27835"/>
                      <a:pt x="3045592" y="27835"/>
                    </a:cubicBezTo>
                    <a:close/>
                    <a:moveTo>
                      <a:pt x="2698789" y="27835"/>
                    </a:moveTo>
                    <a:cubicBezTo>
                      <a:pt x="2672609" y="27835"/>
                      <a:pt x="2659519" y="56673"/>
                      <a:pt x="2659519" y="114349"/>
                    </a:cubicBezTo>
                    <a:cubicBezTo>
                      <a:pt x="2659519" y="168313"/>
                      <a:pt x="2672358" y="195296"/>
                      <a:pt x="2698037" y="195296"/>
                    </a:cubicBezTo>
                    <a:cubicBezTo>
                      <a:pt x="2723314" y="195296"/>
                      <a:pt x="2735952" y="167862"/>
                      <a:pt x="2735952" y="112995"/>
                    </a:cubicBezTo>
                    <a:cubicBezTo>
                      <a:pt x="2735952" y="56221"/>
                      <a:pt x="2723564" y="27835"/>
                      <a:pt x="2698789" y="27835"/>
                    </a:cubicBezTo>
                    <a:close/>
                    <a:moveTo>
                      <a:pt x="2007424" y="27835"/>
                    </a:moveTo>
                    <a:cubicBezTo>
                      <a:pt x="1981244" y="27835"/>
                      <a:pt x="1968154" y="56673"/>
                      <a:pt x="1968154" y="114349"/>
                    </a:cubicBezTo>
                    <a:cubicBezTo>
                      <a:pt x="1968154" y="168313"/>
                      <a:pt x="1980993" y="195296"/>
                      <a:pt x="2006672" y="195296"/>
                    </a:cubicBezTo>
                    <a:cubicBezTo>
                      <a:pt x="2031949" y="195296"/>
                      <a:pt x="2044587" y="167862"/>
                      <a:pt x="2044587" y="112995"/>
                    </a:cubicBezTo>
                    <a:cubicBezTo>
                      <a:pt x="2044587" y="56221"/>
                      <a:pt x="2032199" y="27835"/>
                      <a:pt x="2007424" y="27835"/>
                    </a:cubicBezTo>
                    <a:close/>
                    <a:moveTo>
                      <a:pt x="752217" y="27835"/>
                    </a:moveTo>
                    <a:cubicBezTo>
                      <a:pt x="726037" y="27835"/>
                      <a:pt x="712947" y="56673"/>
                      <a:pt x="712947" y="114349"/>
                    </a:cubicBezTo>
                    <a:cubicBezTo>
                      <a:pt x="712947" y="168313"/>
                      <a:pt x="725786" y="195296"/>
                      <a:pt x="751465" y="195296"/>
                    </a:cubicBezTo>
                    <a:cubicBezTo>
                      <a:pt x="776742" y="195296"/>
                      <a:pt x="789380" y="167862"/>
                      <a:pt x="789380" y="112995"/>
                    </a:cubicBezTo>
                    <a:cubicBezTo>
                      <a:pt x="789380" y="56221"/>
                      <a:pt x="776992" y="27835"/>
                      <a:pt x="752217" y="27835"/>
                    </a:cubicBezTo>
                    <a:close/>
                    <a:moveTo>
                      <a:pt x="531617" y="27835"/>
                    </a:moveTo>
                    <a:cubicBezTo>
                      <a:pt x="505437" y="27835"/>
                      <a:pt x="492347" y="56673"/>
                      <a:pt x="492347" y="114349"/>
                    </a:cubicBezTo>
                    <a:cubicBezTo>
                      <a:pt x="492347" y="168313"/>
                      <a:pt x="505186" y="195296"/>
                      <a:pt x="530865" y="195296"/>
                    </a:cubicBezTo>
                    <a:cubicBezTo>
                      <a:pt x="556142" y="195296"/>
                      <a:pt x="568780" y="167862"/>
                      <a:pt x="568780" y="112995"/>
                    </a:cubicBezTo>
                    <a:cubicBezTo>
                      <a:pt x="568780" y="56221"/>
                      <a:pt x="556392" y="27835"/>
                      <a:pt x="531617" y="27835"/>
                    </a:cubicBezTo>
                    <a:close/>
                    <a:moveTo>
                      <a:pt x="12010706" y="0"/>
                    </a:moveTo>
                    <a:lnTo>
                      <a:pt x="12025612" y="0"/>
                    </a:lnTo>
                    <a:lnTo>
                      <a:pt x="12025612" y="222980"/>
                    </a:lnTo>
                    <a:lnTo>
                      <a:pt x="11990324" y="222980"/>
                    </a:lnTo>
                    <a:lnTo>
                      <a:pt x="11990324" y="43197"/>
                    </a:lnTo>
                    <a:cubicBezTo>
                      <a:pt x="11983936" y="47760"/>
                      <a:pt x="11977066" y="51638"/>
                      <a:pt x="11969715" y="54832"/>
                    </a:cubicBezTo>
                    <a:cubicBezTo>
                      <a:pt x="11962363" y="58027"/>
                      <a:pt x="11953972" y="60840"/>
                      <a:pt x="11944542" y="63274"/>
                    </a:cubicBezTo>
                    <a:lnTo>
                      <a:pt x="11944542" y="33158"/>
                    </a:lnTo>
                    <a:cubicBezTo>
                      <a:pt x="11950423" y="31232"/>
                      <a:pt x="11956102" y="29203"/>
                      <a:pt x="11961577" y="27074"/>
                    </a:cubicBezTo>
                    <a:cubicBezTo>
                      <a:pt x="11967053" y="24945"/>
                      <a:pt x="11972453" y="22562"/>
                      <a:pt x="11977776" y="19925"/>
                    </a:cubicBezTo>
                    <a:cubicBezTo>
                      <a:pt x="11983100" y="17289"/>
                      <a:pt x="11988474" y="14348"/>
                      <a:pt x="11993899" y="11103"/>
                    </a:cubicBezTo>
                    <a:cubicBezTo>
                      <a:pt x="11999324" y="7859"/>
                      <a:pt x="12004926" y="4157"/>
                      <a:pt x="12010706" y="0"/>
                    </a:cubicBezTo>
                    <a:close/>
                    <a:moveTo>
                      <a:pt x="11638141" y="0"/>
                    </a:moveTo>
                    <a:lnTo>
                      <a:pt x="11653047" y="0"/>
                    </a:lnTo>
                    <a:lnTo>
                      <a:pt x="11653047" y="222980"/>
                    </a:lnTo>
                    <a:lnTo>
                      <a:pt x="11617759" y="222980"/>
                    </a:lnTo>
                    <a:lnTo>
                      <a:pt x="11617759" y="43197"/>
                    </a:lnTo>
                    <a:cubicBezTo>
                      <a:pt x="11611371" y="47760"/>
                      <a:pt x="11604501" y="51638"/>
                      <a:pt x="11597150" y="54832"/>
                    </a:cubicBezTo>
                    <a:cubicBezTo>
                      <a:pt x="11589798" y="58027"/>
                      <a:pt x="11581407" y="60840"/>
                      <a:pt x="11571977" y="63274"/>
                    </a:cubicBezTo>
                    <a:lnTo>
                      <a:pt x="11571977" y="33158"/>
                    </a:lnTo>
                    <a:cubicBezTo>
                      <a:pt x="11577858" y="31232"/>
                      <a:pt x="11583537" y="29203"/>
                      <a:pt x="11589012" y="27074"/>
                    </a:cubicBezTo>
                    <a:cubicBezTo>
                      <a:pt x="11594488" y="24945"/>
                      <a:pt x="11599888" y="22562"/>
                      <a:pt x="11605211" y="19925"/>
                    </a:cubicBezTo>
                    <a:cubicBezTo>
                      <a:pt x="11610535" y="17289"/>
                      <a:pt x="11615909" y="14348"/>
                      <a:pt x="11621334" y="11103"/>
                    </a:cubicBezTo>
                    <a:cubicBezTo>
                      <a:pt x="11626759" y="7859"/>
                      <a:pt x="11632361" y="4157"/>
                      <a:pt x="11638141" y="0"/>
                    </a:cubicBezTo>
                    <a:close/>
                    <a:moveTo>
                      <a:pt x="11488168" y="0"/>
                    </a:moveTo>
                    <a:lnTo>
                      <a:pt x="11503074" y="0"/>
                    </a:lnTo>
                    <a:lnTo>
                      <a:pt x="11503074" y="222980"/>
                    </a:lnTo>
                    <a:lnTo>
                      <a:pt x="11467786" y="222980"/>
                    </a:lnTo>
                    <a:lnTo>
                      <a:pt x="11467786" y="43197"/>
                    </a:lnTo>
                    <a:cubicBezTo>
                      <a:pt x="11461398" y="47760"/>
                      <a:pt x="11454528" y="51638"/>
                      <a:pt x="11447177" y="54832"/>
                    </a:cubicBezTo>
                    <a:cubicBezTo>
                      <a:pt x="11439825" y="58027"/>
                      <a:pt x="11431434" y="60840"/>
                      <a:pt x="11422004" y="63274"/>
                    </a:cubicBezTo>
                    <a:lnTo>
                      <a:pt x="11422004" y="33158"/>
                    </a:lnTo>
                    <a:cubicBezTo>
                      <a:pt x="11427885" y="31232"/>
                      <a:pt x="11433564" y="29203"/>
                      <a:pt x="11439039" y="27074"/>
                    </a:cubicBezTo>
                    <a:cubicBezTo>
                      <a:pt x="11444515" y="24945"/>
                      <a:pt x="11449915" y="22562"/>
                      <a:pt x="11455238" y="19925"/>
                    </a:cubicBezTo>
                    <a:cubicBezTo>
                      <a:pt x="11460562" y="17289"/>
                      <a:pt x="11465936" y="14348"/>
                      <a:pt x="11471361" y="11103"/>
                    </a:cubicBezTo>
                    <a:cubicBezTo>
                      <a:pt x="11476786" y="7859"/>
                      <a:pt x="11482388" y="4157"/>
                      <a:pt x="11488168" y="0"/>
                    </a:cubicBezTo>
                    <a:close/>
                    <a:moveTo>
                      <a:pt x="11338195" y="0"/>
                    </a:moveTo>
                    <a:lnTo>
                      <a:pt x="11353101" y="0"/>
                    </a:lnTo>
                    <a:lnTo>
                      <a:pt x="11353101" y="222980"/>
                    </a:lnTo>
                    <a:lnTo>
                      <a:pt x="11317813" y="222980"/>
                    </a:lnTo>
                    <a:lnTo>
                      <a:pt x="11317813" y="43197"/>
                    </a:lnTo>
                    <a:cubicBezTo>
                      <a:pt x="11311425" y="47760"/>
                      <a:pt x="11304555" y="51638"/>
                      <a:pt x="11297204" y="54832"/>
                    </a:cubicBezTo>
                    <a:cubicBezTo>
                      <a:pt x="11289852" y="58027"/>
                      <a:pt x="11281461" y="60840"/>
                      <a:pt x="11272031" y="63274"/>
                    </a:cubicBezTo>
                    <a:lnTo>
                      <a:pt x="11272031" y="33158"/>
                    </a:lnTo>
                    <a:cubicBezTo>
                      <a:pt x="11277912" y="31232"/>
                      <a:pt x="11283591" y="29203"/>
                      <a:pt x="11289066" y="27074"/>
                    </a:cubicBezTo>
                    <a:cubicBezTo>
                      <a:pt x="11294542" y="24945"/>
                      <a:pt x="11299942" y="22562"/>
                      <a:pt x="11305265" y="19925"/>
                    </a:cubicBezTo>
                    <a:cubicBezTo>
                      <a:pt x="11310589" y="17289"/>
                      <a:pt x="11315963" y="14348"/>
                      <a:pt x="11321388" y="11103"/>
                    </a:cubicBezTo>
                    <a:cubicBezTo>
                      <a:pt x="11326813" y="7859"/>
                      <a:pt x="11332415" y="4157"/>
                      <a:pt x="11338195" y="0"/>
                    </a:cubicBezTo>
                    <a:close/>
                    <a:moveTo>
                      <a:pt x="10595237" y="0"/>
                    </a:moveTo>
                    <a:lnTo>
                      <a:pt x="10610143" y="0"/>
                    </a:lnTo>
                    <a:lnTo>
                      <a:pt x="10610143" y="222980"/>
                    </a:lnTo>
                    <a:lnTo>
                      <a:pt x="10574855" y="222980"/>
                    </a:lnTo>
                    <a:lnTo>
                      <a:pt x="10574855" y="43197"/>
                    </a:lnTo>
                    <a:cubicBezTo>
                      <a:pt x="10568467" y="47760"/>
                      <a:pt x="10561597" y="51638"/>
                      <a:pt x="10554246" y="54832"/>
                    </a:cubicBezTo>
                    <a:cubicBezTo>
                      <a:pt x="10546894" y="58027"/>
                      <a:pt x="10538503" y="60840"/>
                      <a:pt x="10529073" y="63274"/>
                    </a:cubicBezTo>
                    <a:lnTo>
                      <a:pt x="10529073" y="33158"/>
                    </a:lnTo>
                    <a:cubicBezTo>
                      <a:pt x="10534954" y="31232"/>
                      <a:pt x="10540633" y="29203"/>
                      <a:pt x="10546108" y="27074"/>
                    </a:cubicBezTo>
                    <a:cubicBezTo>
                      <a:pt x="10551584" y="24945"/>
                      <a:pt x="10556984" y="22562"/>
                      <a:pt x="10562307" y="19925"/>
                    </a:cubicBezTo>
                    <a:cubicBezTo>
                      <a:pt x="10567631" y="17289"/>
                      <a:pt x="10573005" y="14348"/>
                      <a:pt x="10578430" y="11103"/>
                    </a:cubicBezTo>
                    <a:cubicBezTo>
                      <a:pt x="10583855" y="7859"/>
                      <a:pt x="10589457" y="4157"/>
                      <a:pt x="10595237" y="0"/>
                    </a:cubicBezTo>
                    <a:close/>
                    <a:moveTo>
                      <a:pt x="10444108" y="0"/>
                    </a:moveTo>
                    <a:lnTo>
                      <a:pt x="10459014" y="0"/>
                    </a:lnTo>
                    <a:lnTo>
                      <a:pt x="10459014" y="222980"/>
                    </a:lnTo>
                    <a:lnTo>
                      <a:pt x="10423726" y="222980"/>
                    </a:lnTo>
                    <a:lnTo>
                      <a:pt x="10423726" y="43197"/>
                    </a:lnTo>
                    <a:cubicBezTo>
                      <a:pt x="10417338" y="47760"/>
                      <a:pt x="10410468" y="51638"/>
                      <a:pt x="10403117" y="54832"/>
                    </a:cubicBezTo>
                    <a:cubicBezTo>
                      <a:pt x="10395765" y="58027"/>
                      <a:pt x="10387374" y="60840"/>
                      <a:pt x="10377944" y="63274"/>
                    </a:cubicBezTo>
                    <a:lnTo>
                      <a:pt x="10377944" y="33158"/>
                    </a:lnTo>
                    <a:cubicBezTo>
                      <a:pt x="10383825" y="31232"/>
                      <a:pt x="10389504" y="29203"/>
                      <a:pt x="10394979" y="27074"/>
                    </a:cubicBezTo>
                    <a:cubicBezTo>
                      <a:pt x="10400455" y="24945"/>
                      <a:pt x="10405855" y="22562"/>
                      <a:pt x="10411178" y="19925"/>
                    </a:cubicBezTo>
                    <a:cubicBezTo>
                      <a:pt x="10416502" y="17289"/>
                      <a:pt x="10421876" y="14348"/>
                      <a:pt x="10427301" y="11103"/>
                    </a:cubicBezTo>
                    <a:cubicBezTo>
                      <a:pt x="10432726" y="7859"/>
                      <a:pt x="10438328" y="4157"/>
                      <a:pt x="10444108" y="0"/>
                    </a:cubicBezTo>
                    <a:close/>
                    <a:moveTo>
                      <a:pt x="10144161" y="0"/>
                    </a:moveTo>
                    <a:lnTo>
                      <a:pt x="10159067" y="0"/>
                    </a:lnTo>
                    <a:lnTo>
                      <a:pt x="10159067" y="222980"/>
                    </a:lnTo>
                    <a:lnTo>
                      <a:pt x="10123779" y="222980"/>
                    </a:lnTo>
                    <a:lnTo>
                      <a:pt x="10123779" y="43197"/>
                    </a:lnTo>
                    <a:cubicBezTo>
                      <a:pt x="10117391" y="47760"/>
                      <a:pt x="10110521" y="51638"/>
                      <a:pt x="10103170" y="54832"/>
                    </a:cubicBezTo>
                    <a:cubicBezTo>
                      <a:pt x="10095818" y="58027"/>
                      <a:pt x="10087427" y="60840"/>
                      <a:pt x="10077997" y="63274"/>
                    </a:cubicBezTo>
                    <a:lnTo>
                      <a:pt x="10077997" y="33158"/>
                    </a:lnTo>
                    <a:cubicBezTo>
                      <a:pt x="10083878" y="31232"/>
                      <a:pt x="10089557" y="29203"/>
                      <a:pt x="10095032" y="27074"/>
                    </a:cubicBezTo>
                    <a:cubicBezTo>
                      <a:pt x="10100508" y="24945"/>
                      <a:pt x="10105908" y="22562"/>
                      <a:pt x="10111231" y="19925"/>
                    </a:cubicBezTo>
                    <a:cubicBezTo>
                      <a:pt x="10116555" y="17289"/>
                      <a:pt x="10121929" y="14348"/>
                      <a:pt x="10127354" y="11103"/>
                    </a:cubicBezTo>
                    <a:cubicBezTo>
                      <a:pt x="10132779" y="7859"/>
                      <a:pt x="10138381" y="4157"/>
                      <a:pt x="10144161" y="0"/>
                    </a:cubicBezTo>
                    <a:close/>
                    <a:moveTo>
                      <a:pt x="9759133" y="0"/>
                    </a:moveTo>
                    <a:lnTo>
                      <a:pt x="9774039" y="0"/>
                    </a:lnTo>
                    <a:lnTo>
                      <a:pt x="9774039" y="222980"/>
                    </a:lnTo>
                    <a:lnTo>
                      <a:pt x="9738751" y="222980"/>
                    </a:lnTo>
                    <a:lnTo>
                      <a:pt x="9738751" y="43197"/>
                    </a:lnTo>
                    <a:cubicBezTo>
                      <a:pt x="9732363" y="47760"/>
                      <a:pt x="9725493" y="51638"/>
                      <a:pt x="9718142" y="54832"/>
                    </a:cubicBezTo>
                    <a:cubicBezTo>
                      <a:pt x="9710790" y="58027"/>
                      <a:pt x="9702399" y="60840"/>
                      <a:pt x="9692969" y="63274"/>
                    </a:cubicBezTo>
                    <a:lnTo>
                      <a:pt x="9692969" y="33158"/>
                    </a:lnTo>
                    <a:cubicBezTo>
                      <a:pt x="9698850" y="31232"/>
                      <a:pt x="9704529" y="29203"/>
                      <a:pt x="9710004" y="27074"/>
                    </a:cubicBezTo>
                    <a:cubicBezTo>
                      <a:pt x="9715480" y="24945"/>
                      <a:pt x="9720880" y="22562"/>
                      <a:pt x="9726203" y="19925"/>
                    </a:cubicBezTo>
                    <a:cubicBezTo>
                      <a:pt x="9731527" y="17289"/>
                      <a:pt x="9736901" y="14348"/>
                      <a:pt x="9742326" y="11103"/>
                    </a:cubicBezTo>
                    <a:cubicBezTo>
                      <a:pt x="9747751" y="7859"/>
                      <a:pt x="9753353" y="4157"/>
                      <a:pt x="9759133" y="0"/>
                    </a:cubicBezTo>
                    <a:close/>
                    <a:moveTo>
                      <a:pt x="9608004" y="0"/>
                    </a:moveTo>
                    <a:lnTo>
                      <a:pt x="9622910" y="0"/>
                    </a:lnTo>
                    <a:lnTo>
                      <a:pt x="9622910" y="222980"/>
                    </a:lnTo>
                    <a:lnTo>
                      <a:pt x="9587622" y="222980"/>
                    </a:lnTo>
                    <a:lnTo>
                      <a:pt x="9587622" y="43197"/>
                    </a:lnTo>
                    <a:cubicBezTo>
                      <a:pt x="9581234" y="47760"/>
                      <a:pt x="9574364" y="51638"/>
                      <a:pt x="9567013" y="54832"/>
                    </a:cubicBezTo>
                    <a:cubicBezTo>
                      <a:pt x="9559661" y="58027"/>
                      <a:pt x="9551270" y="60840"/>
                      <a:pt x="9541840" y="63274"/>
                    </a:cubicBezTo>
                    <a:lnTo>
                      <a:pt x="9541840" y="33158"/>
                    </a:lnTo>
                    <a:cubicBezTo>
                      <a:pt x="9547721" y="31232"/>
                      <a:pt x="9553400" y="29203"/>
                      <a:pt x="9558875" y="27074"/>
                    </a:cubicBezTo>
                    <a:cubicBezTo>
                      <a:pt x="9564351" y="24945"/>
                      <a:pt x="9569751" y="22562"/>
                      <a:pt x="9575074" y="19925"/>
                    </a:cubicBezTo>
                    <a:cubicBezTo>
                      <a:pt x="9580398" y="17289"/>
                      <a:pt x="9585772" y="14348"/>
                      <a:pt x="9591197" y="11103"/>
                    </a:cubicBezTo>
                    <a:cubicBezTo>
                      <a:pt x="9596622" y="7859"/>
                      <a:pt x="9602224" y="4157"/>
                      <a:pt x="9608004" y="0"/>
                    </a:cubicBezTo>
                    <a:close/>
                    <a:moveTo>
                      <a:pt x="9458031" y="0"/>
                    </a:moveTo>
                    <a:lnTo>
                      <a:pt x="9472937" y="0"/>
                    </a:lnTo>
                    <a:lnTo>
                      <a:pt x="9472937" y="222980"/>
                    </a:lnTo>
                    <a:lnTo>
                      <a:pt x="9437649" y="222980"/>
                    </a:lnTo>
                    <a:lnTo>
                      <a:pt x="9437649" y="43197"/>
                    </a:lnTo>
                    <a:cubicBezTo>
                      <a:pt x="9431261" y="47760"/>
                      <a:pt x="9424391" y="51638"/>
                      <a:pt x="9417040" y="54832"/>
                    </a:cubicBezTo>
                    <a:cubicBezTo>
                      <a:pt x="9409688" y="58027"/>
                      <a:pt x="9401297" y="60840"/>
                      <a:pt x="9391867" y="63274"/>
                    </a:cubicBezTo>
                    <a:lnTo>
                      <a:pt x="9391867" y="33158"/>
                    </a:lnTo>
                    <a:cubicBezTo>
                      <a:pt x="9397748" y="31232"/>
                      <a:pt x="9403427" y="29203"/>
                      <a:pt x="9408902" y="27074"/>
                    </a:cubicBezTo>
                    <a:cubicBezTo>
                      <a:pt x="9414378" y="24945"/>
                      <a:pt x="9419778" y="22562"/>
                      <a:pt x="9425101" y="19925"/>
                    </a:cubicBezTo>
                    <a:cubicBezTo>
                      <a:pt x="9430425" y="17289"/>
                      <a:pt x="9435799" y="14348"/>
                      <a:pt x="9441224" y="11103"/>
                    </a:cubicBezTo>
                    <a:cubicBezTo>
                      <a:pt x="9446649" y="7859"/>
                      <a:pt x="9452251" y="4157"/>
                      <a:pt x="9458031" y="0"/>
                    </a:cubicBezTo>
                    <a:close/>
                    <a:moveTo>
                      <a:pt x="9308058" y="0"/>
                    </a:moveTo>
                    <a:lnTo>
                      <a:pt x="9322964" y="0"/>
                    </a:lnTo>
                    <a:lnTo>
                      <a:pt x="9322964" y="222980"/>
                    </a:lnTo>
                    <a:lnTo>
                      <a:pt x="9287676" y="222980"/>
                    </a:lnTo>
                    <a:lnTo>
                      <a:pt x="9287676" y="43197"/>
                    </a:lnTo>
                    <a:cubicBezTo>
                      <a:pt x="9281288" y="47760"/>
                      <a:pt x="9274418" y="51638"/>
                      <a:pt x="9267067" y="54832"/>
                    </a:cubicBezTo>
                    <a:cubicBezTo>
                      <a:pt x="9259715" y="58027"/>
                      <a:pt x="9251324" y="60840"/>
                      <a:pt x="9241894" y="63274"/>
                    </a:cubicBezTo>
                    <a:lnTo>
                      <a:pt x="9241894" y="33158"/>
                    </a:lnTo>
                    <a:cubicBezTo>
                      <a:pt x="9247775" y="31232"/>
                      <a:pt x="9253454" y="29203"/>
                      <a:pt x="9258929" y="27074"/>
                    </a:cubicBezTo>
                    <a:cubicBezTo>
                      <a:pt x="9264405" y="24945"/>
                      <a:pt x="9269805" y="22562"/>
                      <a:pt x="9275128" y="19925"/>
                    </a:cubicBezTo>
                    <a:cubicBezTo>
                      <a:pt x="9280452" y="17289"/>
                      <a:pt x="9285826" y="14348"/>
                      <a:pt x="9291251" y="11103"/>
                    </a:cubicBezTo>
                    <a:cubicBezTo>
                      <a:pt x="9296676" y="7859"/>
                      <a:pt x="9302278" y="4157"/>
                      <a:pt x="9308058" y="0"/>
                    </a:cubicBezTo>
                    <a:close/>
                    <a:moveTo>
                      <a:pt x="9107665" y="0"/>
                    </a:moveTo>
                    <a:cubicBezTo>
                      <a:pt x="9155109" y="0"/>
                      <a:pt x="9178832" y="36863"/>
                      <a:pt x="9178832" y="110588"/>
                    </a:cubicBezTo>
                    <a:cubicBezTo>
                      <a:pt x="9178832" y="147099"/>
                      <a:pt x="9172136" y="174959"/>
                      <a:pt x="9158746" y="194167"/>
                    </a:cubicBezTo>
                    <a:cubicBezTo>
                      <a:pt x="9145355" y="213375"/>
                      <a:pt x="9126623" y="222980"/>
                      <a:pt x="9102549" y="222980"/>
                    </a:cubicBezTo>
                    <a:cubicBezTo>
                      <a:pt x="9080081" y="222980"/>
                      <a:pt x="9062552" y="213802"/>
                      <a:pt x="9049964" y="195446"/>
                    </a:cubicBezTo>
                    <a:cubicBezTo>
                      <a:pt x="9037375" y="177090"/>
                      <a:pt x="9031081" y="150559"/>
                      <a:pt x="9031081" y="115854"/>
                    </a:cubicBezTo>
                    <a:cubicBezTo>
                      <a:pt x="9031081" y="77737"/>
                      <a:pt x="9037651" y="48899"/>
                      <a:pt x="9050791" y="29339"/>
                    </a:cubicBezTo>
                    <a:cubicBezTo>
                      <a:pt x="9063932" y="9780"/>
                      <a:pt x="9082889" y="0"/>
                      <a:pt x="9107665" y="0"/>
                    </a:cubicBezTo>
                    <a:close/>
                    <a:moveTo>
                      <a:pt x="8976589" y="0"/>
                    </a:moveTo>
                    <a:lnTo>
                      <a:pt x="8991495" y="0"/>
                    </a:lnTo>
                    <a:lnTo>
                      <a:pt x="8991495" y="222980"/>
                    </a:lnTo>
                    <a:lnTo>
                      <a:pt x="8956207" y="222980"/>
                    </a:lnTo>
                    <a:lnTo>
                      <a:pt x="8956207" y="43197"/>
                    </a:lnTo>
                    <a:cubicBezTo>
                      <a:pt x="8949819" y="47760"/>
                      <a:pt x="8942949" y="51638"/>
                      <a:pt x="8935598" y="54832"/>
                    </a:cubicBezTo>
                    <a:cubicBezTo>
                      <a:pt x="8928246" y="58027"/>
                      <a:pt x="8919855" y="60840"/>
                      <a:pt x="8910425" y="63274"/>
                    </a:cubicBezTo>
                    <a:lnTo>
                      <a:pt x="8910425" y="33158"/>
                    </a:lnTo>
                    <a:cubicBezTo>
                      <a:pt x="8916306" y="31232"/>
                      <a:pt x="8921985" y="29203"/>
                      <a:pt x="8927460" y="27074"/>
                    </a:cubicBezTo>
                    <a:cubicBezTo>
                      <a:pt x="8932936" y="24945"/>
                      <a:pt x="8938336" y="22562"/>
                      <a:pt x="8943659" y="19925"/>
                    </a:cubicBezTo>
                    <a:cubicBezTo>
                      <a:pt x="8948983" y="17289"/>
                      <a:pt x="8954357" y="14348"/>
                      <a:pt x="8959782" y="11103"/>
                    </a:cubicBezTo>
                    <a:cubicBezTo>
                      <a:pt x="8965207" y="7859"/>
                      <a:pt x="8970809" y="4157"/>
                      <a:pt x="8976589" y="0"/>
                    </a:cubicBezTo>
                    <a:close/>
                    <a:moveTo>
                      <a:pt x="8765908" y="0"/>
                    </a:moveTo>
                    <a:cubicBezTo>
                      <a:pt x="8813352" y="0"/>
                      <a:pt x="8837075" y="36863"/>
                      <a:pt x="8837075" y="110588"/>
                    </a:cubicBezTo>
                    <a:cubicBezTo>
                      <a:pt x="8837075" y="147099"/>
                      <a:pt x="8830379" y="174959"/>
                      <a:pt x="8816989" y="194167"/>
                    </a:cubicBezTo>
                    <a:cubicBezTo>
                      <a:pt x="8803598" y="213375"/>
                      <a:pt x="8784866" y="222980"/>
                      <a:pt x="8760792" y="222980"/>
                    </a:cubicBezTo>
                    <a:cubicBezTo>
                      <a:pt x="8738324" y="222980"/>
                      <a:pt x="8720795" y="213802"/>
                      <a:pt x="8708207" y="195446"/>
                    </a:cubicBezTo>
                    <a:cubicBezTo>
                      <a:pt x="8695618" y="177090"/>
                      <a:pt x="8689324" y="150559"/>
                      <a:pt x="8689324" y="115854"/>
                    </a:cubicBezTo>
                    <a:cubicBezTo>
                      <a:pt x="8689324" y="77737"/>
                      <a:pt x="8695894" y="48899"/>
                      <a:pt x="8709034" y="29339"/>
                    </a:cubicBezTo>
                    <a:cubicBezTo>
                      <a:pt x="8722175" y="9780"/>
                      <a:pt x="8741132" y="0"/>
                      <a:pt x="8765908" y="0"/>
                    </a:cubicBezTo>
                    <a:close/>
                    <a:moveTo>
                      <a:pt x="8064506" y="0"/>
                    </a:moveTo>
                    <a:cubicBezTo>
                      <a:pt x="8111951" y="0"/>
                      <a:pt x="8135673" y="36863"/>
                      <a:pt x="8135673" y="110588"/>
                    </a:cubicBezTo>
                    <a:cubicBezTo>
                      <a:pt x="8135673" y="147099"/>
                      <a:pt x="8128978" y="174959"/>
                      <a:pt x="8115587" y="194167"/>
                    </a:cubicBezTo>
                    <a:cubicBezTo>
                      <a:pt x="8102196" y="213375"/>
                      <a:pt x="8083464" y="222980"/>
                      <a:pt x="8059390" y="222980"/>
                    </a:cubicBezTo>
                    <a:cubicBezTo>
                      <a:pt x="8036922" y="222980"/>
                      <a:pt x="8019393" y="213802"/>
                      <a:pt x="8006805" y="195446"/>
                    </a:cubicBezTo>
                    <a:cubicBezTo>
                      <a:pt x="7994216" y="177090"/>
                      <a:pt x="7987922" y="150559"/>
                      <a:pt x="7987922" y="115854"/>
                    </a:cubicBezTo>
                    <a:cubicBezTo>
                      <a:pt x="7987922" y="77737"/>
                      <a:pt x="7994492" y="48899"/>
                      <a:pt x="8007632" y="29339"/>
                    </a:cubicBezTo>
                    <a:cubicBezTo>
                      <a:pt x="8020773" y="9780"/>
                      <a:pt x="8039730" y="0"/>
                      <a:pt x="8064506" y="0"/>
                    </a:cubicBezTo>
                    <a:close/>
                    <a:moveTo>
                      <a:pt x="7685345" y="0"/>
                    </a:moveTo>
                    <a:lnTo>
                      <a:pt x="7700251" y="0"/>
                    </a:lnTo>
                    <a:lnTo>
                      <a:pt x="7700251" y="222980"/>
                    </a:lnTo>
                    <a:lnTo>
                      <a:pt x="7664963" y="222980"/>
                    </a:lnTo>
                    <a:lnTo>
                      <a:pt x="7664963" y="43197"/>
                    </a:lnTo>
                    <a:cubicBezTo>
                      <a:pt x="7658575" y="47760"/>
                      <a:pt x="7651706" y="51638"/>
                      <a:pt x="7644354" y="54832"/>
                    </a:cubicBezTo>
                    <a:cubicBezTo>
                      <a:pt x="7637002" y="58027"/>
                      <a:pt x="7628612" y="60840"/>
                      <a:pt x="7619181" y="63274"/>
                    </a:cubicBezTo>
                    <a:lnTo>
                      <a:pt x="7619181" y="33158"/>
                    </a:lnTo>
                    <a:cubicBezTo>
                      <a:pt x="7625062" y="31232"/>
                      <a:pt x="7630741" y="29203"/>
                      <a:pt x="7636216" y="27074"/>
                    </a:cubicBezTo>
                    <a:cubicBezTo>
                      <a:pt x="7641692" y="24945"/>
                      <a:pt x="7647092" y="22562"/>
                      <a:pt x="7652415" y="19925"/>
                    </a:cubicBezTo>
                    <a:cubicBezTo>
                      <a:pt x="7657739" y="17289"/>
                      <a:pt x="7663113" y="14348"/>
                      <a:pt x="7668538" y="11103"/>
                    </a:cubicBezTo>
                    <a:cubicBezTo>
                      <a:pt x="7673963" y="7859"/>
                      <a:pt x="7679565" y="4157"/>
                      <a:pt x="7685345" y="0"/>
                    </a:cubicBezTo>
                    <a:close/>
                    <a:moveTo>
                      <a:pt x="7323403" y="0"/>
                    </a:moveTo>
                    <a:lnTo>
                      <a:pt x="7338309" y="0"/>
                    </a:lnTo>
                    <a:lnTo>
                      <a:pt x="7338309" y="222980"/>
                    </a:lnTo>
                    <a:lnTo>
                      <a:pt x="7303021" y="222980"/>
                    </a:lnTo>
                    <a:lnTo>
                      <a:pt x="7303021" y="43197"/>
                    </a:lnTo>
                    <a:cubicBezTo>
                      <a:pt x="7296633" y="47760"/>
                      <a:pt x="7289764" y="51638"/>
                      <a:pt x="7282412" y="54832"/>
                    </a:cubicBezTo>
                    <a:cubicBezTo>
                      <a:pt x="7275060" y="58027"/>
                      <a:pt x="7266670" y="60840"/>
                      <a:pt x="7257239" y="63274"/>
                    </a:cubicBezTo>
                    <a:lnTo>
                      <a:pt x="7257239" y="33158"/>
                    </a:lnTo>
                    <a:cubicBezTo>
                      <a:pt x="7263120" y="31232"/>
                      <a:pt x="7268799" y="29203"/>
                      <a:pt x="7274274" y="27074"/>
                    </a:cubicBezTo>
                    <a:cubicBezTo>
                      <a:pt x="7279750" y="24945"/>
                      <a:pt x="7285150" y="22562"/>
                      <a:pt x="7290473" y="19925"/>
                    </a:cubicBezTo>
                    <a:cubicBezTo>
                      <a:pt x="7295797" y="17289"/>
                      <a:pt x="7301171" y="14348"/>
                      <a:pt x="7306596" y="11103"/>
                    </a:cubicBezTo>
                    <a:cubicBezTo>
                      <a:pt x="7312021" y="7859"/>
                      <a:pt x="7317623" y="4157"/>
                      <a:pt x="7323403" y="0"/>
                    </a:cubicBezTo>
                    <a:close/>
                    <a:moveTo>
                      <a:pt x="7023457" y="0"/>
                    </a:moveTo>
                    <a:lnTo>
                      <a:pt x="7038363" y="0"/>
                    </a:lnTo>
                    <a:lnTo>
                      <a:pt x="7038363" y="222980"/>
                    </a:lnTo>
                    <a:lnTo>
                      <a:pt x="7003075" y="222980"/>
                    </a:lnTo>
                    <a:lnTo>
                      <a:pt x="7003075" y="43197"/>
                    </a:lnTo>
                    <a:cubicBezTo>
                      <a:pt x="6996687" y="47760"/>
                      <a:pt x="6989818" y="51638"/>
                      <a:pt x="6982466" y="54832"/>
                    </a:cubicBezTo>
                    <a:cubicBezTo>
                      <a:pt x="6975114" y="58027"/>
                      <a:pt x="6966724" y="60840"/>
                      <a:pt x="6957293" y="63274"/>
                    </a:cubicBezTo>
                    <a:lnTo>
                      <a:pt x="6957293" y="33158"/>
                    </a:lnTo>
                    <a:cubicBezTo>
                      <a:pt x="6963174" y="31232"/>
                      <a:pt x="6968853" y="29203"/>
                      <a:pt x="6974328" y="27074"/>
                    </a:cubicBezTo>
                    <a:cubicBezTo>
                      <a:pt x="6979804" y="24945"/>
                      <a:pt x="6985204" y="22562"/>
                      <a:pt x="6990527" y="19925"/>
                    </a:cubicBezTo>
                    <a:cubicBezTo>
                      <a:pt x="6995851" y="17289"/>
                      <a:pt x="7001225" y="14348"/>
                      <a:pt x="7006650" y="11103"/>
                    </a:cubicBezTo>
                    <a:cubicBezTo>
                      <a:pt x="7012075" y="7859"/>
                      <a:pt x="7017677" y="4157"/>
                      <a:pt x="7023457" y="0"/>
                    </a:cubicBezTo>
                    <a:close/>
                    <a:moveTo>
                      <a:pt x="6806017" y="0"/>
                    </a:moveTo>
                    <a:cubicBezTo>
                      <a:pt x="6853462" y="0"/>
                      <a:pt x="6877184" y="36863"/>
                      <a:pt x="6877184" y="110588"/>
                    </a:cubicBezTo>
                    <a:cubicBezTo>
                      <a:pt x="6877184" y="147099"/>
                      <a:pt x="6870489" y="174959"/>
                      <a:pt x="6857098" y="194167"/>
                    </a:cubicBezTo>
                    <a:cubicBezTo>
                      <a:pt x="6843707" y="213375"/>
                      <a:pt x="6824975" y="222980"/>
                      <a:pt x="6800901" y="222980"/>
                    </a:cubicBezTo>
                    <a:cubicBezTo>
                      <a:pt x="6778433" y="222980"/>
                      <a:pt x="6760904" y="213802"/>
                      <a:pt x="6748316" y="195446"/>
                    </a:cubicBezTo>
                    <a:cubicBezTo>
                      <a:pt x="6735727" y="177090"/>
                      <a:pt x="6729433" y="150559"/>
                      <a:pt x="6729433" y="115854"/>
                    </a:cubicBezTo>
                    <a:cubicBezTo>
                      <a:pt x="6729433" y="77737"/>
                      <a:pt x="6736003" y="48899"/>
                      <a:pt x="6749143" y="29339"/>
                    </a:cubicBezTo>
                    <a:cubicBezTo>
                      <a:pt x="6762284" y="9780"/>
                      <a:pt x="6781241" y="0"/>
                      <a:pt x="6806017" y="0"/>
                    </a:cubicBezTo>
                    <a:close/>
                    <a:moveTo>
                      <a:pt x="6592923" y="0"/>
                    </a:moveTo>
                    <a:cubicBezTo>
                      <a:pt x="6640368" y="0"/>
                      <a:pt x="6664090" y="36863"/>
                      <a:pt x="6664090" y="110588"/>
                    </a:cubicBezTo>
                    <a:cubicBezTo>
                      <a:pt x="6664090" y="147099"/>
                      <a:pt x="6657395" y="174959"/>
                      <a:pt x="6644004" y="194167"/>
                    </a:cubicBezTo>
                    <a:cubicBezTo>
                      <a:pt x="6630613" y="213375"/>
                      <a:pt x="6611881" y="222980"/>
                      <a:pt x="6587807" y="222980"/>
                    </a:cubicBezTo>
                    <a:cubicBezTo>
                      <a:pt x="6565339" y="222980"/>
                      <a:pt x="6547810" y="213802"/>
                      <a:pt x="6535222" y="195446"/>
                    </a:cubicBezTo>
                    <a:cubicBezTo>
                      <a:pt x="6522633" y="177090"/>
                      <a:pt x="6516339" y="150559"/>
                      <a:pt x="6516339" y="115854"/>
                    </a:cubicBezTo>
                    <a:cubicBezTo>
                      <a:pt x="6516339" y="77737"/>
                      <a:pt x="6522909" y="48899"/>
                      <a:pt x="6536049" y="29339"/>
                    </a:cubicBezTo>
                    <a:cubicBezTo>
                      <a:pt x="6549190" y="9780"/>
                      <a:pt x="6568147" y="0"/>
                      <a:pt x="6592923" y="0"/>
                    </a:cubicBezTo>
                    <a:close/>
                    <a:moveTo>
                      <a:pt x="6431374" y="0"/>
                    </a:moveTo>
                    <a:lnTo>
                      <a:pt x="6446280" y="0"/>
                    </a:lnTo>
                    <a:lnTo>
                      <a:pt x="6446280" y="222980"/>
                    </a:lnTo>
                    <a:lnTo>
                      <a:pt x="6410992" y="222980"/>
                    </a:lnTo>
                    <a:lnTo>
                      <a:pt x="6410992" y="43197"/>
                    </a:lnTo>
                    <a:cubicBezTo>
                      <a:pt x="6404604" y="47760"/>
                      <a:pt x="6397735" y="51638"/>
                      <a:pt x="6390383" y="54832"/>
                    </a:cubicBezTo>
                    <a:cubicBezTo>
                      <a:pt x="6383031" y="58027"/>
                      <a:pt x="6374641" y="60840"/>
                      <a:pt x="6365210" y="63274"/>
                    </a:cubicBezTo>
                    <a:lnTo>
                      <a:pt x="6365210" y="33158"/>
                    </a:lnTo>
                    <a:cubicBezTo>
                      <a:pt x="6371091" y="31232"/>
                      <a:pt x="6376770" y="29203"/>
                      <a:pt x="6382245" y="27074"/>
                    </a:cubicBezTo>
                    <a:cubicBezTo>
                      <a:pt x="6387721" y="24945"/>
                      <a:pt x="6393121" y="22562"/>
                      <a:pt x="6398444" y="19925"/>
                    </a:cubicBezTo>
                    <a:cubicBezTo>
                      <a:pt x="6403768" y="17289"/>
                      <a:pt x="6409142" y="14348"/>
                      <a:pt x="6414567" y="11103"/>
                    </a:cubicBezTo>
                    <a:cubicBezTo>
                      <a:pt x="6419992" y="7859"/>
                      <a:pt x="6425594" y="4157"/>
                      <a:pt x="6431374" y="0"/>
                    </a:cubicBezTo>
                    <a:close/>
                    <a:moveTo>
                      <a:pt x="6131428" y="0"/>
                    </a:moveTo>
                    <a:lnTo>
                      <a:pt x="6146334" y="0"/>
                    </a:lnTo>
                    <a:lnTo>
                      <a:pt x="6146334" y="222980"/>
                    </a:lnTo>
                    <a:lnTo>
                      <a:pt x="6111046" y="222980"/>
                    </a:lnTo>
                    <a:lnTo>
                      <a:pt x="6111046" y="43197"/>
                    </a:lnTo>
                    <a:cubicBezTo>
                      <a:pt x="6104658" y="47760"/>
                      <a:pt x="6097789" y="51638"/>
                      <a:pt x="6090437" y="54832"/>
                    </a:cubicBezTo>
                    <a:cubicBezTo>
                      <a:pt x="6083085" y="58027"/>
                      <a:pt x="6074695" y="60840"/>
                      <a:pt x="6065264" y="63274"/>
                    </a:cubicBezTo>
                    <a:lnTo>
                      <a:pt x="6065264" y="33158"/>
                    </a:lnTo>
                    <a:cubicBezTo>
                      <a:pt x="6071145" y="31232"/>
                      <a:pt x="6076824" y="29203"/>
                      <a:pt x="6082299" y="27074"/>
                    </a:cubicBezTo>
                    <a:cubicBezTo>
                      <a:pt x="6087775" y="24945"/>
                      <a:pt x="6093175" y="22562"/>
                      <a:pt x="6098498" y="19925"/>
                    </a:cubicBezTo>
                    <a:cubicBezTo>
                      <a:pt x="6103822" y="17289"/>
                      <a:pt x="6109196" y="14348"/>
                      <a:pt x="6114621" y="11103"/>
                    </a:cubicBezTo>
                    <a:cubicBezTo>
                      <a:pt x="6120046" y="7859"/>
                      <a:pt x="6125648" y="4157"/>
                      <a:pt x="6131428" y="0"/>
                    </a:cubicBezTo>
                    <a:close/>
                    <a:moveTo>
                      <a:pt x="5947899" y="0"/>
                    </a:moveTo>
                    <a:lnTo>
                      <a:pt x="5962805" y="0"/>
                    </a:lnTo>
                    <a:lnTo>
                      <a:pt x="5962805" y="222980"/>
                    </a:lnTo>
                    <a:lnTo>
                      <a:pt x="5927517" y="222980"/>
                    </a:lnTo>
                    <a:lnTo>
                      <a:pt x="5927517" y="43197"/>
                    </a:lnTo>
                    <a:cubicBezTo>
                      <a:pt x="5921129" y="47760"/>
                      <a:pt x="5914260" y="51638"/>
                      <a:pt x="5906908" y="54832"/>
                    </a:cubicBezTo>
                    <a:cubicBezTo>
                      <a:pt x="5899556" y="58027"/>
                      <a:pt x="5891166" y="60840"/>
                      <a:pt x="5881735" y="63274"/>
                    </a:cubicBezTo>
                    <a:lnTo>
                      <a:pt x="5881735" y="33158"/>
                    </a:lnTo>
                    <a:cubicBezTo>
                      <a:pt x="5887616" y="31232"/>
                      <a:pt x="5893295" y="29203"/>
                      <a:pt x="5898770" y="27074"/>
                    </a:cubicBezTo>
                    <a:cubicBezTo>
                      <a:pt x="5904246" y="24945"/>
                      <a:pt x="5909646" y="22562"/>
                      <a:pt x="5914969" y="19925"/>
                    </a:cubicBezTo>
                    <a:cubicBezTo>
                      <a:pt x="5920293" y="17289"/>
                      <a:pt x="5925667" y="14348"/>
                      <a:pt x="5931092" y="11103"/>
                    </a:cubicBezTo>
                    <a:cubicBezTo>
                      <a:pt x="5936517" y="7859"/>
                      <a:pt x="5942119" y="4157"/>
                      <a:pt x="5947899" y="0"/>
                    </a:cubicBezTo>
                    <a:close/>
                    <a:moveTo>
                      <a:pt x="5580237" y="0"/>
                    </a:moveTo>
                    <a:lnTo>
                      <a:pt x="5595143" y="0"/>
                    </a:lnTo>
                    <a:lnTo>
                      <a:pt x="5595143" y="222980"/>
                    </a:lnTo>
                    <a:lnTo>
                      <a:pt x="5559855" y="222980"/>
                    </a:lnTo>
                    <a:lnTo>
                      <a:pt x="5559855" y="43197"/>
                    </a:lnTo>
                    <a:cubicBezTo>
                      <a:pt x="5553467" y="47760"/>
                      <a:pt x="5546598" y="51638"/>
                      <a:pt x="5539246" y="54832"/>
                    </a:cubicBezTo>
                    <a:cubicBezTo>
                      <a:pt x="5531894" y="58027"/>
                      <a:pt x="5523504" y="60840"/>
                      <a:pt x="5514073" y="63274"/>
                    </a:cubicBezTo>
                    <a:lnTo>
                      <a:pt x="5514073" y="33158"/>
                    </a:lnTo>
                    <a:cubicBezTo>
                      <a:pt x="5519954" y="31232"/>
                      <a:pt x="5525633" y="29203"/>
                      <a:pt x="5531108" y="27074"/>
                    </a:cubicBezTo>
                    <a:cubicBezTo>
                      <a:pt x="5536584" y="24945"/>
                      <a:pt x="5541984" y="22562"/>
                      <a:pt x="5547307" y="19925"/>
                    </a:cubicBezTo>
                    <a:cubicBezTo>
                      <a:pt x="5552631" y="17289"/>
                      <a:pt x="5558005" y="14348"/>
                      <a:pt x="5563430" y="11103"/>
                    </a:cubicBezTo>
                    <a:cubicBezTo>
                      <a:pt x="5568855" y="7859"/>
                      <a:pt x="5574457" y="4157"/>
                      <a:pt x="5580237" y="0"/>
                    </a:cubicBezTo>
                    <a:close/>
                    <a:moveTo>
                      <a:pt x="5430264" y="0"/>
                    </a:moveTo>
                    <a:lnTo>
                      <a:pt x="5445170" y="0"/>
                    </a:lnTo>
                    <a:lnTo>
                      <a:pt x="5445170" y="222980"/>
                    </a:lnTo>
                    <a:lnTo>
                      <a:pt x="5409882" y="222980"/>
                    </a:lnTo>
                    <a:lnTo>
                      <a:pt x="5409882" y="43197"/>
                    </a:lnTo>
                    <a:cubicBezTo>
                      <a:pt x="5403494" y="47760"/>
                      <a:pt x="5396625" y="51638"/>
                      <a:pt x="5389273" y="54832"/>
                    </a:cubicBezTo>
                    <a:cubicBezTo>
                      <a:pt x="5381921" y="58027"/>
                      <a:pt x="5373531" y="60840"/>
                      <a:pt x="5364100" y="63274"/>
                    </a:cubicBezTo>
                    <a:lnTo>
                      <a:pt x="5364100" y="33158"/>
                    </a:lnTo>
                    <a:cubicBezTo>
                      <a:pt x="5369981" y="31232"/>
                      <a:pt x="5375660" y="29203"/>
                      <a:pt x="5381135" y="27074"/>
                    </a:cubicBezTo>
                    <a:cubicBezTo>
                      <a:pt x="5386611" y="24945"/>
                      <a:pt x="5392011" y="22562"/>
                      <a:pt x="5397334" y="19925"/>
                    </a:cubicBezTo>
                    <a:cubicBezTo>
                      <a:pt x="5402658" y="17289"/>
                      <a:pt x="5408032" y="14348"/>
                      <a:pt x="5413457" y="11103"/>
                    </a:cubicBezTo>
                    <a:cubicBezTo>
                      <a:pt x="5418882" y="7859"/>
                      <a:pt x="5424484" y="4157"/>
                      <a:pt x="5430264" y="0"/>
                    </a:cubicBezTo>
                    <a:close/>
                    <a:moveTo>
                      <a:pt x="5280291" y="0"/>
                    </a:moveTo>
                    <a:lnTo>
                      <a:pt x="5295197" y="0"/>
                    </a:lnTo>
                    <a:lnTo>
                      <a:pt x="5295197" y="222980"/>
                    </a:lnTo>
                    <a:lnTo>
                      <a:pt x="5259909" y="222980"/>
                    </a:lnTo>
                    <a:lnTo>
                      <a:pt x="5259909" y="43197"/>
                    </a:lnTo>
                    <a:cubicBezTo>
                      <a:pt x="5253521" y="47760"/>
                      <a:pt x="5246652" y="51638"/>
                      <a:pt x="5239300" y="54832"/>
                    </a:cubicBezTo>
                    <a:cubicBezTo>
                      <a:pt x="5231948" y="58027"/>
                      <a:pt x="5223558" y="60840"/>
                      <a:pt x="5214127" y="63274"/>
                    </a:cubicBezTo>
                    <a:lnTo>
                      <a:pt x="5214127" y="33158"/>
                    </a:lnTo>
                    <a:cubicBezTo>
                      <a:pt x="5220008" y="31232"/>
                      <a:pt x="5225687" y="29203"/>
                      <a:pt x="5231162" y="27074"/>
                    </a:cubicBezTo>
                    <a:cubicBezTo>
                      <a:pt x="5236638" y="24945"/>
                      <a:pt x="5242038" y="22562"/>
                      <a:pt x="5247361" y="19925"/>
                    </a:cubicBezTo>
                    <a:cubicBezTo>
                      <a:pt x="5252685" y="17289"/>
                      <a:pt x="5258059" y="14348"/>
                      <a:pt x="5263484" y="11103"/>
                    </a:cubicBezTo>
                    <a:cubicBezTo>
                      <a:pt x="5268909" y="7859"/>
                      <a:pt x="5274511" y="4157"/>
                      <a:pt x="5280291" y="0"/>
                    </a:cubicBezTo>
                    <a:close/>
                    <a:moveTo>
                      <a:pt x="4531613" y="0"/>
                    </a:moveTo>
                    <a:lnTo>
                      <a:pt x="4546519" y="0"/>
                    </a:lnTo>
                    <a:lnTo>
                      <a:pt x="4546519" y="222980"/>
                    </a:lnTo>
                    <a:lnTo>
                      <a:pt x="4511231" y="222980"/>
                    </a:lnTo>
                    <a:lnTo>
                      <a:pt x="4511231" y="43197"/>
                    </a:lnTo>
                    <a:cubicBezTo>
                      <a:pt x="4504843" y="47760"/>
                      <a:pt x="4497974" y="51638"/>
                      <a:pt x="4490622" y="54832"/>
                    </a:cubicBezTo>
                    <a:cubicBezTo>
                      <a:pt x="4483270" y="58027"/>
                      <a:pt x="4474880" y="60840"/>
                      <a:pt x="4465449" y="63274"/>
                    </a:cubicBezTo>
                    <a:lnTo>
                      <a:pt x="4465449" y="33158"/>
                    </a:lnTo>
                    <a:cubicBezTo>
                      <a:pt x="4471330" y="31232"/>
                      <a:pt x="4477009" y="29203"/>
                      <a:pt x="4482484" y="27074"/>
                    </a:cubicBezTo>
                    <a:cubicBezTo>
                      <a:pt x="4487960" y="24945"/>
                      <a:pt x="4493360" y="22562"/>
                      <a:pt x="4498683" y="19925"/>
                    </a:cubicBezTo>
                    <a:cubicBezTo>
                      <a:pt x="4504007" y="17289"/>
                      <a:pt x="4509381" y="14348"/>
                      <a:pt x="4514806" y="11103"/>
                    </a:cubicBezTo>
                    <a:cubicBezTo>
                      <a:pt x="4520231" y="7859"/>
                      <a:pt x="4525833" y="4157"/>
                      <a:pt x="4531613" y="0"/>
                    </a:cubicBezTo>
                    <a:close/>
                    <a:moveTo>
                      <a:pt x="4381640" y="0"/>
                    </a:moveTo>
                    <a:lnTo>
                      <a:pt x="4396546" y="0"/>
                    </a:lnTo>
                    <a:lnTo>
                      <a:pt x="4396546" y="222980"/>
                    </a:lnTo>
                    <a:lnTo>
                      <a:pt x="4361258" y="222980"/>
                    </a:lnTo>
                    <a:lnTo>
                      <a:pt x="4361258" y="43197"/>
                    </a:lnTo>
                    <a:cubicBezTo>
                      <a:pt x="4354870" y="47760"/>
                      <a:pt x="4348001" y="51638"/>
                      <a:pt x="4340649" y="54832"/>
                    </a:cubicBezTo>
                    <a:cubicBezTo>
                      <a:pt x="4333297" y="58027"/>
                      <a:pt x="4324907" y="60840"/>
                      <a:pt x="4315476" y="63274"/>
                    </a:cubicBezTo>
                    <a:lnTo>
                      <a:pt x="4315476" y="33158"/>
                    </a:lnTo>
                    <a:cubicBezTo>
                      <a:pt x="4321357" y="31232"/>
                      <a:pt x="4327036" y="29203"/>
                      <a:pt x="4332511" y="27074"/>
                    </a:cubicBezTo>
                    <a:cubicBezTo>
                      <a:pt x="4337987" y="24945"/>
                      <a:pt x="4343387" y="22562"/>
                      <a:pt x="4348710" y="19925"/>
                    </a:cubicBezTo>
                    <a:cubicBezTo>
                      <a:pt x="4354034" y="17289"/>
                      <a:pt x="4359408" y="14348"/>
                      <a:pt x="4364833" y="11103"/>
                    </a:cubicBezTo>
                    <a:cubicBezTo>
                      <a:pt x="4370258" y="7859"/>
                      <a:pt x="4375860" y="4157"/>
                      <a:pt x="4381640" y="0"/>
                    </a:cubicBezTo>
                    <a:close/>
                    <a:moveTo>
                      <a:pt x="4081694" y="0"/>
                    </a:moveTo>
                    <a:lnTo>
                      <a:pt x="4096600" y="0"/>
                    </a:lnTo>
                    <a:lnTo>
                      <a:pt x="4096600" y="222980"/>
                    </a:lnTo>
                    <a:lnTo>
                      <a:pt x="4061312" y="222980"/>
                    </a:lnTo>
                    <a:lnTo>
                      <a:pt x="4061312" y="43197"/>
                    </a:lnTo>
                    <a:cubicBezTo>
                      <a:pt x="4054924" y="47760"/>
                      <a:pt x="4048054" y="51638"/>
                      <a:pt x="4040703" y="54832"/>
                    </a:cubicBezTo>
                    <a:cubicBezTo>
                      <a:pt x="4033351" y="58027"/>
                      <a:pt x="4024961" y="60840"/>
                      <a:pt x="4015530" y="63274"/>
                    </a:cubicBezTo>
                    <a:lnTo>
                      <a:pt x="4015530" y="33158"/>
                    </a:lnTo>
                    <a:cubicBezTo>
                      <a:pt x="4021411" y="31232"/>
                      <a:pt x="4027090" y="29203"/>
                      <a:pt x="4032565" y="27074"/>
                    </a:cubicBezTo>
                    <a:cubicBezTo>
                      <a:pt x="4038041" y="24945"/>
                      <a:pt x="4043441" y="22562"/>
                      <a:pt x="4048764" y="19925"/>
                    </a:cubicBezTo>
                    <a:cubicBezTo>
                      <a:pt x="4054088" y="17289"/>
                      <a:pt x="4059462" y="14348"/>
                      <a:pt x="4064887" y="11103"/>
                    </a:cubicBezTo>
                    <a:cubicBezTo>
                      <a:pt x="4070312" y="7859"/>
                      <a:pt x="4075914" y="4157"/>
                      <a:pt x="4081694" y="0"/>
                    </a:cubicBezTo>
                    <a:close/>
                    <a:moveTo>
                      <a:pt x="3701103" y="0"/>
                    </a:moveTo>
                    <a:lnTo>
                      <a:pt x="3716009" y="0"/>
                    </a:lnTo>
                    <a:lnTo>
                      <a:pt x="3716009" y="222980"/>
                    </a:lnTo>
                    <a:lnTo>
                      <a:pt x="3680721" y="222980"/>
                    </a:lnTo>
                    <a:lnTo>
                      <a:pt x="3680721" y="43197"/>
                    </a:lnTo>
                    <a:cubicBezTo>
                      <a:pt x="3674333" y="47760"/>
                      <a:pt x="3667463" y="51638"/>
                      <a:pt x="3660112" y="54832"/>
                    </a:cubicBezTo>
                    <a:cubicBezTo>
                      <a:pt x="3652760" y="58027"/>
                      <a:pt x="3644370" y="60840"/>
                      <a:pt x="3634939" y="63274"/>
                    </a:cubicBezTo>
                    <a:lnTo>
                      <a:pt x="3634939" y="33158"/>
                    </a:lnTo>
                    <a:cubicBezTo>
                      <a:pt x="3640820" y="31232"/>
                      <a:pt x="3646499" y="29203"/>
                      <a:pt x="3651974" y="27074"/>
                    </a:cubicBezTo>
                    <a:cubicBezTo>
                      <a:pt x="3657450" y="24945"/>
                      <a:pt x="3662850" y="22562"/>
                      <a:pt x="3668173" y="19925"/>
                    </a:cubicBezTo>
                    <a:cubicBezTo>
                      <a:pt x="3673497" y="17289"/>
                      <a:pt x="3678871" y="14348"/>
                      <a:pt x="3684296" y="11103"/>
                    </a:cubicBezTo>
                    <a:cubicBezTo>
                      <a:pt x="3689721" y="7859"/>
                      <a:pt x="3695323" y="4157"/>
                      <a:pt x="3701103" y="0"/>
                    </a:cubicBezTo>
                    <a:close/>
                    <a:moveTo>
                      <a:pt x="3551130" y="0"/>
                    </a:moveTo>
                    <a:lnTo>
                      <a:pt x="3566036" y="0"/>
                    </a:lnTo>
                    <a:lnTo>
                      <a:pt x="3566036" y="222980"/>
                    </a:lnTo>
                    <a:lnTo>
                      <a:pt x="3530748" y="222980"/>
                    </a:lnTo>
                    <a:lnTo>
                      <a:pt x="3530748" y="43197"/>
                    </a:lnTo>
                    <a:cubicBezTo>
                      <a:pt x="3524360" y="47760"/>
                      <a:pt x="3517490" y="51638"/>
                      <a:pt x="3510139" y="54832"/>
                    </a:cubicBezTo>
                    <a:cubicBezTo>
                      <a:pt x="3502787" y="58027"/>
                      <a:pt x="3494397" y="60840"/>
                      <a:pt x="3484966" y="63274"/>
                    </a:cubicBezTo>
                    <a:lnTo>
                      <a:pt x="3484966" y="33158"/>
                    </a:lnTo>
                    <a:cubicBezTo>
                      <a:pt x="3490847" y="31232"/>
                      <a:pt x="3496526" y="29203"/>
                      <a:pt x="3502001" y="27074"/>
                    </a:cubicBezTo>
                    <a:cubicBezTo>
                      <a:pt x="3507477" y="24945"/>
                      <a:pt x="3512877" y="22562"/>
                      <a:pt x="3518200" y="19925"/>
                    </a:cubicBezTo>
                    <a:cubicBezTo>
                      <a:pt x="3523524" y="17289"/>
                      <a:pt x="3528898" y="14348"/>
                      <a:pt x="3534323" y="11103"/>
                    </a:cubicBezTo>
                    <a:cubicBezTo>
                      <a:pt x="3539748" y="7859"/>
                      <a:pt x="3545350" y="4157"/>
                      <a:pt x="3551130" y="0"/>
                    </a:cubicBezTo>
                    <a:close/>
                    <a:moveTo>
                      <a:pt x="3401157" y="0"/>
                    </a:moveTo>
                    <a:lnTo>
                      <a:pt x="3416063" y="0"/>
                    </a:lnTo>
                    <a:lnTo>
                      <a:pt x="3416063" y="222980"/>
                    </a:lnTo>
                    <a:lnTo>
                      <a:pt x="3380775" y="222980"/>
                    </a:lnTo>
                    <a:lnTo>
                      <a:pt x="3380775" y="43197"/>
                    </a:lnTo>
                    <a:cubicBezTo>
                      <a:pt x="3374387" y="47760"/>
                      <a:pt x="3367517" y="51638"/>
                      <a:pt x="3360166" y="54832"/>
                    </a:cubicBezTo>
                    <a:cubicBezTo>
                      <a:pt x="3352814" y="58027"/>
                      <a:pt x="3344424" y="60840"/>
                      <a:pt x="3334993" y="63274"/>
                    </a:cubicBezTo>
                    <a:lnTo>
                      <a:pt x="3334993" y="33158"/>
                    </a:lnTo>
                    <a:cubicBezTo>
                      <a:pt x="3340874" y="31232"/>
                      <a:pt x="3346553" y="29203"/>
                      <a:pt x="3352028" y="27074"/>
                    </a:cubicBezTo>
                    <a:cubicBezTo>
                      <a:pt x="3357504" y="24945"/>
                      <a:pt x="3362904" y="22562"/>
                      <a:pt x="3368227" y="19925"/>
                    </a:cubicBezTo>
                    <a:cubicBezTo>
                      <a:pt x="3373551" y="17289"/>
                      <a:pt x="3378925" y="14348"/>
                      <a:pt x="3384350" y="11103"/>
                    </a:cubicBezTo>
                    <a:cubicBezTo>
                      <a:pt x="3389775" y="7859"/>
                      <a:pt x="3395377" y="4157"/>
                      <a:pt x="3401157" y="0"/>
                    </a:cubicBezTo>
                    <a:close/>
                    <a:moveTo>
                      <a:pt x="3251184" y="0"/>
                    </a:moveTo>
                    <a:lnTo>
                      <a:pt x="3266090" y="0"/>
                    </a:lnTo>
                    <a:lnTo>
                      <a:pt x="3266090" y="222980"/>
                    </a:lnTo>
                    <a:lnTo>
                      <a:pt x="3230802" y="222980"/>
                    </a:lnTo>
                    <a:lnTo>
                      <a:pt x="3230802" y="43197"/>
                    </a:lnTo>
                    <a:cubicBezTo>
                      <a:pt x="3224414" y="47760"/>
                      <a:pt x="3217544" y="51638"/>
                      <a:pt x="3210193" y="54832"/>
                    </a:cubicBezTo>
                    <a:cubicBezTo>
                      <a:pt x="3202841" y="58027"/>
                      <a:pt x="3194451" y="60840"/>
                      <a:pt x="3185020" y="63274"/>
                    </a:cubicBezTo>
                    <a:lnTo>
                      <a:pt x="3185020" y="33158"/>
                    </a:lnTo>
                    <a:cubicBezTo>
                      <a:pt x="3190901" y="31232"/>
                      <a:pt x="3196580" y="29203"/>
                      <a:pt x="3202055" y="27074"/>
                    </a:cubicBezTo>
                    <a:cubicBezTo>
                      <a:pt x="3207531" y="24945"/>
                      <a:pt x="3212931" y="22562"/>
                      <a:pt x="3218254" y="19925"/>
                    </a:cubicBezTo>
                    <a:cubicBezTo>
                      <a:pt x="3223578" y="17289"/>
                      <a:pt x="3228952" y="14348"/>
                      <a:pt x="3234377" y="11103"/>
                    </a:cubicBezTo>
                    <a:cubicBezTo>
                      <a:pt x="3239802" y="7859"/>
                      <a:pt x="3245404" y="4157"/>
                      <a:pt x="3251184" y="0"/>
                    </a:cubicBezTo>
                    <a:close/>
                    <a:moveTo>
                      <a:pt x="3047247" y="0"/>
                    </a:moveTo>
                    <a:cubicBezTo>
                      <a:pt x="3094691" y="0"/>
                      <a:pt x="3118414" y="36863"/>
                      <a:pt x="3118414" y="110588"/>
                    </a:cubicBezTo>
                    <a:cubicBezTo>
                      <a:pt x="3118414" y="147099"/>
                      <a:pt x="3111719" y="174959"/>
                      <a:pt x="3098328" y="194167"/>
                    </a:cubicBezTo>
                    <a:cubicBezTo>
                      <a:pt x="3084937" y="213375"/>
                      <a:pt x="3066205" y="222980"/>
                      <a:pt x="3042131" y="222980"/>
                    </a:cubicBezTo>
                    <a:cubicBezTo>
                      <a:pt x="3019663" y="222980"/>
                      <a:pt x="3002134" y="213802"/>
                      <a:pt x="2989546" y="195446"/>
                    </a:cubicBezTo>
                    <a:cubicBezTo>
                      <a:pt x="2976957" y="177090"/>
                      <a:pt x="2970663" y="150559"/>
                      <a:pt x="2970663" y="115854"/>
                    </a:cubicBezTo>
                    <a:cubicBezTo>
                      <a:pt x="2970663" y="77737"/>
                      <a:pt x="2977233" y="48899"/>
                      <a:pt x="2990373" y="29339"/>
                    </a:cubicBezTo>
                    <a:cubicBezTo>
                      <a:pt x="3003514" y="9780"/>
                      <a:pt x="3022471" y="0"/>
                      <a:pt x="3047247" y="0"/>
                    </a:cubicBezTo>
                    <a:close/>
                    <a:moveTo>
                      <a:pt x="2917001" y="0"/>
                    </a:moveTo>
                    <a:lnTo>
                      <a:pt x="2931907" y="0"/>
                    </a:lnTo>
                    <a:lnTo>
                      <a:pt x="2931907" y="222980"/>
                    </a:lnTo>
                    <a:lnTo>
                      <a:pt x="2896619" y="222980"/>
                    </a:lnTo>
                    <a:lnTo>
                      <a:pt x="2896619" y="43197"/>
                    </a:lnTo>
                    <a:cubicBezTo>
                      <a:pt x="2890231" y="47760"/>
                      <a:pt x="2883361" y="51638"/>
                      <a:pt x="2876010" y="54832"/>
                    </a:cubicBezTo>
                    <a:cubicBezTo>
                      <a:pt x="2868658" y="58027"/>
                      <a:pt x="2860268" y="60840"/>
                      <a:pt x="2850837" y="63274"/>
                    </a:cubicBezTo>
                    <a:lnTo>
                      <a:pt x="2850837" y="33158"/>
                    </a:lnTo>
                    <a:cubicBezTo>
                      <a:pt x="2856718" y="31232"/>
                      <a:pt x="2862397" y="29203"/>
                      <a:pt x="2867872" y="27074"/>
                    </a:cubicBezTo>
                    <a:cubicBezTo>
                      <a:pt x="2873348" y="24945"/>
                      <a:pt x="2878748" y="22562"/>
                      <a:pt x="2884071" y="19925"/>
                    </a:cubicBezTo>
                    <a:cubicBezTo>
                      <a:pt x="2889395" y="17289"/>
                      <a:pt x="2894769" y="14348"/>
                      <a:pt x="2900194" y="11103"/>
                    </a:cubicBezTo>
                    <a:cubicBezTo>
                      <a:pt x="2905619" y="7859"/>
                      <a:pt x="2911221" y="4157"/>
                      <a:pt x="2917001" y="0"/>
                    </a:cubicBezTo>
                    <a:close/>
                    <a:moveTo>
                      <a:pt x="2700444" y="0"/>
                    </a:moveTo>
                    <a:cubicBezTo>
                      <a:pt x="2747888" y="0"/>
                      <a:pt x="2771611" y="36863"/>
                      <a:pt x="2771611" y="110588"/>
                    </a:cubicBezTo>
                    <a:cubicBezTo>
                      <a:pt x="2771611" y="147099"/>
                      <a:pt x="2764916" y="174959"/>
                      <a:pt x="2751525" y="194167"/>
                    </a:cubicBezTo>
                    <a:cubicBezTo>
                      <a:pt x="2738134" y="213375"/>
                      <a:pt x="2719402" y="222980"/>
                      <a:pt x="2695328" y="222980"/>
                    </a:cubicBezTo>
                    <a:cubicBezTo>
                      <a:pt x="2672860" y="222980"/>
                      <a:pt x="2655331" y="213802"/>
                      <a:pt x="2642743" y="195446"/>
                    </a:cubicBezTo>
                    <a:cubicBezTo>
                      <a:pt x="2630154" y="177090"/>
                      <a:pt x="2623860" y="150559"/>
                      <a:pt x="2623860" y="115854"/>
                    </a:cubicBezTo>
                    <a:cubicBezTo>
                      <a:pt x="2623860" y="77737"/>
                      <a:pt x="2630430" y="48899"/>
                      <a:pt x="2643570" y="29339"/>
                    </a:cubicBezTo>
                    <a:cubicBezTo>
                      <a:pt x="2656711" y="9780"/>
                      <a:pt x="2675668" y="0"/>
                      <a:pt x="2700444" y="0"/>
                    </a:cubicBezTo>
                    <a:close/>
                    <a:moveTo>
                      <a:pt x="2009079" y="0"/>
                    </a:moveTo>
                    <a:cubicBezTo>
                      <a:pt x="2056523" y="0"/>
                      <a:pt x="2080246" y="36863"/>
                      <a:pt x="2080246" y="110588"/>
                    </a:cubicBezTo>
                    <a:cubicBezTo>
                      <a:pt x="2080246" y="147099"/>
                      <a:pt x="2073551" y="174959"/>
                      <a:pt x="2060160" y="194167"/>
                    </a:cubicBezTo>
                    <a:cubicBezTo>
                      <a:pt x="2046769" y="213375"/>
                      <a:pt x="2028037" y="222980"/>
                      <a:pt x="2003963" y="222980"/>
                    </a:cubicBezTo>
                    <a:cubicBezTo>
                      <a:pt x="1981495" y="222980"/>
                      <a:pt x="1963966" y="213802"/>
                      <a:pt x="1951378" y="195446"/>
                    </a:cubicBezTo>
                    <a:cubicBezTo>
                      <a:pt x="1938789" y="177090"/>
                      <a:pt x="1932495" y="150559"/>
                      <a:pt x="1932495" y="115854"/>
                    </a:cubicBezTo>
                    <a:cubicBezTo>
                      <a:pt x="1932495" y="77737"/>
                      <a:pt x="1939065" y="48899"/>
                      <a:pt x="1952205" y="29339"/>
                    </a:cubicBezTo>
                    <a:cubicBezTo>
                      <a:pt x="1965346" y="9780"/>
                      <a:pt x="1984303" y="0"/>
                      <a:pt x="2009079" y="0"/>
                    </a:cubicBezTo>
                    <a:close/>
                    <a:moveTo>
                      <a:pt x="1636718" y="0"/>
                    </a:moveTo>
                    <a:lnTo>
                      <a:pt x="1651624" y="0"/>
                    </a:lnTo>
                    <a:lnTo>
                      <a:pt x="1651624" y="222980"/>
                    </a:lnTo>
                    <a:lnTo>
                      <a:pt x="1616336" y="222980"/>
                    </a:lnTo>
                    <a:lnTo>
                      <a:pt x="1616336" y="43197"/>
                    </a:lnTo>
                    <a:cubicBezTo>
                      <a:pt x="1609948" y="47760"/>
                      <a:pt x="1603078" y="51638"/>
                      <a:pt x="1595727" y="54832"/>
                    </a:cubicBezTo>
                    <a:cubicBezTo>
                      <a:pt x="1588375" y="58027"/>
                      <a:pt x="1579984" y="60840"/>
                      <a:pt x="1570554" y="63274"/>
                    </a:cubicBezTo>
                    <a:lnTo>
                      <a:pt x="1570554" y="33158"/>
                    </a:lnTo>
                    <a:cubicBezTo>
                      <a:pt x="1576435" y="31232"/>
                      <a:pt x="1582114" y="29203"/>
                      <a:pt x="1587589" y="27074"/>
                    </a:cubicBezTo>
                    <a:cubicBezTo>
                      <a:pt x="1593065" y="24945"/>
                      <a:pt x="1598465" y="22562"/>
                      <a:pt x="1603788" y="19925"/>
                    </a:cubicBezTo>
                    <a:cubicBezTo>
                      <a:pt x="1609112" y="17289"/>
                      <a:pt x="1614486" y="14348"/>
                      <a:pt x="1619911" y="11103"/>
                    </a:cubicBezTo>
                    <a:cubicBezTo>
                      <a:pt x="1625336" y="7859"/>
                      <a:pt x="1630938" y="4157"/>
                      <a:pt x="1636718" y="0"/>
                    </a:cubicBezTo>
                    <a:close/>
                    <a:moveTo>
                      <a:pt x="1260052" y="0"/>
                    </a:moveTo>
                    <a:lnTo>
                      <a:pt x="1274958" y="0"/>
                    </a:lnTo>
                    <a:lnTo>
                      <a:pt x="1274958" y="222980"/>
                    </a:lnTo>
                    <a:lnTo>
                      <a:pt x="1239670" y="222980"/>
                    </a:lnTo>
                    <a:lnTo>
                      <a:pt x="1239670" y="43197"/>
                    </a:lnTo>
                    <a:cubicBezTo>
                      <a:pt x="1233282" y="47760"/>
                      <a:pt x="1226412" y="51638"/>
                      <a:pt x="1219061" y="54832"/>
                    </a:cubicBezTo>
                    <a:cubicBezTo>
                      <a:pt x="1211709" y="58027"/>
                      <a:pt x="1203318" y="60840"/>
                      <a:pt x="1193888" y="63274"/>
                    </a:cubicBezTo>
                    <a:lnTo>
                      <a:pt x="1193888" y="33158"/>
                    </a:lnTo>
                    <a:cubicBezTo>
                      <a:pt x="1199769" y="31232"/>
                      <a:pt x="1205448" y="29203"/>
                      <a:pt x="1210923" y="27074"/>
                    </a:cubicBezTo>
                    <a:cubicBezTo>
                      <a:pt x="1216399" y="24945"/>
                      <a:pt x="1221799" y="22562"/>
                      <a:pt x="1227122" y="19925"/>
                    </a:cubicBezTo>
                    <a:cubicBezTo>
                      <a:pt x="1232446" y="17289"/>
                      <a:pt x="1237820" y="14348"/>
                      <a:pt x="1243245" y="11103"/>
                    </a:cubicBezTo>
                    <a:cubicBezTo>
                      <a:pt x="1248670" y="7859"/>
                      <a:pt x="1254272" y="4157"/>
                      <a:pt x="1260052" y="0"/>
                    </a:cubicBezTo>
                    <a:close/>
                    <a:moveTo>
                      <a:pt x="960106" y="0"/>
                    </a:moveTo>
                    <a:lnTo>
                      <a:pt x="975012" y="0"/>
                    </a:lnTo>
                    <a:lnTo>
                      <a:pt x="975012" y="222980"/>
                    </a:lnTo>
                    <a:lnTo>
                      <a:pt x="939724" y="222980"/>
                    </a:lnTo>
                    <a:lnTo>
                      <a:pt x="939724" y="43197"/>
                    </a:lnTo>
                    <a:cubicBezTo>
                      <a:pt x="933336" y="47760"/>
                      <a:pt x="926466" y="51638"/>
                      <a:pt x="919115" y="54832"/>
                    </a:cubicBezTo>
                    <a:cubicBezTo>
                      <a:pt x="911763" y="58027"/>
                      <a:pt x="903372" y="60840"/>
                      <a:pt x="893942" y="63274"/>
                    </a:cubicBezTo>
                    <a:lnTo>
                      <a:pt x="893942" y="33158"/>
                    </a:lnTo>
                    <a:cubicBezTo>
                      <a:pt x="899823" y="31232"/>
                      <a:pt x="905502" y="29203"/>
                      <a:pt x="910977" y="27074"/>
                    </a:cubicBezTo>
                    <a:cubicBezTo>
                      <a:pt x="916453" y="24945"/>
                      <a:pt x="921853" y="22562"/>
                      <a:pt x="927176" y="19925"/>
                    </a:cubicBezTo>
                    <a:cubicBezTo>
                      <a:pt x="932500" y="17289"/>
                      <a:pt x="937874" y="14348"/>
                      <a:pt x="943299" y="11103"/>
                    </a:cubicBezTo>
                    <a:cubicBezTo>
                      <a:pt x="948724" y="7859"/>
                      <a:pt x="954326" y="4157"/>
                      <a:pt x="960106" y="0"/>
                    </a:cubicBezTo>
                    <a:close/>
                    <a:moveTo>
                      <a:pt x="753872" y="0"/>
                    </a:moveTo>
                    <a:cubicBezTo>
                      <a:pt x="801316" y="0"/>
                      <a:pt x="825039" y="36863"/>
                      <a:pt x="825039" y="110588"/>
                    </a:cubicBezTo>
                    <a:cubicBezTo>
                      <a:pt x="825039" y="147099"/>
                      <a:pt x="818343" y="174959"/>
                      <a:pt x="804953" y="194167"/>
                    </a:cubicBezTo>
                    <a:cubicBezTo>
                      <a:pt x="791562" y="213375"/>
                      <a:pt x="772830" y="222980"/>
                      <a:pt x="748756" y="222980"/>
                    </a:cubicBezTo>
                    <a:cubicBezTo>
                      <a:pt x="726288" y="222980"/>
                      <a:pt x="708759" y="213802"/>
                      <a:pt x="696171" y="195446"/>
                    </a:cubicBezTo>
                    <a:cubicBezTo>
                      <a:pt x="683582" y="177090"/>
                      <a:pt x="677288" y="150559"/>
                      <a:pt x="677288" y="115854"/>
                    </a:cubicBezTo>
                    <a:cubicBezTo>
                      <a:pt x="677288" y="77737"/>
                      <a:pt x="683858" y="48899"/>
                      <a:pt x="696998" y="29339"/>
                    </a:cubicBezTo>
                    <a:cubicBezTo>
                      <a:pt x="710139" y="9780"/>
                      <a:pt x="729096" y="0"/>
                      <a:pt x="753872" y="0"/>
                    </a:cubicBezTo>
                    <a:close/>
                    <a:moveTo>
                      <a:pt x="533272" y="0"/>
                    </a:moveTo>
                    <a:cubicBezTo>
                      <a:pt x="580716" y="0"/>
                      <a:pt x="604439" y="36863"/>
                      <a:pt x="604439" y="110588"/>
                    </a:cubicBezTo>
                    <a:cubicBezTo>
                      <a:pt x="604439" y="147099"/>
                      <a:pt x="597743" y="174959"/>
                      <a:pt x="584353" y="194167"/>
                    </a:cubicBezTo>
                    <a:cubicBezTo>
                      <a:pt x="570962" y="213375"/>
                      <a:pt x="552230" y="222980"/>
                      <a:pt x="528156" y="222980"/>
                    </a:cubicBezTo>
                    <a:cubicBezTo>
                      <a:pt x="505688" y="222980"/>
                      <a:pt x="488159" y="213802"/>
                      <a:pt x="475571" y="195446"/>
                    </a:cubicBezTo>
                    <a:cubicBezTo>
                      <a:pt x="462982" y="177090"/>
                      <a:pt x="456688" y="150559"/>
                      <a:pt x="456688" y="115854"/>
                    </a:cubicBezTo>
                    <a:cubicBezTo>
                      <a:pt x="456688" y="77737"/>
                      <a:pt x="463258" y="48899"/>
                      <a:pt x="476398" y="29339"/>
                    </a:cubicBezTo>
                    <a:cubicBezTo>
                      <a:pt x="489539" y="9780"/>
                      <a:pt x="508496" y="0"/>
                      <a:pt x="533272" y="0"/>
                    </a:cubicBezTo>
                    <a:close/>
                    <a:moveTo>
                      <a:pt x="366110" y="0"/>
                    </a:moveTo>
                    <a:lnTo>
                      <a:pt x="381016" y="0"/>
                    </a:lnTo>
                    <a:lnTo>
                      <a:pt x="381016" y="222980"/>
                    </a:lnTo>
                    <a:lnTo>
                      <a:pt x="345728" y="222980"/>
                    </a:lnTo>
                    <a:lnTo>
                      <a:pt x="345728" y="43197"/>
                    </a:lnTo>
                    <a:cubicBezTo>
                      <a:pt x="339340" y="47760"/>
                      <a:pt x="332470" y="51638"/>
                      <a:pt x="325119" y="54832"/>
                    </a:cubicBezTo>
                    <a:cubicBezTo>
                      <a:pt x="317767" y="58027"/>
                      <a:pt x="309376" y="60840"/>
                      <a:pt x="299946" y="63274"/>
                    </a:cubicBezTo>
                    <a:lnTo>
                      <a:pt x="299946" y="33158"/>
                    </a:lnTo>
                    <a:cubicBezTo>
                      <a:pt x="305827" y="31232"/>
                      <a:pt x="311506" y="29203"/>
                      <a:pt x="316981" y="27074"/>
                    </a:cubicBezTo>
                    <a:cubicBezTo>
                      <a:pt x="322457" y="24945"/>
                      <a:pt x="327857" y="22562"/>
                      <a:pt x="333180" y="19925"/>
                    </a:cubicBezTo>
                    <a:cubicBezTo>
                      <a:pt x="338504" y="17289"/>
                      <a:pt x="343878" y="14348"/>
                      <a:pt x="349303" y="11103"/>
                    </a:cubicBezTo>
                    <a:cubicBezTo>
                      <a:pt x="354728" y="7859"/>
                      <a:pt x="360330" y="4157"/>
                      <a:pt x="366110" y="0"/>
                    </a:cubicBezTo>
                    <a:close/>
                    <a:moveTo>
                      <a:pt x="66164" y="0"/>
                    </a:moveTo>
                    <a:lnTo>
                      <a:pt x="81070" y="0"/>
                    </a:lnTo>
                    <a:lnTo>
                      <a:pt x="81070" y="222980"/>
                    </a:lnTo>
                    <a:lnTo>
                      <a:pt x="45782" y="222980"/>
                    </a:lnTo>
                    <a:lnTo>
                      <a:pt x="45782" y="43197"/>
                    </a:lnTo>
                    <a:cubicBezTo>
                      <a:pt x="39394" y="47760"/>
                      <a:pt x="32524" y="51638"/>
                      <a:pt x="25173" y="54832"/>
                    </a:cubicBezTo>
                    <a:cubicBezTo>
                      <a:pt x="17821" y="58027"/>
                      <a:pt x="9430" y="60840"/>
                      <a:pt x="0" y="63274"/>
                    </a:cubicBezTo>
                    <a:lnTo>
                      <a:pt x="0" y="33158"/>
                    </a:lnTo>
                    <a:cubicBezTo>
                      <a:pt x="5881" y="31232"/>
                      <a:pt x="11560" y="29203"/>
                      <a:pt x="17035" y="27074"/>
                    </a:cubicBezTo>
                    <a:cubicBezTo>
                      <a:pt x="22511" y="24945"/>
                      <a:pt x="27911" y="22562"/>
                      <a:pt x="33234" y="19925"/>
                    </a:cubicBezTo>
                    <a:cubicBezTo>
                      <a:pt x="38558" y="17289"/>
                      <a:pt x="43932" y="14348"/>
                      <a:pt x="49357" y="11103"/>
                    </a:cubicBezTo>
                    <a:cubicBezTo>
                      <a:pt x="54782" y="7859"/>
                      <a:pt x="60384" y="4157"/>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7" name="Freeform 396"/>
              <p:cNvSpPr/>
              <p:nvPr/>
            </p:nvSpPr>
            <p:spPr>
              <a:xfrm>
                <a:off x="1414316" y="706636"/>
                <a:ext cx="6578760" cy="222980"/>
              </a:xfrm>
              <a:custGeom>
                <a:avLst/>
                <a:gdLst>
                  <a:gd name="connsiteX0" fmla="*/ 6505937 w 6578759"/>
                  <a:gd name="connsiteY0" fmla="*/ 27835 h 222980"/>
                  <a:gd name="connsiteX1" fmla="*/ 6466667 w 6578759"/>
                  <a:gd name="connsiteY1" fmla="*/ 114349 h 222980"/>
                  <a:gd name="connsiteX2" fmla="*/ 6505185 w 6578759"/>
                  <a:gd name="connsiteY2" fmla="*/ 195296 h 222980"/>
                  <a:gd name="connsiteX3" fmla="*/ 6543100 w 6578759"/>
                  <a:gd name="connsiteY3" fmla="*/ 112995 h 222980"/>
                  <a:gd name="connsiteX4" fmla="*/ 6505937 w 6578759"/>
                  <a:gd name="connsiteY4" fmla="*/ 27835 h 222980"/>
                  <a:gd name="connsiteX5" fmla="*/ 6134901 w 6578759"/>
                  <a:gd name="connsiteY5" fmla="*/ 27835 h 222980"/>
                  <a:gd name="connsiteX6" fmla="*/ 6095631 w 6578759"/>
                  <a:gd name="connsiteY6" fmla="*/ 114349 h 222980"/>
                  <a:gd name="connsiteX7" fmla="*/ 6134149 w 6578759"/>
                  <a:gd name="connsiteY7" fmla="*/ 195296 h 222980"/>
                  <a:gd name="connsiteX8" fmla="*/ 6172064 w 6578759"/>
                  <a:gd name="connsiteY8" fmla="*/ 112995 h 222980"/>
                  <a:gd name="connsiteX9" fmla="*/ 6134901 w 6578759"/>
                  <a:gd name="connsiteY9" fmla="*/ 27835 h 222980"/>
                  <a:gd name="connsiteX10" fmla="*/ 450509 w 6578759"/>
                  <a:gd name="connsiteY10" fmla="*/ 27835 h 222980"/>
                  <a:gd name="connsiteX11" fmla="*/ 411239 w 6578759"/>
                  <a:gd name="connsiteY11" fmla="*/ 114349 h 222980"/>
                  <a:gd name="connsiteX12" fmla="*/ 449757 w 6578759"/>
                  <a:gd name="connsiteY12" fmla="*/ 195296 h 222980"/>
                  <a:gd name="connsiteX13" fmla="*/ 487672 w 6578759"/>
                  <a:gd name="connsiteY13" fmla="*/ 112995 h 222980"/>
                  <a:gd name="connsiteX14" fmla="*/ 450509 w 6578759"/>
                  <a:gd name="connsiteY14" fmla="*/ 27835 h 222980"/>
                  <a:gd name="connsiteX15" fmla="*/ 74929 w 6578759"/>
                  <a:gd name="connsiteY15" fmla="*/ 27835 h 222980"/>
                  <a:gd name="connsiteX16" fmla="*/ 35659 w 6578759"/>
                  <a:gd name="connsiteY16" fmla="*/ 114349 h 222980"/>
                  <a:gd name="connsiteX17" fmla="*/ 74177 w 6578759"/>
                  <a:gd name="connsiteY17" fmla="*/ 195296 h 222980"/>
                  <a:gd name="connsiteX18" fmla="*/ 112092 w 6578759"/>
                  <a:gd name="connsiteY18" fmla="*/ 112995 h 222980"/>
                  <a:gd name="connsiteX19" fmla="*/ 74929 w 6578759"/>
                  <a:gd name="connsiteY19" fmla="*/ 27835 h 222980"/>
                  <a:gd name="connsiteX20" fmla="*/ 6507592 w 6578759"/>
                  <a:gd name="connsiteY20" fmla="*/ 0 h 222980"/>
                  <a:gd name="connsiteX21" fmla="*/ 6578759 w 6578759"/>
                  <a:gd name="connsiteY21" fmla="*/ 110588 h 222980"/>
                  <a:gd name="connsiteX22" fmla="*/ 6558673 w 6578759"/>
                  <a:gd name="connsiteY22" fmla="*/ 194167 h 222980"/>
                  <a:gd name="connsiteX23" fmla="*/ 6502476 w 6578759"/>
                  <a:gd name="connsiteY23" fmla="*/ 222980 h 222980"/>
                  <a:gd name="connsiteX24" fmla="*/ 6449891 w 6578759"/>
                  <a:gd name="connsiteY24" fmla="*/ 195446 h 222980"/>
                  <a:gd name="connsiteX25" fmla="*/ 6431008 w 6578759"/>
                  <a:gd name="connsiteY25" fmla="*/ 115854 h 222980"/>
                  <a:gd name="connsiteX26" fmla="*/ 6450718 w 6578759"/>
                  <a:gd name="connsiteY26" fmla="*/ 29339 h 222980"/>
                  <a:gd name="connsiteX27" fmla="*/ 6507592 w 6578759"/>
                  <a:gd name="connsiteY27" fmla="*/ 0 h 222980"/>
                  <a:gd name="connsiteX28" fmla="*/ 6136556 w 6578759"/>
                  <a:gd name="connsiteY28" fmla="*/ 0 h 222980"/>
                  <a:gd name="connsiteX29" fmla="*/ 6207723 w 6578759"/>
                  <a:gd name="connsiteY29" fmla="*/ 110588 h 222980"/>
                  <a:gd name="connsiteX30" fmla="*/ 6187637 w 6578759"/>
                  <a:gd name="connsiteY30" fmla="*/ 194167 h 222980"/>
                  <a:gd name="connsiteX31" fmla="*/ 6131440 w 6578759"/>
                  <a:gd name="connsiteY31" fmla="*/ 222980 h 222980"/>
                  <a:gd name="connsiteX32" fmla="*/ 6078855 w 6578759"/>
                  <a:gd name="connsiteY32" fmla="*/ 195446 h 222980"/>
                  <a:gd name="connsiteX33" fmla="*/ 6059972 w 6578759"/>
                  <a:gd name="connsiteY33" fmla="*/ 115854 h 222980"/>
                  <a:gd name="connsiteX34" fmla="*/ 6079682 w 6578759"/>
                  <a:gd name="connsiteY34" fmla="*/ 29339 h 222980"/>
                  <a:gd name="connsiteX35" fmla="*/ 6136556 w 6578759"/>
                  <a:gd name="connsiteY35" fmla="*/ 0 h 222980"/>
                  <a:gd name="connsiteX36" fmla="*/ 452164 w 6578759"/>
                  <a:gd name="connsiteY36" fmla="*/ 0 h 222980"/>
                  <a:gd name="connsiteX37" fmla="*/ 523331 w 6578759"/>
                  <a:gd name="connsiteY37" fmla="*/ 110588 h 222980"/>
                  <a:gd name="connsiteX38" fmla="*/ 503245 w 6578759"/>
                  <a:gd name="connsiteY38" fmla="*/ 194167 h 222980"/>
                  <a:gd name="connsiteX39" fmla="*/ 447048 w 6578759"/>
                  <a:gd name="connsiteY39" fmla="*/ 222980 h 222980"/>
                  <a:gd name="connsiteX40" fmla="*/ 394463 w 6578759"/>
                  <a:gd name="connsiteY40" fmla="*/ 195446 h 222980"/>
                  <a:gd name="connsiteX41" fmla="*/ 375580 w 6578759"/>
                  <a:gd name="connsiteY41" fmla="*/ 115854 h 222980"/>
                  <a:gd name="connsiteX42" fmla="*/ 395290 w 6578759"/>
                  <a:gd name="connsiteY42" fmla="*/ 29339 h 222980"/>
                  <a:gd name="connsiteX43" fmla="*/ 452164 w 6578759"/>
                  <a:gd name="connsiteY43" fmla="*/ 0 h 222980"/>
                  <a:gd name="connsiteX44" fmla="*/ 76584 w 6578759"/>
                  <a:gd name="connsiteY44" fmla="*/ 0 h 222980"/>
                  <a:gd name="connsiteX45" fmla="*/ 147751 w 6578759"/>
                  <a:gd name="connsiteY45" fmla="*/ 110588 h 222980"/>
                  <a:gd name="connsiteX46" fmla="*/ 127665 w 6578759"/>
                  <a:gd name="connsiteY46" fmla="*/ 194167 h 222980"/>
                  <a:gd name="connsiteX47" fmla="*/ 71468 w 6578759"/>
                  <a:gd name="connsiteY47" fmla="*/ 222980 h 222980"/>
                  <a:gd name="connsiteX48" fmla="*/ 18883 w 6578759"/>
                  <a:gd name="connsiteY48" fmla="*/ 195446 h 222980"/>
                  <a:gd name="connsiteX49" fmla="*/ 0 w 6578759"/>
                  <a:gd name="connsiteY49" fmla="*/ 115854 h 222980"/>
                  <a:gd name="connsiteX50" fmla="*/ 19710 w 6578759"/>
                  <a:gd name="connsiteY50" fmla="*/ 29339 h 222980"/>
                  <a:gd name="connsiteX51" fmla="*/ 76584 w 6578759"/>
                  <a:gd name="connsiteY51"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578759" h="222980">
                    <a:moveTo>
                      <a:pt x="6505937" y="27835"/>
                    </a:moveTo>
                    <a:cubicBezTo>
                      <a:pt x="6479757" y="27835"/>
                      <a:pt x="6466667" y="56673"/>
                      <a:pt x="6466667" y="114349"/>
                    </a:cubicBezTo>
                    <a:cubicBezTo>
                      <a:pt x="6466667" y="168313"/>
                      <a:pt x="6479506" y="195296"/>
                      <a:pt x="6505185" y="195296"/>
                    </a:cubicBezTo>
                    <a:cubicBezTo>
                      <a:pt x="6530462" y="195296"/>
                      <a:pt x="6543100" y="167862"/>
                      <a:pt x="6543100" y="112995"/>
                    </a:cubicBezTo>
                    <a:cubicBezTo>
                      <a:pt x="6543100" y="56221"/>
                      <a:pt x="6530712" y="27835"/>
                      <a:pt x="6505937" y="27835"/>
                    </a:cubicBezTo>
                    <a:close/>
                    <a:moveTo>
                      <a:pt x="6134901" y="27835"/>
                    </a:moveTo>
                    <a:cubicBezTo>
                      <a:pt x="6108721" y="27835"/>
                      <a:pt x="6095631" y="56673"/>
                      <a:pt x="6095631" y="114349"/>
                    </a:cubicBezTo>
                    <a:cubicBezTo>
                      <a:pt x="6095631" y="168313"/>
                      <a:pt x="6108470" y="195296"/>
                      <a:pt x="6134149" y="195296"/>
                    </a:cubicBezTo>
                    <a:cubicBezTo>
                      <a:pt x="6159426" y="195296"/>
                      <a:pt x="6172064" y="167862"/>
                      <a:pt x="6172064" y="112995"/>
                    </a:cubicBezTo>
                    <a:cubicBezTo>
                      <a:pt x="6172064" y="56221"/>
                      <a:pt x="6159676" y="27835"/>
                      <a:pt x="6134901" y="27835"/>
                    </a:cubicBezTo>
                    <a:close/>
                    <a:moveTo>
                      <a:pt x="450509" y="27835"/>
                    </a:moveTo>
                    <a:cubicBezTo>
                      <a:pt x="424329" y="27835"/>
                      <a:pt x="411239" y="56673"/>
                      <a:pt x="411239" y="114349"/>
                    </a:cubicBezTo>
                    <a:cubicBezTo>
                      <a:pt x="411239" y="168313"/>
                      <a:pt x="424078" y="195296"/>
                      <a:pt x="449757" y="195296"/>
                    </a:cubicBezTo>
                    <a:cubicBezTo>
                      <a:pt x="475034" y="195296"/>
                      <a:pt x="487672" y="167862"/>
                      <a:pt x="487672" y="112995"/>
                    </a:cubicBezTo>
                    <a:cubicBezTo>
                      <a:pt x="487672" y="56221"/>
                      <a:pt x="475285" y="27835"/>
                      <a:pt x="450509"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5" y="27835"/>
                      <a:pt x="74929" y="27835"/>
                    </a:cubicBezTo>
                    <a:close/>
                    <a:moveTo>
                      <a:pt x="6507592" y="0"/>
                    </a:moveTo>
                    <a:cubicBezTo>
                      <a:pt x="6555037" y="0"/>
                      <a:pt x="6578759" y="36863"/>
                      <a:pt x="6578759" y="110588"/>
                    </a:cubicBezTo>
                    <a:cubicBezTo>
                      <a:pt x="6578759" y="147099"/>
                      <a:pt x="6572064" y="174959"/>
                      <a:pt x="6558673" y="194167"/>
                    </a:cubicBezTo>
                    <a:cubicBezTo>
                      <a:pt x="6545282" y="213375"/>
                      <a:pt x="6526550" y="222980"/>
                      <a:pt x="6502476" y="222980"/>
                    </a:cubicBezTo>
                    <a:cubicBezTo>
                      <a:pt x="6480008" y="222980"/>
                      <a:pt x="6462479" y="213802"/>
                      <a:pt x="6449891" y="195446"/>
                    </a:cubicBezTo>
                    <a:cubicBezTo>
                      <a:pt x="6437302" y="177090"/>
                      <a:pt x="6431008" y="150559"/>
                      <a:pt x="6431008" y="115854"/>
                    </a:cubicBezTo>
                    <a:cubicBezTo>
                      <a:pt x="6431008" y="77737"/>
                      <a:pt x="6437578" y="48899"/>
                      <a:pt x="6450718" y="29339"/>
                    </a:cubicBezTo>
                    <a:cubicBezTo>
                      <a:pt x="6463859" y="9780"/>
                      <a:pt x="6482816" y="0"/>
                      <a:pt x="6507592" y="0"/>
                    </a:cubicBezTo>
                    <a:close/>
                    <a:moveTo>
                      <a:pt x="6136556" y="0"/>
                    </a:moveTo>
                    <a:cubicBezTo>
                      <a:pt x="6184001" y="0"/>
                      <a:pt x="6207723" y="36863"/>
                      <a:pt x="6207723" y="110588"/>
                    </a:cubicBezTo>
                    <a:cubicBezTo>
                      <a:pt x="6207723" y="147099"/>
                      <a:pt x="6201028" y="174959"/>
                      <a:pt x="6187637" y="194167"/>
                    </a:cubicBezTo>
                    <a:cubicBezTo>
                      <a:pt x="6174246" y="213375"/>
                      <a:pt x="6155514" y="222980"/>
                      <a:pt x="6131440" y="222980"/>
                    </a:cubicBezTo>
                    <a:cubicBezTo>
                      <a:pt x="6108972" y="222980"/>
                      <a:pt x="6091443" y="213802"/>
                      <a:pt x="6078855" y="195446"/>
                    </a:cubicBezTo>
                    <a:cubicBezTo>
                      <a:pt x="6066266" y="177090"/>
                      <a:pt x="6059972" y="150559"/>
                      <a:pt x="6059972" y="115854"/>
                    </a:cubicBezTo>
                    <a:cubicBezTo>
                      <a:pt x="6059972" y="77737"/>
                      <a:pt x="6066542" y="48899"/>
                      <a:pt x="6079682" y="29339"/>
                    </a:cubicBezTo>
                    <a:cubicBezTo>
                      <a:pt x="6092823" y="9780"/>
                      <a:pt x="6111780" y="0"/>
                      <a:pt x="6136556" y="0"/>
                    </a:cubicBezTo>
                    <a:close/>
                    <a:moveTo>
                      <a:pt x="452164" y="0"/>
                    </a:moveTo>
                    <a:cubicBezTo>
                      <a:pt x="499609" y="0"/>
                      <a:pt x="523331" y="36863"/>
                      <a:pt x="523331" y="110588"/>
                    </a:cubicBezTo>
                    <a:cubicBezTo>
                      <a:pt x="523331" y="147099"/>
                      <a:pt x="516636" y="174959"/>
                      <a:pt x="503245" y="194167"/>
                    </a:cubicBezTo>
                    <a:cubicBezTo>
                      <a:pt x="489854" y="213375"/>
                      <a:pt x="471122" y="222980"/>
                      <a:pt x="447048" y="222980"/>
                    </a:cubicBezTo>
                    <a:cubicBezTo>
                      <a:pt x="424580" y="222980"/>
                      <a:pt x="407051" y="213802"/>
                      <a:pt x="394463" y="195446"/>
                    </a:cubicBezTo>
                    <a:cubicBezTo>
                      <a:pt x="381875" y="177090"/>
                      <a:pt x="375580" y="150559"/>
                      <a:pt x="375580" y="115854"/>
                    </a:cubicBezTo>
                    <a:cubicBezTo>
                      <a:pt x="375580" y="77737"/>
                      <a:pt x="382151" y="48899"/>
                      <a:pt x="395290" y="29339"/>
                    </a:cubicBezTo>
                    <a:cubicBezTo>
                      <a:pt x="408431" y="9780"/>
                      <a:pt x="427388" y="0"/>
                      <a:pt x="452164" y="0"/>
                    </a:cubicBezTo>
                    <a:close/>
                    <a:moveTo>
                      <a:pt x="76584" y="0"/>
                    </a:moveTo>
                    <a:cubicBezTo>
                      <a:pt x="124029" y="0"/>
                      <a:pt x="147751" y="36863"/>
                      <a:pt x="147751" y="110588"/>
                    </a:cubicBezTo>
                    <a:cubicBezTo>
                      <a:pt x="147751" y="147099"/>
                      <a:pt x="141056" y="174959"/>
                      <a:pt x="127665" y="194167"/>
                    </a:cubicBezTo>
                    <a:cubicBezTo>
                      <a:pt x="114274" y="213375"/>
                      <a:pt x="95542" y="222980"/>
                      <a:pt x="71468" y="222980"/>
                    </a:cubicBezTo>
                    <a:cubicBezTo>
                      <a:pt x="49000" y="222980"/>
                      <a:pt x="31471" y="213802"/>
                      <a:pt x="18883" y="195446"/>
                    </a:cubicBezTo>
                    <a:cubicBezTo>
                      <a:pt x="6295" y="177090"/>
                      <a:pt x="0" y="150559"/>
                      <a:pt x="0" y="115854"/>
                    </a:cubicBezTo>
                    <a:cubicBezTo>
                      <a:pt x="0" y="77737"/>
                      <a:pt x="6571" y="48899"/>
                      <a:pt x="19710" y="29339"/>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8" name="Freeform 397"/>
              <p:cNvSpPr/>
              <p:nvPr/>
            </p:nvSpPr>
            <p:spPr>
              <a:xfrm>
                <a:off x="2446763" y="703821"/>
                <a:ext cx="6261345" cy="228614"/>
              </a:xfrm>
              <a:custGeom>
                <a:avLst/>
                <a:gdLst>
                  <a:gd name="connsiteX0" fmla="*/ 6146252 w 6261344"/>
                  <a:gd name="connsiteY0" fmla="*/ 91551 h 228614"/>
                  <a:gd name="connsiteX1" fmla="*/ 6135790 w 6261344"/>
                  <a:gd name="connsiteY1" fmla="*/ 139680 h 228614"/>
                  <a:gd name="connsiteX2" fmla="*/ 6178513 w 6261344"/>
                  <a:gd name="connsiteY2" fmla="*/ 139680 h 228614"/>
                  <a:gd name="connsiteX3" fmla="*/ 6188801 w 6261344"/>
                  <a:gd name="connsiteY3" fmla="*/ 91551 h 228614"/>
                  <a:gd name="connsiteX4" fmla="*/ 83005 w 6261344"/>
                  <a:gd name="connsiteY4" fmla="*/ 91551 h 228614"/>
                  <a:gd name="connsiteX5" fmla="*/ 72543 w 6261344"/>
                  <a:gd name="connsiteY5" fmla="*/ 139680 h 228614"/>
                  <a:gd name="connsiteX6" fmla="*/ 115266 w 6261344"/>
                  <a:gd name="connsiteY6" fmla="*/ 139680 h 228614"/>
                  <a:gd name="connsiteX7" fmla="*/ 125554 w 6261344"/>
                  <a:gd name="connsiteY7" fmla="*/ 91551 h 228614"/>
                  <a:gd name="connsiteX8" fmla="*/ 1488441 w 6261344"/>
                  <a:gd name="connsiteY8" fmla="*/ 2817 h 228614"/>
                  <a:gd name="connsiteX9" fmla="*/ 1533290 w 6261344"/>
                  <a:gd name="connsiteY9" fmla="*/ 41838 h 228614"/>
                  <a:gd name="connsiteX10" fmla="*/ 1533290 w 6261344"/>
                  <a:gd name="connsiteY10" fmla="*/ 78199 h 228614"/>
                  <a:gd name="connsiteX11" fmla="*/ 1552927 w 6261344"/>
                  <a:gd name="connsiteY11" fmla="*/ 105059 h 228614"/>
                  <a:gd name="connsiteX12" fmla="*/ 1552927 w 6261344"/>
                  <a:gd name="connsiteY12" fmla="*/ 123555 h 228614"/>
                  <a:gd name="connsiteX13" fmla="*/ 1533290 w 6261344"/>
                  <a:gd name="connsiteY13" fmla="*/ 149908 h 228614"/>
                  <a:gd name="connsiteX14" fmla="*/ 1533290 w 6261344"/>
                  <a:gd name="connsiteY14" fmla="*/ 187283 h 228614"/>
                  <a:gd name="connsiteX15" fmla="*/ 1488441 w 6261344"/>
                  <a:gd name="connsiteY15" fmla="*/ 225797 h 228614"/>
                  <a:gd name="connsiteX16" fmla="*/ 1488441 w 6261344"/>
                  <a:gd name="connsiteY16" fmla="*/ 206286 h 228614"/>
                  <a:gd name="connsiteX17" fmla="*/ 1504087 w 6261344"/>
                  <a:gd name="connsiteY17" fmla="*/ 200205 h 228614"/>
                  <a:gd name="connsiteX18" fmla="*/ 1508711 w 6261344"/>
                  <a:gd name="connsiteY18" fmla="*/ 180948 h 228614"/>
                  <a:gd name="connsiteX19" fmla="*/ 1508711 w 6261344"/>
                  <a:gd name="connsiteY19" fmla="*/ 145600 h 228614"/>
                  <a:gd name="connsiteX20" fmla="*/ 1533670 w 6261344"/>
                  <a:gd name="connsiteY20" fmla="*/ 114307 h 228614"/>
                  <a:gd name="connsiteX21" fmla="*/ 1533670 w 6261344"/>
                  <a:gd name="connsiteY21" fmla="*/ 113927 h 228614"/>
                  <a:gd name="connsiteX22" fmla="*/ 1508711 w 6261344"/>
                  <a:gd name="connsiteY22" fmla="*/ 82380 h 228614"/>
                  <a:gd name="connsiteX23" fmla="*/ 1508711 w 6261344"/>
                  <a:gd name="connsiteY23" fmla="*/ 46653 h 228614"/>
                  <a:gd name="connsiteX24" fmla="*/ 1488441 w 6261344"/>
                  <a:gd name="connsiteY24" fmla="*/ 22455 h 228614"/>
                  <a:gd name="connsiteX25" fmla="*/ 1470956 w 6261344"/>
                  <a:gd name="connsiteY25" fmla="*/ 2817 h 228614"/>
                  <a:gd name="connsiteX26" fmla="*/ 1470956 w 6261344"/>
                  <a:gd name="connsiteY26" fmla="*/ 22455 h 228614"/>
                  <a:gd name="connsiteX27" fmla="*/ 1450812 w 6261344"/>
                  <a:gd name="connsiteY27" fmla="*/ 46653 h 228614"/>
                  <a:gd name="connsiteX28" fmla="*/ 1450812 w 6261344"/>
                  <a:gd name="connsiteY28" fmla="*/ 82380 h 228614"/>
                  <a:gd name="connsiteX29" fmla="*/ 1425600 w 6261344"/>
                  <a:gd name="connsiteY29" fmla="*/ 113927 h 228614"/>
                  <a:gd name="connsiteX30" fmla="*/ 1425600 w 6261344"/>
                  <a:gd name="connsiteY30" fmla="*/ 114307 h 228614"/>
                  <a:gd name="connsiteX31" fmla="*/ 1450812 w 6261344"/>
                  <a:gd name="connsiteY31" fmla="*/ 145600 h 228614"/>
                  <a:gd name="connsiteX32" fmla="*/ 1450812 w 6261344"/>
                  <a:gd name="connsiteY32" fmla="*/ 180948 h 228614"/>
                  <a:gd name="connsiteX33" fmla="*/ 1455310 w 6261344"/>
                  <a:gd name="connsiteY33" fmla="*/ 200268 h 228614"/>
                  <a:gd name="connsiteX34" fmla="*/ 1470956 w 6261344"/>
                  <a:gd name="connsiteY34" fmla="*/ 206286 h 228614"/>
                  <a:gd name="connsiteX35" fmla="*/ 1470956 w 6261344"/>
                  <a:gd name="connsiteY35" fmla="*/ 225797 h 228614"/>
                  <a:gd name="connsiteX36" fmla="*/ 1425854 w 6261344"/>
                  <a:gd name="connsiteY36" fmla="*/ 187283 h 228614"/>
                  <a:gd name="connsiteX37" fmla="*/ 1425854 w 6261344"/>
                  <a:gd name="connsiteY37" fmla="*/ 149908 h 228614"/>
                  <a:gd name="connsiteX38" fmla="*/ 1406089 w 6261344"/>
                  <a:gd name="connsiteY38" fmla="*/ 123555 h 228614"/>
                  <a:gd name="connsiteX39" fmla="*/ 1406089 w 6261344"/>
                  <a:gd name="connsiteY39" fmla="*/ 105059 h 228614"/>
                  <a:gd name="connsiteX40" fmla="*/ 1425854 w 6261344"/>
                  <a:gd name="connsiteY40" fmla="*/ 78199 h 228614"/>
                  <a:gd name="connsiteX41" fmla="*/ 1425854 w 6261344"/>
                  <a:gd name="connsiteY41" fmla="*/ 41838 h 228614"/>
                  <a:gd name="connsiteX42" fmla="*/ 1470956 w 6261344"/>
                  <a:gd name="connsiteY42" fmla="*/ 2817 h 228614"/>
                  <a:gd name="connsiteX43" fmla="*/ 6137185 w 6261344"/>
                  <a:gd name="connsiteY43" fmla="*/ 0 h 228614"/>
                  <a:gd name="connsiteX44" fmla="*/ 6165260 w 6261344"/>
                  <a:gd name="connsiteY44" fmla="*/ 0 h 228614"/>
                  <a:gd name="connsiteX45" fmla="*/ 6151484 w 6261344"/>
                  <a:gd name="connsiteY45" fmla="*/ 67137 h 228614"/>
                  <a:gd name="connsiteX46" fmla="*/ 6193684 w 6261344"/>
                  <a:gd name="connsiteY46" fmla="*/ 67137 h 228614"/>
                  <a:gd name="connsiteX47" fmla="*/ 6207983 w 6261344"/>
                  <a:gd name="connsiteY47" fmla="*/ 0 h 228614"/>
                  <a:gd name="connsiteX48" fmla="*/ 6235536 w 6261344"/>
                  <a:gd name="connsiteY48" fmla="*/ 0 h 228614"/>
                  <a:gd name="connsiteX49" fmla="*/ 6221585 w 6261344"/>
                  <a:gd name="connsiteY49" fmla="*/ 67137 h 228614"/>
                  <a:gd name="connsiteX50" fmla="*/ 6261344 w 6261344"/>
                  <a:gd name="connsiteY50" fmla="*/ 67137 h 228614"/>
                  <a:gd name="connsiteX51" fmla="*/ 6255938 w 6261344"/>
                  <a:gd name="connsiteY51" fmla="*/ 91551 h 228614"/>
                  <a:gd name="connsiteX52" fmla="*/ 6216354 w 6261344"/>
                  <a:gd name="connsiteY52" fmla="*/ 91551 h 228614"/>
                  <a:gd name="connsiteX53" fmla="*/ 6206240 w 6261344"/>
                  <a:gd name="connsiteY53" fmla="*/ 139680 h 228614"/>
                  <a:gd name="connsiteX54" fmla="*/ 6249486 w 6261344"/>
                  <a:gd name="connsiteY54" fmla="*/ 139680 h 228614"/>
                  <a:gd name="connsiteX55" fmla="*/ 6243382 w 6261344"/>
                  <a:gd name="connsiteY55" fmla="*/ 164093 h 228614"/>
                  <a:gd name="connsiteX56" fmla="*/ 6201183 w 6261344"/>
                  <a:gd name="connsiteY56" fmla="*/ 164093 h 228614"/>
                  <a:gd name="connsiteX57" fmla="*/ 6186883 w 6261344"/>
                  <a:gd name="connsiteY57" fmla="*/ 228614 h 228614"/>
                  <a:gd name="connsiteX58" fmla="*/ 6159156 w 6261344"/>
                  <a:gd name="connsiteY58" fmla="*/ 228614 h 228614"/>
                  <a:gd name="connsiteX59" fmla="*/ 6173107 w 6261344"/>
                  <a:gd name="connsiteY59" fmla="*/ 164093 h 228614"/>
                  <a:gd name="connsiteX60" fmla="*/ 6130907 w 6261344"/>
                  <a:gd name="connsiteY60" fmla="*/ 164093 h 228614"/>
                  <a:gd name="connsiteX61" fmla="*/ 6117305 w 6261344"/>
                  <a:gd name="connsiteY61" fmla="*/ 228614 h 228614"/>
                  <a:gd name="connsiteX62" fmla="*/ 6089579 w 6261344"/>
                  <a:gd name="connsiteY62" fmla="*/ 228614 h 228614"/>
                  <a:gd name="connsiteX63" fmla="*/ 6103180 w 6261344"/>
                  <a:gd name="connsiteY63" fmla="*/ 164093 h 228614"/>
                  <a:gd name="connsiteX64" fmla="*/ 6063247 w 6261344"/>
                  <a:gd name="connsiteY64" fmla="*/ 164093 h 228614"/>
                  <a:gd name="connsiteX65" fmla="*/ 6068129 w 6261344"/>
                  <a:gd name="connsiteY65" fmla="*/ 139680 h 228614"/>
                  <a:gd name="connsiteX66" fmla="*/ 6108586 w 6261344"/>
                  <a:gd name="connsiteY66" fmla="*/ 139680 h 228614"/>
                  <a:gd name="connsiteX67" fmla="*/ 6118177 w 6261344"/>
                  <a:gd name="connsiteY67" fmla="*/ 91551 h 228614"/>
                  <a:gd name="connsiteX68" fmla="*/ 6075628 w 6261344"/>
                  <a:gd name="connsiteY68" fmla="*/ 91551 h 228614"/>
                  <a:gd name="connsiteX69" fmla="*/ 6080685 w 6261344"/>
                  <a:gd name="connsiteY69" fmla="*/ 67137 h 228614"/>
                  <a:gd name="connsiteX70" fmla="*/ 6123234 w 6261344"/>
                  <a:gd name="connsiteY70" fmla="*/ 67137 h 228614"/>
                  <a:gd name="connsiteX71" fmla="*/ 73938 w 6261344"/>
                  <a:gd name="connsiteY71" fmla="*/ 0 h 228614"/>
                  <a:gd name="connsiteX72" fmla="*/ 102013 w 6261344"/>
                  <a:gd name="connsiteY72" fmla="*/ 0 h 228614"/>
                  <a:gd name="connsiteX73" fmla="*/ 88237 w 6261344"/>
                  <a:gd name="connsiteY73" fmla="*/ 67137 h 228614"/>
                  <a:gd name="connsiteX74" fmla="*/ 130437 w 6261344"/>
                  <a:gd name="connsiteY74" fmla="*/ 67137 h 228614"/>
                  <a:gd name="connsiteX75" fmla="*/ 144736 w 6261344"/>
                  <a:gd name="connsiteY75" fmla="*/ 0 h 228614"/>
                  <a:gd name="connsiteX76" fmla="*/ 172289 w 6261344"/>
                  <a:gd name="connsiteY76" fmla="*/ 0 h 228614"/>
                  <a:gd name="connsiteX77" fmla="*/ 158338 w 6261344"/>
                  <a:gd name="connsiteY77" fmla="*/ 67137 h 228614"/>
                  <a:gd name="connsiteX78" fmla="*/ 198097 w 6261344"/>
                  <a:gd name="connsiteY78" fmla="*/ 67137 h 228614"/>
                  <a:gd name="connsiteX79" fmla="*/ 192692 w 6261344"/>
                  <a:gd name="connsiteY79" fmla="*/ 91551 h 228614"/>
                  <a:gd name="connsiteX80" fmla="*/ 153107 w 6261344"/>
                  <a:gd name="connsiteY80" fmla="*/ 91551 h 228614"/>
                  <a:gd name="connsiteX81" fmla="*/ 142993 w 6261344"/>
                  <a:gd name="connsiteY81" fmla="*/ 139680 h 228614"/>
                  <a:gd name="connsiteX82" fmla="*/ 186239 w 6261344"/>
                  <a:gd name="connsiteY82" fmla="*/ 139680 h 228614"/>
                  <a:gd name="connsiteX83" fmla="*/ 180136 w 6261344"/>
                  <a:gd name="connsiteY83" fmla="*/ 164093 h 228614"/>
                  <a:gd name="connsiteX84" fmla="*/ 137936 w 6261344"/>
                  <a:gd name="connsiteY84" fmla="*/ 164093 h 228614"/>
                  <a:gd name="connsiteX85" fmla="*/ 123636 w 6261344"/>
                  <a:gd name="connsiteY85" fmla="*/ 228614 h 228614"/>
                  <a:gd name="connsiteX86" fmla="*/ 95909 w 6261344"/>
                  <a:gd name="connsiteY86" fmla="*/ 228614 h 228614"/>
                  <a:gd name="connsiteX87" fmla="*/ 109860 w 6261344"/>
                  <a:gd name="connsiteY87" fmla="*/ 164093 h 228614"/>
                  <a:gd name="connsiteX88" fmla="*/ 67660 w 6261344"/>
                  <a:gd name="connsiteY88" fmla="*/ 164093 h 228614"/>
                  <a:gd name="connsiteX89" fmla="*/ 54058 w 6261344"/>
                  <a:gd name="connsiteY89" fmla="*/ 228614 h 228614"/>
                  <a:gd name="connsiteX90" fmla="*/ 26332 w 6261344"/>
                  <a:gd name="connsiteY90" fmla="*/ 228614 h 228614"/>
                  <a:gd name="connsiteX91" fmla="*/ 39934 w 6261344"/>
                  <a:gd name="connsiteY91" fmla="*/ 164093 h 228614"/>
                  <a:gd name="connsiteX92" fmla="*/ 0 w 6261344"/>
                  <a:gd name="connsiteY92" fmla="*/ 164093 h 228614"/>
                  <a:gd name="connsiteX93" fmla="*/ 4883 w 6261344"/>
                  <a:gd name="connsiteY93" fmla="*/ 139680 h 228614"/>
                  <a:gd name="connsiteX94" fmla="*/ 45339 w 6261344"/>
                  <a:gd name="connsiteY94" fmla="*/ 139680 h 228614"/>
                  <a:gd name="connsiteX95" fmla="*/ 54930 w 6261344"/>
                  <a:gd name="connsiteY95" fmla="*/ 91551 h 228614"/>
                  <a:gd name="connsiteX96" fmla="*/ 12381 w 6261344"/>
                  <a:gd name="connsiteY96" fmla="*/ 91551 h 228614"/>
                  <a:gd name="connsiteX97" fmla="*/ 17438 w 6261344"/>
                  <a:gd name="connsiteY97" fmla="*/ 67137 h 228614"/>
                  <a:gd name="connsiteX98" fmla="*/ 59987 w 6261344"/>
                  <a:gd name="connsiteY98" fmla="*/ 67137 h 2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61344" h="228614">
                    <a:moveTo>
                      <a:pt x="6146252" y="91551"/>
                    </a:moveTo>
                    <a:lnTo>
                      <a:pt x="6135790" y="139680"/>
                    </a:lnTo>
                    <a:lnTo>
                      <a:pt x="6178513" y="139680"/>
                    </a:lnTo>
                    <a:lnTo>
                      <a:pt x="6188801" y="91551"/>
                    </a:lnTo>
                    <a:close/>
                    <a:moveTo>
                      <a:pt x="83005" y="91551"/>
                    </a:moveTo>
                    <a:lnTo>
                      <a:pt x="72543" y="139680"/>
                    </a:lnTo>
                    <a:lnTo>
                      <a:pt x="115266" y="139680"/>
                    </a:lnTo>
                    <a:lnTo>
                      <a:pt x="125554" y="91551"/>
                    </a:lnTo>
                    <a:close/>
                    <a:moveTo>
                      <a:pt x="1488441" y="2817"/>
                    </a:moveTo>
                    <a:cubicBezTo>
                      <a:pt x="1518340" y="3155"/>
                      <a:pt x="1533290" y="16162"/>
                      <a:pt x="1533290" y="41838"/>
                    </a:cubicBezTo>
                    <a:lnTo>
                      <a:pt x="1533290" y="78199"/>
                    </a:lnTo>
                    <a:cubicBezTo>
                      <a:pt x="1533290" y="95261"/>
                      <a:pt x="1539835" y="104214"/>
                      <a:pt x="1552927" y="105059"/>
                    </a:cubicBezTo>
                    <a:lnTo>
                      <a:pt x="1552927" y="123555"/>
                    </a:lnTo>
                    <a:cubicBezTo>
                      <a:pt x="1539835" y="124400"/>
                      <a:pt x="1533290" y="133184"/>
                      <a:pt x="1533290" y="149908"/>
                    </a:cubicBezTo>
                    <a:lnTo>
                      <a:pt x="1533290" y="187283"/>
                    </a:lnTo>
                    <a:cubicBezTo>
                      <a:pt x="1533290" y="212621"/>
                      <a:pt x="1518340" y="225459"/>
                      <a:pt x="1488441" y="225797"/>
                    </a:cubicBezTo>
                    <a:lnTo>
                      <a:pt x="1488441" y="206286"/>
                    </a:lnTo>
                    <a:cubicBezTo>
                      <a:pt x="1495788" y="206117"/>
                      <a:pt x="1501004" y="204090"/>
                      <a:pt x="1504087" y="200205"/>
                    </a:cubicBezTo>
                    <a:cubicBezTo>
                      <a:pt x="1507170" y="196320"/>
                      <a:pt x="1508711" y="189901"/>
                      <a:pt x="1508711" y="180948"/>
                    </a:cubicBezTo>
                    <a:lnTo>
                      <a:pt x="1508711" y="145600"/>
                    </a:lnTo>
                    <a:cubicBezTo>
                      <a:pt x="1508711" y="128455"/>
                      <a:pt x="1517031" y="118023"/>
                      <a:pt x="1533670" y="114307"/>
                    </a:cubicBezTo>
                    <a:lnTo>
                      <a:pt x="1533670" y="113927"/>
                    </a:lnTo>
                    <a:cubicBezTo>
                      <a:pt x="1517031" y="109957"/>
                      <a:pt x="1508711" y="99442"/>
                      <a:pt x="1508711" y="82380"/>
                    </a:cubicBezTo>
                    <a:lnTo>
                      <a:pt x="1508711" y="46653"/>
                    </a:lnTo>
                    <a:cubicBezTo>
                      <a:pt x="1508711" y="30858"/>
                      <a:pt x="1501954" y="22792"/>
                      <a:pt x="1488441" y="22455"/>
                    </a:cubicBezTo>
                    <a:close/>
                    <a:moveTo>
                      <a:pt x="1470956" y="2817"/>
                    </a:moveTo>
                    <a:lnTo>
                      <a:pt x="1470956" y="22455"/>
                    </a:lnTo>
                    <a:cubicBezTo>
                      <a:pt x="1457527" y="22792"/>
                      <a:pt x="1450812" y="30858"/>
                      <a:pt x="1450812" y="46653"/>
                    </a:cubicBezTo>
                    <a:lnTo>
                      <a:pt x="1450812" y="82380"/>
                    </a:lnTo>
                    <a:cubicBezTo>
                      <a:pt x="1450812" y="99442"/>
                      <a:pt x="1442408" y="109957"/>
                      <a:pt x="1425600" y="113927"/>
                    </a:cubicBezTo>
                    <a:lnTo>
                      <a:pt x="1425600" y="114307"/>
                    </a:lnTo>
                    <a:cubicBezTo>
                      <a:pt x="1442408" y="118023"/>
                      <a:pt x="1450812" y="128455"/>
                      <a:pt x="1450812" y="145600"/>
                    </a:cubicBezTo>
                    <a:lnTo>
                      <a:pt x="1450812" y="180948"/>
                    </a:lnTo>
                    <a:cubicBezTo>
                      <a:pt x="1450812" y="189985"/>
                      <a:pt x="1452311" y="196425"/>
                      <a:pt x="1455310" y="200268"/>
                    </a:cubicBezTo>
                    <a:cubicBezTo>
                      <a:pt x="1458308" y="204111"/>
                      <a:pt x="1463524" y="206117"/>
                      <a:pt x="1470956" y="206286"/>
                    </a:cubicBezTo>
                    <a:lnTo>
                      <a:pt x="1470956" y="225797"/>
                    </a:lnTo>
                    <a:cubicBezTo>
                      <a:pt x="1440887" y="225459"/>
                      <a:pt x="1425854" y="212621"/>
                      <a:pt x="1425854" y="187283"/>
                    </a:cubicBezTo>
                    <a:lnTo>
                      <a:pt x="1425854" y="149908"/>
                    </a:lnTo>
                    <a:cubicBezTo>
                      <a:pt x="1425854" y="133184"/>
                      <a:pt x="1419265" y="124400"/>
                      <a:pt x="1406089" y="123555"/>
                    </a:cubicBezTo>
                    <a:lnTo>
                      <a:pt x="1406089" y="105059"/>
                    </a:lnTo>
                    <a:cubicBezTo>
                      <a:pt x="1419265" y="104214"/>
                      <a:pt x="1425854" y="95261"/>
                      <a:pt x="1425854" y="78199"/>
                    </a:cubicBezTo>
                    <a:lnTo>
                      <a:pt x="1425854" y="41838"/>
                    </a:lnTo>
                    <a:cubicBezTo>
                      <a:pt x="1425854" y="16162"/>
                      <a:pt x="1440887" y="3155"/>
                      <a:pt x="1470956" y="2817"/>
                    </a:cubicBezTo>
                    <a:close/>
                    <a:moveTo>
                      <a:pt x="6137185" y="0"/>
                    </a:moveTo>
                    <a:lnTo>
                      <a:pt x="6165260" y="0"/>
                    </a:lnTo>
                    <a:lnTo>
                      <a:pt x="6151484" y="67137"/>
                    </a:lnTo>
                    <a:lnTo>
                      <a:pt x="6193684" y="67137"/>
                    </a:lnTo>
                    <a:lnTo>
                      <a:pt x="6207983" y="0"/>
                    </a:lnTo>
                    <a:lnTo>
                      <a:pt x="6235536" y="0"/>
                    </a:lnTo>
                    <a:lnTo>
                      <a:pt x="6221585" y="67137"/>
                    </a:lnTo>
                    <a:lnTo>
                      <a:pt x="6261344" y="67137"/>
                    </a:lnTo>
                    <a:lnTo>
                      <a:pt x="6255938" y="91551"/>
                    </a:lnTo>
                    <a:lnTo>
                      <a:pt x="6216354" y="91551"/>
                    </a:lnTo>
                    <a:lnTo>
                      <a:pt x="6206240" y="139680"/>
                    </a:lnTo>
                    <a:lnTo>
                      <a:pt x="6249486" y="139680"/>
                    </a:lnTo>
                    <a:lnTo>
                      <a:pt x="6243382" y="164093"/>
                    </a:lnTo>
                    <a:lnTo>
                      <a:pt x="6201183" y="164093"/>
                    </a:lnTo>
                    <a:lnTo>
                      <a:pt x="6186883" y="228614"/>
                    </a:lnTo>
                    <a:lnTo>
                      <a:pt x="6159156" y="228614"/>
                    </a:lnTo>
                    <a:lnTo>
                      <a:pt x="6173107" y="164093"/>
                    </a:lnTo>
                    <a:lnTo>
                      <a:pt x="6130907" y="164093"/>
                    </a:lnTo>
                    <a:lnTo>
                      <a:pt x="6117305" y="228614"/>
                    </a:lnTo>
                    <a:lnTo>
                      <a:pt x="6089579" y="228614"/>
                    </a:lnTo>
                    <a:lnTo>
                      <a:pt x="6103180" y="164093"/>
                    </a:lnTo>
                    <a:lnTo>
                      <a:pt x="6063247" y="164093"/>
                    </a:lnTo>
                    <a:lnTo>
                      <a:pt x="6068129" y="139680"/>
                    </a:lnTo>
                    <a:lnTo>
                      <a:pt x="6108586" y="139680"/>
                    </a:lnTo>
                    <a:lnTo>
                      <a:pt x="6118177" y="91551"/>
                    </a:lnTo>
                    <a:lnTo>
                      <a:pt x="6075628" y="91551"/>
                    </a:lnTo>
                    <a:lnTo>
                      <a:pt x="6080685" y="67137"/>
                    </a:lnTo>
                    <a:lnTo>
                      <a:pt x="6123234" y="67137"/>
                    </a:lnTo>
                    <a:close/>
                    <a:moveTo>
                      <a:pt x="73938" y="0"/>
                    </a:moveTo>
                    <a:lnTo>
                      <a:pt x="102013" y="0"/>
                    </a:lnTo>
                    <a:lnTo>
                      <a:pt x="88237" y="67137"/>
                    </a:lnTo>
                    <a:lnTo>
                      <a:pt x="130437" y="67137"/>
                    </a:lnTo>
                    <a:lnTo>
                      <a:pt x="144736" y="0"/>
                    </a:lnTo>
                    <a:lnTo>
                      <a:pt x="172289" y="0"/>
                    </a:lnTo>
                    <a:lnTo>
                      <a:pt x="158338" y="67137"/>
                    </a:lnTo>
                    <a:lnTo>
                      <a:pt x="198097" y="67137"/>
                    </a:lnTo>
                    <a:lnTo>
                      <a:pt x="192692" y="91551"/>
                    </a:lnTo>
                    <a:lnTo>
                      <a:pt x="153107" y="91551"/>
                    </a:lnTo>
                    <a:lnTo>
                      <a:pt x="142993" y="139680"/>
                    </a:lnTo>
                    <a:lnTo>
                      <a:pt x="186239" y="139680"/>
                    </a:lnTo>
                    <a:lnTo>
                      <a:pt x="180136" y="164093"/>
                    </a:lnTo>
                    <a:lnTo>
                      <a:pt x="137936" y="164093"/>
                    </a:lnTo>
                    <a:lnTo>
                      <a:pt x="123636" y="228614"/>
                    </a:lnTo>
                    <a:lnTo>
                      <a:pt x="95909" y="228614"/>
                    </a:lnTo>
                    <a:lnTo>
                      <a:pt x="109860" y="164093"/>
                    </a:lnTo>
                    <a:lnTo>
                      <a:pt x="67660" y="164093"/>
                    </a:lnTo>
                    <a:lnTo>
                      <a:pt x="54058" y="228614"/>
                    </a:lnTo>
                    <a:lnTo>
                      <a:pt x="26332" y="228614"/>
                    </a:lnTo>
                    <a:lnTo>
                      <a:pt x="39934" y="164093"/>
                    </a:lnTo>
                    <a:lnTo>
                      <a:pt x="0" y="164093"/>
                    </a:lnTo>
                    <a:lnTo>
                      <a:pt x="4883" y="139680"/>
                    </a:lnTo>
                    <a:lnTo>
                      <a:pt x="45339" y="139680"/>
                    </a:lnTo>
                    <a:lnTo>
                      <a:pt x="54930" y="91551"/>
                    </a:lnTo>
                    <a:lnTo>
                      <a:pt x="12381" y="91551"/>
                    </a:lnTo>
                    <a:lnTo>
                      <a:pt x="17438" y="67137"/>
                    </a:lnTo>
                    <a:lnTo>
                      <a:pt x="59987" y="671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9" name="Freeform 398"/>
              <p:cNvSpPr/>
              <p:nvPr/>
            </p:nvSpPr>
            <p:spPr>
              <a:xfrm>
                <a:off x="2233754" y="706636"/>
                <a:ext cx="9709870" cy="222980"/>
              </a:xfrm>
              <a:custGeom>
                <a:avLst/>
                <a:gdLst>
                  <a:gd name="connsiteX0" fmla="*/ 9645383 w 9709870"/>
                  <a:gd name="connsiteY0" fmla="*/ 0 h 222980"/>
                  <a:gd name="connsiteX1" fmla="*/ 9690232 w 9709870"/>
                  <a:gd name="connsiteY1" fmla="*/ 39021 h 222980"/>
                  <a:gd name="connsiteX2" fmla="*/ 9690232 w 9709870"/>
                  <a:gd name="connsiteY2" fmla="*/ 75382 h 222980"/>
                  <a:gd name="connsiteX3" fmla="*/ 9709870 w 9709870"/>
                  <a:gd name="connsiteY3" fmla="*/ 102242 h 222980"/>
                  <a:gd name="connsiteX4" fmla="*/ 9709870 w 9709870"/>
                  <a:gd name="connsiteY4" fmla="*/ 120738 h 222980"/>
                  <a:gd name="connsiteX5" fmla="*/ 9690232 w 9709870"/>
                  <a:gd name="connsiteY5" fmla="*/ 147091 h 222980"/>
                  <a:gd name="connsiteX6" fmla="*/ 9690232 w 9709870"/>
                  <a:gd name="connsiteY6" fmla="*/ 184466 h 222980"/>
                  <a:gd name="connsiteX7" fmla="*/ 9645383 w 9709870"/>
                  <a:gd name="connsiteY7" fmla="*/ 222980 h 222980"/>
                  <a:gd name="connsiteX8" fmla="*/ 9645383 w 9709870"/>
                  <a:gd name="connsiteY8" fmla="*/ 203469 h 222980"/>
                  <a:gd name="connsiteX9" fmla="*/ 9661030 w 9709870"/>
                  <a:gd name="connsiteY9" fmla="*/ 197388 h 222980"/>
                  <a:gd name="connsiteX10" fmla="*/ 9665654 w 9709870"/>
                  <a:gd name="connsiteY10" fmla="*/ 178131 h 222980"/>
                  <a:gd name="connsiteX11" fmla="*/ 9665654 w 9709870"/>
                  <a:gd name="connsiteY11" fmla="*/ 142783 h 222980"/>
                  <a:gd name="connsiteX12" fmla="*/ 9690613 w 9709870"/>
                  <a:gd name="connsiteY12" fmla="*/ 111490 h 222980"/>
                  <a:gd name="connsiteX13" fmla="*/ 9690613 w 9709870"/>
                  <a:gd name="connsiteY13" fmla="*/ 111110 h 222980"/>
                  <a:gd name="connsiteX14" fmla="*/ 9665654 w 9709870"/>
                  <a:gd name="connsiteY14" fmla="*/ 79563 h 222980"/>
                  <a:gd name="connsiteX15" fmla="*/ 9665654 w 9709870"/>
                  <a:gd name="connsiteY15" fmla="*/ 43836 h 222980"/>
                  <a:gd name="connsiteX16" fmla="*/ 9645383 w 9709870"/>
                  <a:gd name="connsiteY16" fmla="*/ 19638 h 222980"/>
                  <a:gd name="connsiteX17" fmla="*/ 9627899 w 9709870"/>
                  <a:gd name="connsiteY17" fmla="*/ 0 h 222980"/>
                  <a:gd name="connsiteX18" fmla="*/ 9627899 w 9709870"/>
                  <a:gd name="connsiteY18" fmla="*/ 19638 h 222980"/>
                  <a:gd name="connsiteX19" fmla="*/ 9607755 w 9709870"/>
                  <a:gd name="connsiteY19" fmla="*/ 43836 h 222980"/>
                  <a:gd name="connsiteX20" fmla="*/ 9607755 w 9709870"/>
                  <a:gd name="connsiteY20" fmla="*/ 79563 h 222980"/>
                  <a:gd name="connsiteX21" fmla="*/ 9582543 w 9709870"/>
                  <a:gd name="connsiteY21" fmla="*/ 111110 h 222980"/>
                  <a:gd name="connsiteX22" fmla="*/ 9582543 w 9709870"/>
                  <a:gd name="connsiteY22" fmla="*/ 111490 h 222980"/>
                  <a:gd name="connsiteX23" fmla="*/ 9607755 w 9709870"/>
                  <a:gd name="connsiteY23" fmla="*/ 142783 h 222980"/>
                  <a:gd name="connsiteX24" fmla="*/ 9607755 w 9709870"/>
                  <a:gd name="connsiteY24" fmla="*/ 178131 h 222980"/>
                  <a:gd name="connsiteX25" fmla="*/ 9612253 w 9709870"/>
                  <a:gd name="connsiteY25" fmla="*/ 197451 h 222980"/>
                  <a:gd name="connsiteX26" fmla="*/ 9627899 w 9709870"/>
                  <a:gd name="connsiteY26" fmla="*/ 203469 h 222980"/>
                  <a:gd name="connsiteX27" fmla="*/ 9627899 w 9709870"/>
                  <a:gd name="connsiteY27" fmla="*/ 222980 h 222980"/>
                  <a:gd name="connsiteX28" fmla="*/ 9582796 w 9709870"/>
                  <a:gd name="connsiteY28" fmla="*/ 184466 h 222980"/>
                  <a:gd name="connsiteX29" fmla="*/ 9582796 w 9709870"/>
                  <a:gd name="connsiteY29" fmla="*/ 147091 h 222980"/>
                  <a:gd name="connsiteX30" fmla="*/ 9563032 w 9709870"/>
                  <a:gd name="connsiteY30" fmla="*/ 120738 h 222980"/>
                  <a:gd name="connsiteX31" fmla="*/ 9563032 w 9709870"/>
                  <a:gd name="connsiteY31" fmla="*/ 102242 h 222980"/>
                  <a:gd name="connsiteX32" fmla="*/ 9582796 w 9709870"/>
                  <a:gd name="connsiteY32" fmla="*/ 75382 h 222980"/>
                  <a:gd name="connsiteX33" fmla="*/ 9582796 w 9709870"/>
                  <a:gd name="connsiteY33" fmla="*/ 39021 h 222980"/>
                  <a:gd name="connsiteX34" fmla="*/ 9627899 w 9709870"/>
                  <a:gd name="connsiteY34" fmla="*/ 0 h 222980"/>
                  <a:gd name="connsiteX35" fmla="*/ 8971360 w 9709870"/>
                  <a:gd name="connsiteY35" fmla="*/ 0 h 222980"/>
                  <a:gd name="connsiteX36" fmla="*/ 9016209 w 9709870"/>
                  <a:gd name="connsiteY36" fmla="*/ 39021 h 222980"/>
                  <a:gd name="connsiteX37" fmla="*/ 9016209 w 9709870"/>
                  <a:gd name="connsiteY37" fmla="*/ 75382 h 222980"/>
                  <a:gd name="connsiteX38" fmla="*/ 9035847 w 9709870"/>
                  <a:gd name="connsiteY38" fmla="*/ 102242 h 222980"/>
                  <a:gd name="connsiteX39" fmla="*/ 9035847 w 9709870"/>
                  <a:gd name="connsiteY39" fmla="*/ 120738 h 222980"/>
                  <a:gd name="connsiteX40" fmla="*/ 9016209 w 9709870"/>
                  <a:gd name="connsiteY40" fmla="*/ 147091 h 222980"/>
                  <a:gd name="connsiteX41" fmla="*/ 9016209 w 9709870"/>
                  <a:gd name="connsiteY41" fmla="*/ 184466 h 222980"/>
                  <a:gd name="connsiteX42" fmla="*/ 8971360 w 9709870"/>
                  <a:gd name="connsiteY42" fmla="*/ 222980 h 222980"/>
                  <a:gd name="connsiteX43" fmla="*/ 8971360 w 9709870"/>
                  <a:gd name="connsiteY43" fmla="*/ 203469 h 222980"/>
                  <a:gd name="connsiteX44" fmla="*/ 8987007 w 9709870"/>
                  <a:gd name="connsiteY44" fmla="*/ 197388 h 222980"/>
                  <a:gd name="connsiteX45" fmla="*/ 8991631 w 9709870"/>
                  <a:gd name="connsiteY45" fmla="*/ 178131 h 222980"/>
                  <a:gd name="connsiteX46" fmla="*/ 8991631 w 9709870"/>
                  <a:gd name="connsiteY46" fmla="*/ 142783 h 222980"/>
                  <a:gd name="connsiteX47" fmla="*/ 9016590 w 9709870"/>
                  <a:gd name="connsiteY47" fmla="*/ 111490 h 222980"/>
                  <a:gd name="connsiteX48" fmla="*/ 9016590 w 9709870"/>
                  <a:gd name="connsiteY48" fmla="*/ 111110 h 222980"/>
                  <a:gd name="connsiteX49" fmla="*/ 8991631 w 9709870"/>
                  <a:gd name="connsiteY49" fmla="*/ 79563 h 222980"/>
                  <a:gd name="connsiteX50" fmla="*/ 8991631 w 9709870"/>
                  <a:gd name="connsiteY50" fmla="*/ 43836 h 222980"/>
                  <a:gd name="connsiteX51" fmla="*/ 8971360 w 9709870"/>
                  <a:gd name="connsiteY51" fmla="*/ 19638 h 222980"/>
                  <a:gd name="connsiteX52" fmla="*/ 8953876 w 9709870"/>
                  <a:gd name="connsiteY52" fmla="*/ 0 h 222980"/>
                  <a:gd name="connsiteX53" fmla="*/ 8953876 w 9709870"/>
                  <a:gd name="connsiteY53" fmla="*/ 19638 h 222980"/>
                  <a:gd name="connsiteX54" fmla="*/ 8933732 w 9709870"/>
                  <a:gd name="connsiteY54" fmla="*/ 43836 h 222980"/>
                  <a:gd name="connsiteX55" fmla="*/ 8933732 w 9709870"/>
                  <a:gd name="connsiteY55" fmla="*/ 79563 h 222980"/>
                  <a:gd name="connsiteX56" fmla="*/ 8908520 w 9709870"/>
                  <a:gd name="connsiteY56" fmla="*/ 111110 h 222980"/>
                  <a:gd name="connsiteX57" fmla="*/ 8908520 w 9709870"/>
                  <a:gd name="connsiteY57" fmla="*/ 111490 h 222980"/>
                  <a:gd name="connsiteX58" fmla="*/ 8933732 w 9709870"/>
                  <a:gd name="connsiteY58" fmla="*/ 142783 h 222980"/>
                  <a:gd name="connsiteX59" fmla="*/ 8933732 w 9709870"/>
                  <a:gd name="connsiteY59" fmla="*/ 178131 h 222980"/>
                  <a:gd name="connsiteX60" fmla="*/ 8938230 w 9709870"/>
                  <a:gd name="connsiteY60" fmla="*/ 197451 h 222980"/>
                  <a:gd name="connsiteX61" fmla="*/ 8953876 w 9709870"/>
                  <a:gd name="connsiteY61" fmla="*/ 203469 h 222980"/>
                  <a:gd name="connsiteX62" fmla="*/ 8953876 w 9709870"/>
                  <a:gd name="connsiteY62" fmla="*/ 222980 h 222980"/>
                  <a:gd name="connsiteX63" fmla="*/ 8908773 w 9709870"/>
                  <a:gd name="connsiteY63" fmla="*/ 184466 h 222980"/>
                  <a:gd name="connsiteX64" fmla="*/ 8908773 w 9709870"/>
                  <a:gd name="connsiteY64" fmla="*/ 147091 h 222980"/>
                  <a:gd name="connsiteX65" fmla="*/ 8889009 w 9709870"/>
                  <a:gd name="connsiteY65" fmla="*/ 120738 h 222980"/>
                  <a:gd name="connsiteX66" fmla="*/ 8889009 w 9709870"/>
                  <a:gd name="connsiteY66" fmla="*/ 102242 h 222980"/>
                  <a:gd name="connsiteX67" fmla="*/ 8908773 w 9709870"/>
                  <a:gd name="connsiteY67" fmla="*/ 75382 h 222980"/>
                  <a:gd name="connsiteX68" fmla="*/ 8908773 w 9709870"/>
                  <a:gd name="connsiteY68" fmla="*/ 39021 h 222980"/>
                  <a:gd name="connsiteX69" fmla="*/ 8953876 w 9709870"/>
                  <a:gd name="connsiteY69" fmla="*/ 0 h 222980"/>
                  <a:gd name="connsiteX70" fmla="*/ 7772910 w 9709870"/>
                  <a:gd name="connsiteY70" fmla="*/ 0 h 222980"/>
                  <a:gd name="connsiteX71" fmla="*/ 7817759 w 9709870"/>
                  <a:gd name="connsiteY71" fmla="*/ 39021 h 222980"/>
                  <a:gd name="connsiteX72" fmla="*/ 7817759 w 9709870"/>
                  <a:gd name="connsiteY72" fmla="*/ 75382 h 222980"/>
                  <a:gd name="connsiteX73" fmla="*/ 7837397 w 9709870"/>
                  <a:gd name="connsiteY73" fmla="*/ 102242 h 222980"/>
                  <a:gd name="connsiteX74" fmla="*/ 7837397 w 9709870"/>
                  <a:gd name="connsiteY74" fmla="*/ 120738 h 222980"/>
                  <a:gd name="connsiteX75" fmla="*/ 7817759 w 9709870"/>
                  <a:gd name="connsiteY75" fmla="*/ 147091 h 222980"/>
                  <a:gd name="connsiteX76" fmla="*/ 7817759 w 9709870"/>
                  <a:gd name="connsiteY76" fmla="*/ 184466 h 222980"/>
                  <a:gd name="connsiteX77" fmla="*/ 7772910 w 9709870"/>
                  <a:gd name="connsiteY77" fmla="*/ 222980 h 222980"/>
                  <a:gd name="connsiteX78" fmla="*/ 7772910 w 9709870"/>
                  <a:gd name="connsiteY78" fmla="*/ 203469 h 222980"/>
                  <a:gd name="connsiteX79" fmla="*/ 7788557 w 9709870"/>
                  <a:gd name="connsiteY79" fmla="*/ 197388 h 222980"/>
                  <a:gd name="connsiteX80" fmla="*/ 7793181 w 9709870"/>
                  <a:gd name="connsiteY80" fmla="*/ 178131 h 222980"/>
                  <a:gd name="connsiteX81" fmla="*/ 7793181 w 9709870"/>
                  <a:gd name="connsiteY81" fmla="*/ 142783 h 222980"/>
                  <a:gd name="connsiteX82" fmla="*/ 7818140 w 9709870"/>
                  <a:gd name="connsiteY82" fmla="*/ 111490 h 222980"/>
                  <a:gd name="connsiteX83" fmla="*/ 7818140 w 9709870"/>
                  <a:gd name="connsiteY83" fmla="*/ 111110 h 222980"/>
                  <a:gd name="connsiteX84" fmla="*/ 7793181 w 9709870"/>
                  <a:gd name="connsiteY84" fmla="*/ 79563 h 222980"/>
                  <a:gd name="connsiteX85" fmla="*/ 7793181 w 9709870"/>
                  <a:gd name="connsiteY85" fmla="*/ 43836 h 222980"/>
                  <a:gd name="connsiteX86" fmla="*/ 7772910 w 9709870"/>
                  <a:gd name="connsiteY86" fmla="*/ 19638 h 222980"/>
                  <a:gd name="connsiteX87" fmla="*/ 7755426 w 9709870"/>
                  <a:gd name="connsiteY87" fmla="*/ 0 h 222980"/>
                  <a:gd name="connsiteX88" fmla="*/ 7755426 w 9709870"/>
                  <a:gd name="connsiteY88" fmla="*/ 19638 h 222980"/>
                  <a:gd name="connsiteX89" fmla="*/ 7735282 w 9709870"/>
                  <a:gd name="connsiteY89" fmla="*/ 43836 h 222980"/>
                  <a:gd name="connsiteX90" fmla="*/ 7735282 w 9709870"/>
                  <a:gd name="connsiteY90" fmla="*/ 79563 h 222980"/>
                  <a:gd name="connsiteX91" fmla="*/ 7710070 w 9709870"/>
                  <a:gd name="connsiteY91" fmla="*/ 111110 h 222980"/>
                  <a:gd name="connsiteX92" fmla="*/ 7710070 w 9709870"/>
                  <a:gd name="connsiteY92" fmla="*/ 111490 h 222980"/>
                  <a:gd name="connsiteX93" fmla="*/ 7735282 w 9709870"/>
                  <a:gd name="connsiteY93" fmla="*/ 142783 h 222980"/>
                  <a:gd name="connsiteX94" fmla="*/ 7735282 w 9709870"/>
                  <a:gd name="connsiteY94" fmla="*/ 178131 h 222980"/>
                  <a:gd name="connsiteX95" fmla="*/ 7739780 w 9709870"/>
                  <a:gd name="connsiteY95" fmla="*/ 197451 h 222980"/>
                  <a:gd name="connsiteX96" fmla="*/ 7755426 w 9709870"/>
                  <a:gd name="connsiteY96" fmla="*/ 203469 h 222980"/>
                  <a:gd name="connsiteX97" fmla="*/ 7755426 w 9709870"/>
                  <a:gd name="connsiteY97" fmla="*/ 222980 h 222980"/>
                  <a:gd name="connsiteX98" fmla="*/ 7710323 w 9709870"/>
                  <a:gd name="connsiteY98" fmla="*/ 184466 h 222980"/>
                  <a:gd name="connsiteX99" fmla="*/ 7710323 w 9709870"/>
                  <a:gd name="connsiteY99" fmla="*/ 147091 h 222980"/>
                  <a:gd name="connsiteX100" fmla="*/ 7690559 w 9709870"/>
                  <a:gd name="connsiteY100" fmla="*/ 120738 h 222980"/>
                  <a:gd name="connsiteX101" fmla="*/ 7690559 w 9709870"/>
                  <a:gd name="connsiteY101" fmla="*/ 102242 h 222980"/>
                  <a:gd name="connsiteX102" fmla="*/ 7710323 w 9709870"/>
                  <a:gd name="connsiteY102" fmla="*/ 75382 h 222980"/>
                  <a:gd name="connsiteX103" fmla="*/ 7710323 w 9709870"/>
                  <a:gd name="connsiteY103" fmla="*/ 39021 h 222980"/>
                  <a:gd name="connsiteX104" fmla="*/ 7755426 w 9709870"/>
                  <a:gd name="connsiteY104" fmla="*/ 0 h 222980"/>
                  <a:gd name="connsiteX105" fmla="*/ 6148708 w 9709870"/>
                  <a:gd name="connsiteY105" fmla="*/ 0 h 222980"/>
                  <a:gd name="connsiteX106" fmla="*/ 6193557 w 9709870"/>
                  <a:gd name="connsiteY106" fmla="*/ 39021 h 222980"/>
                  <a:gd name="connsiteX107" fmla="*/ 6193557 w 9709870"/>
                  <a:gd name="connsiteY107" fmla="*/ 75382 h 222980"/>
                  <a:gd name="connsiteX108" fmla="*/ 6213195 w 9709870"/>
                  <a:gd name="connsiteY108" fmla="*/ 102242 h 222980"/>
                  <a:gd name="connsiteX109" fmla="*/ 6213195 w 9709870"/>
                  <a:gd name="connsiteY109" fmla="*/ 120738 h 222980"/>
                  <a:gd name="connsiteX110" fmla="*/ 6193557 w 9709870"/>
                  <a:gd name="connsiteY110" fmla="*/ 147091 h 222980"/>
                  <a:gd name="connsiteX111" fmla="*/ 6193557 w 9709870"/>
                  <a:gd name="connsiteY111" fmla="*/ 184466 h 222980"/>
                  <a:gd name="connsiteX112" fmla="*/ 6148708 w 9709870"/>
                  <a:gd name="connsiteY112" fmla="*/ 222980 h 222980"/>
                  <a:gd name="connsiteX113" fmla="*/ 6148708 w 9709870"/>
                  <a:gd name="connsiteY113" fmla="*/ 203469 h 222980"/>
                  <a:gd name="connsiteX114" fmla="*/ 6164355 w 9709870"/>
                  <a:gd name="connsiteY114" fmla="*/ 197388 h 222980"/>
                  <a:gd name="connsiteX115" fmla="*/ 6168979 w 9709870"/>
                  <a:gd name="connsiteY115" fmla="*/ 178131 h 222980"/>
                  <a:gd name="connsiteX116" fmla="*/ 6168979 w 9709870"/>
                  <a:gd name="connsiteY116" fmla="*/ 142783 h 222980"/>
                  <a:gd name="connsiteX117" fmla="*/ 6193938 w 9709870"/>
                  <a:gd name="connsiteY117" fmla="*/ 111490 h 222980"/>
                  <a:gd name="connsiteX118" fmla="*/ 6193938 w 9709870"/>
                  <a:gd name="connsiteY118" fmla="*/ 111110 h 222980"/>
                  <a:gd name="connsiteX119" fmla="*/ 6168979 w 9709870"/>
                  <a:gd name="connsiteY119" fmla="*/ 79563 h 222980"/>
                  <a:gd name="connsiteX120" fmla="*/ 6168979 w 9709870"/>
                  <a:gd name="connsiteY120" fmla="*/ 43836 h 222980"/>
                  <a:gd name="connsiteX121" fmla="*/ 6148708 w 9709870"/>
                  <a:gd name="connsiteY121" fmla="*/ 19638 h 222980"/>
                  <a:gd name="connsiteX122" fmla="*/ 6131224 w 9709870"/>
                  <a:gd name="connsiteY122" fmla="*/ 0 h 222980"/>
                  <a:gd name="connsiteX123" fmla="*/ 6131224 w 9709870"/>
                  <a:gd name="connsiteY123" fmla="*/ 19638 h 222980"/>
                  <a:gd name="connsiteX124" fmla="*/ 6111080 w 9709870"/>
                  <a:gd name="connsiteY124" fmla="*/ 43836 h 222980"/>
                  <a:gd name="connsiteX125" fmla="*/ 6111080 w 9709870"/>
                  <a:gd name="connsiteY125" fmla="*/ 79563 h 222980"/>
                  <a:gd name="connsiteX126" fmla="*/ 6085868 w 9709870"/>
                  <a:gd name="connsiteY126" fmla="*/ 111110 h 222980"/>
                  <a:gd name="connsiteX127" fmla="*/ 6085868 w 9709870"/>
                  <a:gd name="connsiteY127" fmla="*/ 111490 h 222980"/>
                  <a:gd name="connsiteX128" fmla="*/ 6111080 w 9709870"/>
                  <a:gd name="connsiteY128" fmla="*/ 142783 h 222980"/>
                  <a:gd name="connsiteX129" fmla="*/ 6111080 w 9709870"/>
                  <a:gd name="connsiteY129" fmla="*/ 178131 h 222980"/>
                  <a:gd name="connsiteX130" fmla="*/ 6115578 w 9709870"/>
                  <a:gd name="connsiteY130" fmla="*/ 197451 h 222980"/>
                  <a:gd name="connsiteX131" fmla="*/ 6131224 w 9709870"/>
                  <a:gd name="connsiteY131" fmla="*/ 203469 h 222980"/>
                  <a:gd name="connsiteX132" fmla="*/ 6131224 w 9709870"/>
                  <a:gd name="connsiteY132" fmla="*/ 222980 h 222980"/>
                  <a:gd name="connsiteX133" fmla="*/ 6086122 w 9709870"/>
                  <a:gd name="connsiteY133" fmla="*/ 184466 h 222980"/>
                  <a:gd name="connsiteX134" fmla="*/ 6086122 w 9709870"/>
                  <a:gd name="connsiteY134" fmla="*/ 147091 h 222980"/>
                  <a:gd name="connsiteX135" fmla="*/ 6066357 w 9709870"/>
                  <a:gd name="connsiteY135" fmla="*/ 120738 h 222980"/>
                  <a:gd name="connsiteX136" fmla="*/ 6066357 w 9709870"/>
                  <a:gd name="connsiteY136" fmla="*/ 102242 h 222980"/>
                  <a:gd name="connsiteX137" fmla="*/ 6086122 w 9709870"/>
                  <a:gd name="connsiteY137" fmla="*/ 75382 h 222980"/>
                  <a:gd name="connsiteX138" fmla="*/ 6086122 w 9709870"/>
                  <a:gd name="connsiteY138" fmla="*/ 39021 h 222980"/>
                  <a:gd name="connsiteX139" fmla="*/ 6131224 w 9709870"/>
                  <a:gd name="connsiteY139" fmla="*/ 0 h 222980"/>
                  <a:gd name="connsiteX140" fmla="*/ 3572999 w 9709870"/>
                  <a:gd name="connsiteY140" fmla="*/ 0 h 222980"/>
                  <a:gd name="connsiteX141" fmla="*/ 3617848 w 9709870"/>
                  <a:gd name="connsiteY141" fmla="*/ 39021 h 222980"/>
                  <a:gd name="connsiteX142" fmla="*/ 3617848 w 9709870"/>
                  <a:gd name="connsiteY142" fmla="*/ 75382 h 222980"/>
                  <a:gd name="connsiteX143" fmla="*/ 3637486 w 9709870"/>
                  <a:gd name="connsiteY143" fmla="*/ 102242 h 222980"/>
                  <a:gd name="connsiteX144" fmla="*/ 3637486 w 9709870"/>
                  <a:gd name="connsiteY144" fmla="*/ 120738 h 222980"/>
                  <a:gd name="connsiteX145" fmla="*/ 3617848 w 9709870"/>
                  <a:gd name="connsiteY145" fmla="*/ 147091 h 222980"/>
                  <a:gd name="connsiteX146" fmla="*/ 3617848 w 9709870"/>
                  <a:gd name="connsiteY146" fmla="*/ 184466 h 222980"/>
                  <a:gd name="connsiteX147" fmla="*/ 3572999 w 9709870"/>
                  <a:gd name="connsiteY147" fmla="*/ 222980 h 222980"/>
                  <a:gd name="connsiteX148" fmla="*/ 3572999 w 9709870"/>
                  <a:gd name="connsiteY148" fmla="*/ 203469 h 222980"/>
                  <a:gd name="connsiteX149" fmla="*/ 3588645 w 9709870"/>
                  <a:gd name="connsiteY149" fmla="*/ 197388 h 222980"/>
                  <a:gd name="connsiteX150" fmla="*/ 3593270 w 9709870"/>
                  <a:gd name="connsiteY150" fmla="*/ 178131 h 222980"/>
                  <a:gd name="connsiteX151" fmla="*/ 3593270 w 9709870"/>
                  <a:gd name="connsiteY151" fmla="*/ 142783 h 222980"/>
                  <a:gd name="connsiteX152" fmla="*/ 3618228 w 9709870"/>
                  <a:gd name="connsiteY152" fmla="*/ 111490 h 222980"/>
                  <a:gd name="connsiteX153" fmla="*/ 3618228 w 9709870"/>
                  <a:gd name="connsiteY153" fmla="*/ 111110 h 222980"/>
                  <a:gd name="connsiteX154" fmla="*/ 3593270 w 9709870"/>
                  <a:gd name="connsiteY154" fmla="*/ 79563 h 222980"/>
                  <a:gd name="connsiteX155" fmla="*/ 3593270 w 9709870"/>
                  <a:gd name="connsiteY155" fmla="*/ 43836 h 222980"/>
                  <a:gd name="connsiteX156" fmla="*/ 3572999 w 9709870"/>
                  <a:gd name="connsiteY156" fmla="*/ 19638 h 222980"/>
                  <a:gd name="connsiteX157" fmla="*/ 3555515 w 9709870"/>
                  <a:gd name="connsiteY157" fmla="*/ 0 h 222980"/>
                  <a:gd name="connsiteX158" fmla="*/ 3555515 w 9709870"/>
                  <a:gd name="connsiteY158" fmla="*/ 19638 h 222980"/>
                  <a:gd name="connsiteX159" fmla="*/ 3535371 w 9709870"/>
                  <a:gd name="connsiteY159" fmla="*/ 43836 h 222980"/>
                  <a:gd name="connsiteX160" fmla="*/ 3535371 w 9709870"/>
                  <a:gd name="connsiteY160" fmla="*/ 79563 h 222980"/>
                  <a:gd name="connsiteX161" fmla="*/ 3510158 w 9709870"/>
                  <a:gd name="connsiteY161" fmla="*/ 111110 h 222980"/>
                  <a:gd name="connsiteX162" fmla="*/ 3510158 w 9709870"/>
                  <a:gd name="connsiteY162" fmla="*/ 111490 h 222980"/>
                  <a:gd name="connsiteX163" fmla="*/ 3535371 w 9709870"/>
                  <a:gd name="connsiteY163" fmla="*/ 142783 h 222980"/>
                  <a:gd name="connsiteX164" fmla="*/ 3535371 w 9709870"/>
                  <a:gd name="connsiteY164" fmla="*/ 178131 h 222980"/>
                  <a:gd name="connsiteX165" fmla="*/ 3539868 w 9709870"/>
                  <a:gd name="connsiteY165" fmla="*/ 197451 h 222980"/>
                  <a:gd name="connsiteX166" fmla="*/ 3555515 w 9709870"/>
                  <a:gd name="connsiteY166" fmla="*/ 203469 h 222980"/>
                  <a:gd name="connsiteX167" fmla="*/ 3555515 w 9709870"/>
                  <a:gd name="connsiteY167" fmla="*/ 222980 h 222980"/>
                  <a:gd name="connsiteX168" fmla="*/ 3510412 w 9709870"/>
                  <a:gd name="connsiteY168" fmla="*/ 184466 h 222980"/>
                  <a:gd name="connsiteX169" fmla="*/ 3510412 w 9709870"/>
                  <a:gd name="connsiteY169" fmla="*/ 147091 h 222980"/>
                  <a:gd name="connsiteX170" fmla="*/ 3490648 w 9709870"/>
                  <a:gd name="connsiteY170" fmla="*/ 120738 h 222980"/>
                  <a:gd name="connsiteX171" fmla="*/ 3490648 w 9709870"/>
                  <a:gd name="connsiteY171" fmla="*/ 102242 h 222980"/>
                  <a:gd name="connsiteX172" fmla="*/ 3510412 w 9709870"/>
                  <a:gd name="connsiteY172" fmla="*/ 75382 h 222980"/>
                  <a:gd name="connsiteX173" fmla="*/ 3510412 w 9709870"/>
                  <a:gd name="connsiteY173" fmla="*/ 39021 h 222980"/>
                  <a:gd name="connsiteX174" fmla="*/ 3555515 w 9709870"/>
                  <a:gd name="connsiteY174" fmla="*/ 0 h 222980"/>
                  <a:gd name="connsiteX175" fmla="*/ 2906897 w 9709870"/>
                  <a:gd name="connsiteY175" fmla="*/ 0 h 222980"/>
                  <a:gd name="connsiteX176" fmla="*/ 2951746 w 9709870"/>
                  <a:gd name="connsiteY176" fmla="*/ 39021 h 222980"/>
                  <a:gd name="connsiteX177" fmla="*/ 2951746 w 9709870"/>
                  <a:gd name="connsiteY177" fmla="*/ 75382 h 222980"/>
                  <a:gd name="connsiteX178" fmla="*/ 2971384 w 9709870"/>
                  <a:gd name="connsiteY178" fmla="*/ 102242 h 222980"/>
                  <a:gd name="connsiteX179" fmla="*/ 2971384 w 9709870"/>
                  <a:gd name="connsiteY179" fmla="*/ 120738 h 222980"/>
                  <a:gd name="connsiteX180" fmla="*/ 2951746 w 9709870"/>
                  <a:gd name="connsiteY180" fmla="*/ 147091 h 222980"/>
                  <a:gd name="connsiteX181" fmla="*/ 2951746 w 9709870"/>
                  <a:gd name="connsiteY181" fmla="*/ 184466 h 222980"/>
                  <a:gd name="connsiteX182" fmla="*/ 2906897 w 9709870"/>
                  <a:gd name="connsiteY182" fmla="*/ 222980 h 222980"/>
                  <a:gd name="connsiteX183" fmla="*/ 2906897 w 9709870"/>
                  <a:gd name="connsiteY183" fmla="*/ 203469 h 222980"/>
                  <a:gd name="connsiteX184" fmla="*/ 2922543 w 9709870"/>
                  <a:gd name="connsiteY184" fmla="*/ 197388 h 222980"/>
                  <a:gd name="connsiteX185" fmla="*/ 2927168 w 9709870"/>
                  <a:gd name="connsiteY185" fmla="*/ 178131 h 222980"/>
                  <a:gd name="connsiteX186" fmla="*/ 2927168 w 9709870"/>
                  <a:gd name="connsiteY186" fmla="*/ 142783 h 222980"/>
                  <a:gd name="connsiteX187" fmla="*/ 2952126 w 9709870"/>
                  <a:gd name="connsiteY187" fmla="*/ 111490 h 222980"/>
                  <a:gd name="connsiteX188" fmla="*/ 2952126 w 9709870"/>
                  <a:gd name="connsiteY188" fmla="*/ 111110 h 222980"/>
                  <a:gd name="connsiteX189" fmla="*/ 2927168 w 9709870"/>
                  <a:gd name="connsiteY189" fmla="*/ 79563 h 222980"/>
                  <a:gd name="connsiteX190" fmla="*/ 2927168 w 9709870"/>
                  <a:gd name="connsiteY190" fmla="*/ 43836 h 222980"/>
                  <a:gd name="connsiteX191" fmla="*/ 2906897 w 9709870"/>
                  <a:gd name="connsiteY191" fmla="*/ 19638 h 222980"/>
                  <a:gd name="connsiteX192" fmla="*/ 2889413 w 9709870"/>
                  <a:gd name="connsiteY192" fmla="*/ 0 h 222980"/>
                  <a:gd name="connsiteX193" fmla="*/ 2889413 w 9709870"/>
                  <a:gd name="connsiteY193" fmla="*/ 19638 h 222980"/>
                  <a:gd name="connsiteX194" fmla="*/ 2869269 w 9709870"/>
                  <a:gd name="connsiteY194" fmla="*/ 43836 h 222980"/>
                  <a:gd name="connsiteX195" fmla="*/ 2869269 w 9709870"/>
                  <a:gd name="connsiteY195" fmla="*/ 79563 h 222980"/>
                  <a:gd name="connsiteX196" fmla="*/ 2844056 w 9709870"/>
                  <a:gd name="connsiteY196" fmla="*/ 111110 h 222980"/>
                  <a:gd name="connsiteX197" fmla="*/ 2844056 w 9709870"/>
                  <a:gd name="connsiteY197" fmla="*/ 111490 h 222980"/>
                  <a:gd name="connsiteX198" fmla="*/ 2869269 w 9709870"/>
                  <a:gd name="connsiteY198" fmla="*/ 142783 h 222980"/>
                  <a:gd name="connsiteX199" fmla="*/ 2869269 w 9709870"/>
                  <a:gd name="connsiteY199" fmla="*/ 178131 h 222980"/>
                  <a:gd name="connsiteX200" fmla="*/ 2873766 w 9709870"/>
                  <a:gd name="connsiteY200" fmla="*/ 197451 h 222980"/>
                  <a:gd name="connsiteX201" fmla="*/ 2889413 w 9709870"/>
                  <a:gd name="connsiteY201" fmla="*/ 203469 h 222980"/>
                  <a:gd name="connsiteX202" fmla="*/ 2889413 w 9709870"/>
                  <a:gd name="connsiteY202" fmla="*/ 222980 h 222980"/>
                  <a:gd name="connsiteX203" fmla="*/ 2844310 w 9709870"/>
                  <a:gd name="connsiteY203" fmla="*/ 184466 h 222980"/>
                  <a:gd name="connsiteX204" fmla="*/ 2844310 w 9709870"/>
                  <a:gd name="connsiteY204" fmla="*/ 147091 h 222980"/>
                  <a:gd name="connsiteX205" fmla="*/ 2824546 w 9709870"/>
                  <a:gd name="connsiteY205" fmla="*/ 120738 h 222980"/>
                  <a:gd name="connsiteX206" fmla="*/ 2824546 w 9709870"/>
                  <a:gd name="connsiteY206" fmla="*/ 102242 h 222980"/>
                  <a:gd name="connsiteX207" fmla="*/ 2844310 w 9709870"/>
                  <a:gd name="connsiteY207" fmla="*/ 75382 h 222980"/>
                  <a:gd name="connsiteX208" fmla="*/ 2844310 w 9709870"/>
                  <a:gd name="connsiteY208" fmla="*/ 39021 h 222980"/>
                  <a:gd name="connsiteX209" fmla="*/ 2889413 w 9709870"/>
                  <a:gd name="connsiteY209" fmla="*/ 0 h 222980"/>
                  <a:gd name="connsiteX210" fmla="*/ 82351 w 9709870"/>
                  <a:gd name="connsiteY210" fmla="*/ 0 h 222980"/>
                  <a:gd name="connsiteX211" fmla="*/ 127201 w 9709870"/>
                  <a:gd name="connsiteY211" fmla="*/ 39021 h 222980"/>
                  <a:gd name="connsiteX212" fmla="*/ 127201 w 9709870"/>
                  <a:gd name="connsiteY212" fmla="*/ 75382 h 222980"/>
                  <a:gd name="connsiteX213" fmla="*/ 146838 w 9709870"/>
                  <a:gd name="connsiteY213" fmla="*/ 102242 h 222980"/>
                  <a:gd name="connsiteX214" fmla="*/ 146838 w 9709870"/>
                  <a:gd name="connsiteY214" fmla="*/ 120738 h 222980"/>
                  <a:gd name="connsiteX215" fmla="*/ 127201 w 9709870"/>
                  <a:gd name="connsiteY215" fmla="*/ 147091 h 222980"/>
                  <a:gd name="connsiteX216" fmla="*/ 127201 w 9709870"/>
                  <a:gd name="connsiteY216" fmla="*/ 184466 h 222980"/>
                  <a:gd name="connsiteX217" fmla="*/ 82351 w 9709870"/>
                  <a:gd name="connsiteY217" fmla="*/ 222980 h 222980"/>
                  <a:gd name="connsiteX218" fmla="*/ 82351 w 9709870"/>
                  <a:gd name="connsiteY218" fmla="*/ 203469 h 222980"/>
                  <a:gd name="connsiteX219" fmla="*/ 97998 w 9709870"/>
                  <a:gd name="connsiteY219" fmla="*/ 197388 h 222980"/>
                  <a:gd name="connsiteX220" fmla="*/ 102622 w 9709870"/>
                  <a:gd name="connsiteY220" fmla="*/ 178131 h 222980"/>
                  <a:gd name="connsiteX221" fmla="*/ 102622 w 9709870"/>
                  <a:gd name="connsiteY221" fmla="*/ 142783 h 222980"/>
                  <a:gd name="connsiteX222" fmla="*/ 127581 w 9709870"/>
                  <a:gd name="connsiteY222" fmla="*/ 111490 h 222980"/>
                  <a:gd name="connsiteX223" fmla="*/ 127581 w 9709870"/>
                  <a:gd name="connsiteY223" fmla="*/ 111110 h 222980"/>
                  <a:gd name="connsiteX224" fmla="*/ 102622 w 9709870"/>
                  <a:gd name="connsiteY224" fmla="*/ 79563 h 222980"/>
                  <a:gd name="connsiteX225" fmla="*/ 102622 w 9709870"/>
                  <a:gd name="connsiteY225" fmla="*/ 43836 h 222980"/>
                  <a:gd name="connsiteX226" fmla="*/ 82351 w 9709870"/>
                  <a:gd name="connsiteY226" fmla="*/ 19638 h 222980"/>
                  <a:gd name="connsiteX227" fmla="*/ 64867 w 9709870"/>
                  <a:gd name="connsiteY227" fmla="*/ 0 h 222980"/>
                  <a:gd name="connsiteX228" fmla="*/ 64867 w 9709870"/>
                  <a:gd name="connsiteY228" fmla="*/ 19638 h 222980"/>
                  <a:gd name="connsiteX229" fmla="*/ 44723 w 9709870"/>
                  <a:gd name="connsiteY229" fmla="*/ 43836 h 222980"/>
                  <a:gd name="connsiteX230" fmla="*/ 44723 w 9709870"/>
                  <a:gd name="connsiteY230" fmla="*/ 79563 h 222980"/>
                  <a:gd name="connsiteX231" fmla="*/ 19511 w 9709870"/>
                  <a:gd name="connsiteY231" fmla="*/ 111110 h 222980"/>
                  <a:gd name="connsiteX232" fmla="*/ 19511 w 9709870"/>
                  <a:gd name="connsiteY232" fmla="*/ 111490 h 222980"/>
                  <a:gd name="connsiteX233" fmla="*/ 44723 w 9709870"/>
                  <a:gd name="connsiteY233" fmla="*/ 142783 h 222980"/>
                  <a:gd name="connsiteX234" fmla="*/ 44723 w 9709870"/>
                  <a:gd name="connsiteY234" fmla="*/ 178131 h 222980"/>
                  <a:gd name="connsiteX235" fmla="*/ 49220 w 9709870"/>
                  <a:gd name="connsiteY235" fmla="*/ 197451 h 222980"/>
                  <a:gd name="connsiteX236" fmla="*/ 64867 w 9709870"/>
                  <a:gd name="connsiteY236" fmla="*/ 203469 h 222980"/>
                  <a:gd name="connsiteX237" fmla="*/ 64867 w 9709870"/>
                  <a:gd name="connsiteY237" fmla="*/ 222980 h 222980"/>
                  <a:gd name="connsiteX238" fmla="*/ 19765 w 9709870"/>
                  <a:gd name="connsiteY238" fmla="*/ 184466 h 222980"/>
                  <a:gd name="connsiteX239" fmla="*/ 19765 w 9709870"/>
                  <a:gd name="connsiteY239" fmla="*/ 147091 h 222980"/>
                  <a:gd name="connsiteX240" fmla="*/ 0 w 9709870"/>
                  <a:gd name="connsiteY240" fmla="*/ 120738 h 222980"/>
                  <a:gd name="connsiteX241" fmla="*/ 0 w 9709870"/>
                  <a:gd name="connsiteY241" fmla="*/ 102242 h 222980"/>
                  <a:gd name="connsiteX242" fmla="*/ 19765 w 9709870"/>
                  <a:gd name="connsiteY242" fmla="*/ 75382 h 222980"/>
                  <a:gd name="connsiteX243" fmla="*/ 19765 w 9709870"/>
                  <a:gd name="connsiteY243" fmla="*/ 39021 h 222980"/>
                  <a:gd name="connsiteX244" fmla="*/ 64867 w 9709870"/>
                  <a:gd name="connsiteY24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9709870" h="222980">
                    <a:moveTo>
                      <a:pt x="9645383" y="0"/>
                    </a:moveTo>
                    <a:cubicBezTo>
                      <a:pt x="9675283" y="338"/>
                      <a:pt x="9690232" y="13345"/>
                      <a:pt x="9690232" y="39021"/>
                    </a:cubicBezTo>
                    <a:lnTo>
                      <a:pt x="9690232" y="75382"/>
                    </a:lnTo>
                    <a:cubicBezTo>
                      <a:pt x="9690232" y="92444"/>
                      <a:pt x="9696778" y="101397"/>
                      <a:pt x="9709870" y="102242"/>
                    </a:cubicBezTo>
                    <a:lnTo>
                      <a:pt x="9709870" y="120738"/>
                    </a:lnTo>
                    <a:cubicBezTo>
                      <a:pt x="9696778" y="121583"/>
                      <a:pt x="9690232" y="130367"/>
                      <a:pt x="9690232" y="147091"/>
                    </a:cubicBezTo>
                    <a:lnTo>
                      <a:pt x="9690232" y="184466"/>
                    </a:lnTo>
                    <a:cubicBezTo>
                      <a:pt x="9690232" y="209804"/>
                      <a:pt x="9675283" y="222642"/>
                      <a:pt x="9645383" y="222980"/>
                    </a:cubicBezTo>
                    <a:lnTo>
                      <a:pt x="9645383" y="203469"/>
                    </a:lnTo>
                    <a:cubicBezTo>
                      <a:pt x="9652731" y="203300"/>
                      <a:pt x="9657947" y="201273"/>
                      <a:pt x="9661030" y="197388"/>
                    </a:cubicBezTo>
                    <a:cubicBezTo>
                      <a:pt x="9664112" y="193503"/>
                      <a:pt x="9665654" y="187084"/>
                      <a:pt x="9665654" y="178131"/>
                    </a:cubicBezTo>
                    <a:lnTo>
                      <a:pt x="9665654" y="142783"/>
                    </a:lnTo>
                    <a:cubicBezTo>
                      <a:pt x="9665654" y="125638"/>
                      <a:pt x="9673974" y="115206"/>
                      <a:pt x="9690613" y="111490"/>
                    </a:cubicBezTo>
                    <a:lnTo>
                      <a:pt x="9690613" y="111110"/>
                    </a:lnTo>
                    <a:cubicBezTo>
                      <a:pt x="9673974" y="107140"/>
                      <a:pt x="9665654" y="96625"/>
                      <a:pt x="9665654" y="79563"/>
                    </a:cubicBezTo>
                    <a:lnTo>
                      <a:pt x="9665654" y="43836"/>
                    </a:lnTo>
                    <a:cubicBezTo>
                      <a:pt x="9665654" y="28041"/>
                      <a:pt x="9658897" y="19975"/>
                      <a:pt x="9645383" y="19638"/>
                    </a:cubicBezTo>
                    <a:close/>
                    <a:moveTo>
                      <a:pt x="9627899" y="0"/>
                    </a:moveTo>
                    <a:lnTo>
                      <a:pt x="9627899" y="19638"/>
                    </a:lnTo>
                    <a:cubicBezTo>
                      <a:pt x="9614470" y="19975"/>
                      <a:pt x="9607755" y="28041"/>
                      <a:pt x="9607755" y="43836"/>
                    </a:cubicBezTo>
                    <a:lnTo>
                      <a:pt x="9607755" y="79563"/>
                    </a:lnTo>
                    <a:cubicBezTo>
                      <a:pt x="9607755" y="96625"/>
                      <a:pt x="9599351" y="107140"/>
                      <a:pt x="9582543" y="111110"/>
                    </a:cubicBezTo>
                    <a:lnTo>
                      <a:pt x="9582543" y="111490"/>
                    </a:lnTo>
                    <a:cubicBezTo>
                      <a:pt x="9599351" y="115206"/>
                      <a:pt x="9607755" y="125638"/>
                      <a:pt x="9607755" y="142783"/>
                    </a:cubicBezTo>
                    <a:lnTo>
                      <a:pt x="9607755" y="178131"/>
                    </a:lnTo>
                    <a:cubicBezTo>
                      <a:pt x="9607755" y="187168"/>
                      <a:pt x="9609254" y="193608"/>
                      <a:pt x="9612253" y="197451"/>
                    </a:cubicBezTo>
                    <a:cubicBezTo>
                      <a:pt x="9615251" y="201294"/>
                      <a:pt x="9620466" y="203300"/>
                      <a:pt x="9627899" y="203469"/>
                    </a:cubicBezTo>
                    <a:lnTo>
                      <a:pt x="9627899" y="222980"/>
                    </a:lnTo>
                    <a:cubicBezTo>
                      <a:pt x="9597830" y="222642"/>
                      <a:pt x="9582796" y="209804"/>
                      <a:pt x="9582796" y="184466"/>
                    </a:cubicBezTo>
                    <a:lnTo>
                      <a:pt x="9582796" y="147091"/>
                    </a:lnTo>
                    <a:cubicBezTo>
                      <a:pt x="9582796" y="130367"/>
                      <a:pt x="9576208" y="121583"/>
                      <a:pt x="9563032" y="120738"/>
                    </a:cubicBezTo>
                    <a:lnTo>
                      <a:pt x="9563032" y="102242"/>
                    </a:lnTo>
                    <a:cubicBezTo>
                      <a:pt x="9576208" y="101397"/>
                      <a:pt x="9582796" y="92444"/>
                      <a:pt x="9582796" y="75382"/>
                    </a:cubicBezTo>
                    <a:lnTo>
                      <a:pt x="9582796" y="39021"/>
                    </a:lnTo>
                    <a:cubicBezTo>
                      <a:pt x="9582796" y="13345"/>
                      <a:pt x="9597830" y="338"/>
                      <a:pt x="9627899" y="0"/>
                    </a:cubicBezTo>
                    <a:close/>
                    <a:moveTo>
                      <a:pt x="8971360" y="0"/>
                    </a:moveTo>
                    <a:cubicBezTo>
                      <a:pt x="9001260" y="338"/>
                      <a:pt x="9016209" y="13345"/>
                      <a:pt x="9016209" y="39021"/>
                    </a:cubicBezTo>
                    <a:lnTo>
                      <a:pt x="9016209" y="75382"/>
                    </a:lnTo>
                    <a:cubicBezTo>
                      <a:pt x="9016209" y="92444"/>
                      <a:pt x="9022755" y="101397"/>
                      <a:pt x="9035847" y="102242"/>
                    </a:cubicBezTo>
                    <a:lnTo>
                      <a:pt x="9035847" y="120738"/>
                    </a:lnTo>
                    <a:cubicBezTo>
                      <a:pt x="9022755" y="121583"/>
                      <a:pt x="9016209" y="130367"/>
                      <a:pt x="9016209" y="147091"/>
                    </a:cubicBezTo>
                    <a:lnTo>
                      <a:pt x="9016209" y="184466"/>
                    </a:lnTo>
                    <a:cubicBezTo>
                      <a:pt x="9016209" y="209804"/>
                      <a:pt x="9001260" y="222642"/>
                      <a:pt x="8971360" y="222980"/>
                    </a:cubicBezTo>
                    <a:lnTo>
                      <a:pt x="8971360" y="203469"/>
                    </a:lnTo>
                    <a:cubicBezTo>
                      <a:pt x="8978708" y="203300"/>
                      <a:pt x="8983924" y="201273"/>
                      <a:pt x="8987007" y="197388"/>
                    </a:cubicBezTo>
                    <a:cubicBezTo>
                      <a:pt x="8990089" y="193503"/>
                      <a:pt x="8991631" y="187084"/>
                      <a:pt x="8991631" y="178131"/>
                    </a:cubicBezTo>
                    <a:lnTo>
                      <a:pt x="8991631" y="142783"/>
                    </a:lnTo>
                    <a:cubicBezTo>
                      <a:pt x="8991631" y="125638"/>
                      <a:pt x="8999951" y="115206"/>
                      <a:pt x="9016590" y="111490"/>
                    </a:cubicBezTo>
                    <a:lnTo>
                      <a:pt x="9016590" y="111110"/>
                    </a:lnTo>
                    <a:cubicBezTo>
                      <a:pt x="8999951" y="107140"/>
                      <a:pt x="8991631" y="96625"/>
                      <a:pt x="8991631" y="79563"/>
                    </a:cubicBezTo>
                    <a:lnTo>
                      <a:pt x="8991631" y="43836"/>
                    </a:lnTo>
                    <a:cubicBezTo>
                      <a:pt x="8991631" y="28041"/>
                      <a:pt x="8984874" y="19975"/>
                      <a:pt x="8971360" y="19638"/>
                    </a:cubicBezTo>
                    <a:close/>
                    <a:moveTo>
                      <a:pt x="8953876" y="0"/>
                    </a:moveTo>
                    <a:lnTo>
                      <a:pt x="8953876" y="19638"/>
                    </a:lnTo>
                    <a:cubicBezTo>
                      <a:pt x="8940447" y="19975"/>
                      <a:pt x="8933732" y="28041"/>
                      <a:pt x="8933732" y="43836"/>
                    </a:cubicBezTo>
                    <a:lnTo>
                      <a:pt x="8933732" y="79563"/>
                    </a:lnTo>
                    <a:cubicBezTo>
                      <a:pt x="8933732" y="96625"/>
                      <a:pt x="8925328" y="107140"/>
                      <a:pt x="8908520" y="111110"/>
                    </a:cubicBezTo>
                    <a:lnTo>
                      <a:pt x="8908520" y="111490"/>
                    </a:lnTo>
                    <a:cubicBezTo>
                      <a:pt x="8925328" y="115206"/>
                      <a:pt x="8933732" y="125638"/>
                      <a:pt x="8933732" y="142783"/>
                    </a:cubicBezTo>
                    <a:lnTo>
                      <a:pt x="8933732" y="178131"/>
                    </a:lnTo>
                    <a:cubicBezTo>
                      <a:pt x="8933732" y="187168"/>
                      <a:pt x="8935231" y="193608"/>
                      <a:pt x="8938230" y="197451"/>
                    </a:cubicBezTo>
                    <a:cubicBezTo>
                      <a:pt x="8941228" y="201294"/>
                      <a:pt x="8946443" y="203300"/>
                      <a:pt x="8953876" y="203469"/>
                    </a:cubicBezTo>
                    <a:lnTo>
                      <a:pt x="8953876" y="222980"/>
                    </a:lnTo>
                    <a:cubicBezTo>
                      <a:pt x="8923807" y="222642"/>
                      <a:pt x="8908773" y="209804"/>
                      <a:pt x="8908773" y="184466"/>
                    </a:cubicBezTo>
                    <a:lnTo>
                      <a:pt x="8908773" y="147091"/>
                    </a:lnTo>
                    <a:cubicBezTo>
                      <a:pt x="8908773" y="130367"/>
                      <a:pt x="8902185" y="121583"/>
                      <a:pt x="8889009" y="120738"/>
                    </a:cubicBezTo>
                    <a:lnTo>
                      <a:pt x="8889009" y="102242"/>
                    </a:lnTo>
                    <a:cubicBezTo>
                      <a:pt x="8902185" y="101397"/>
                      <a:pt x="8908773" y="92444"/>
                      <a:pt x="8908773" y="75382"/>
                    </a:cubicBezTo>
                    <a:lnTo>
                      <a:pt x="8908773" y="39021"/>
                    </a:lnTo>
                    <a:cubicBezTo>
                      <a:pt x="8908773" y="13345"/>
                      <a:pt x="8923807" y="338"/>
                      <a:pt x="8953876" y="0"/>
                    </a:cubicBezTo>
                    <a:close/>
                    <a:moveTo>
                      <a:pt x="7772910" y="0"/>
                    </a:moveTo>
                    <a:cubicBezTo>
                      <a:pt x="7802810" y="338"/>
                      <a:pt x="7817759" y="13345"/>
                      <a:pt x="7817759" y="39021"/>
                    </a:cubicBezTo>
                    <a:lnTo>
                      <a:pt x="7817759" y="75382"/>
                    </a:lnTo>
                    <a:cubicBezTo>
                      <a:pt x="7817759" y="92444"/>
                      <a:pt x="7824305" y="101397"/>
                      <a:pt x="7837397" y="102242"/>
                    </a:cubicBezTo>
                    <a:lnTo>
                      <a:pt x="7837397" y="120738"/>
                    </a:lnTo>
                    <a:cubicBezTo>
                      <a:pt x="7824305" y="121583"/>
                      <a:pt x="7817759" y="130367"/>
                      <a:pt x="7817759" y="147091"/>
                    </a:cubicBezTo>
                    <a:lnTo>
                      <a:pt x="7817759" y="184466"/>
                    </a:lnTo>
                    <a:cubicBezTo>
                      <a:pt x="7817759" y="209804"/>
                      <a:pt x="7802810" y="222642"/>
                      <a:pt x="7772910" y="222980"/>
                    </a:cubicBezTo>
                    <a:lnTo>
                      <a:pt x="7772910" y="203469"/>
                    </a:lnTo>
                    <a:cubicBezTo>
                      <a:pt x="7780258" y="203300"/>
                      <a:pt x="7785474" y="201273"/>
                      <a:pt x="7788557" y="197388"/>
                    </a:cubicBezTo>
                    <a:cubicBezTo>
                      <a:pt x="7791639" y="193503"/>
                      <a:pt x="7793181" y="187084"/>
                      <a:pt x="7793181" y="178131"/>
                    </a:cubicBezTo>
                    <a:lnTo>
                      <a:pt x="7793181" y="142783"/>
                    </a:lnTo>
                    <a:cubicBezTo>
                      <a:pt x="7793181" y="125638"/>
                      <a:pt x="7801501" y="115206"/>
                      <a:pt x="7818140" y="111490"/>
                    </a:cubicBezTo>
                    <a:lnTo>
                      <a:pt x="7818140" y="111110"/>
                    </a:lnTo>
                    <a:cubicBezTo>
                      <a:pt x="7801501" y="107140"/>
                      <a:pt x="7793181" y="96625"/>
                      <a:pt x="7793181" y="79563"/>
                    </a:cubicBezTo>
                    <a:lnTo>
                      <a:pt x="7793181" y="43836"/>
                    </a:lnTo>
                    <a:cubicBezTo>
                      <a:pt x="7793181" y="28041"/>
                      <a:pt x="7786424" y="19975"/>
                      <a:pt x="7772910" y="19638"/>
                    </a:cubicBezTo>
                    <a:close/>
                    <a:moveTo>
                      <a:pt x="7755426" y="0"/>
                    </a:moveTo>
                    <a:lnTo>
                      <a:pt x="7755426" y="19638"/>
                    </a:lnTo>
                    <a:cubicBezTo>
                      <a:pt x="7741997" y="19975"/>
                      <a:pt x="7735282" y="28041"/>
                      <a:pt x="7735282" y="43836"/>
                    </a:cubicBezTo>
                    <a:lnTo>
                      <a:pt x="7735282" y="79563"/>
                    </a:lnTo>
                    <a:cubicBezTo>
                      <a:pt x="7735282" y="96625"/>
                      <a:pt x="7726878" y="107140"/>
                      <a:pt x="7710070" y="111110"/>
                    </a:cubicBezTo>
                    <a:lnTo>
                      <a:pt x="7710070" y="111490"/>
                    </a:lnTo>
                    <a:cubicBezTo>
                      <a:pt x="7726878" y="115206"/>
                      <a:pt x="7735282" y="125638"/>
                      <a:pt x="7735282" y="142783"/>
                    </a:cubicBezTo>
                    <a:lnTo>
                      <a:pt x="7735282" y="178131"/>
                    </a:lnTo>
                    <a:cubicBezTo>
                      <a:pt x="7735282" y="187168"/>
                      <a:pt x="7736781" y="193608"/>
                      <a:pt x="7739780" y="197451"/>
                    </a:cubicBezTo>
                    <a:cubicBezTo>
                      <a:pt x="7742778" y="201294"/>
                      <a:pt x="7747993" y="203300"/>
                      <a:pt x="7755426" y="203469"/>
                    </a:cubicBezTo>
                    <a:lnTo>
                      <a:pt x="7755426" y="222980"/>
                    </a:lnTo>
                    <a:cubicBezTo>
                      <a:pt x="7725357" y="222642"/>
                      <a:pt x="7710323" y="209804"/>
                      <a:pt x="7710323" y="184466"/>
                    </a:cubicBezTo>
                    <a:lnTo>
                      <a:pt x="7710323" y="147091"/>
                    </a:lnTo>
                    <a:cubicBezTo>
                      <a:pt x="7710323" y="130367"/>
                      <a:pt x="7703735" y="121583"/>
                      <a:pt x="7690559" y="120738"/>
                    </a:cubicBezTo>
                    <a:lnTo>
                      <a:pt x="7690559" y="102242"/>
                    </a:lnTo>
                    <a:cubicBezTo>
                      <a:pt x="7703735" y="101397"/>
                      <a:pt x="7710323" y="92444"/>
                      <a:pt x="7710323" y="75382"/>
                    </a:cubicBezTo>
                    <a:lnTo>
                      <a:pt x="7710323" y="39021"/>
                    </a:lnTo>
                    <a:cubicBezTo>
                      <a:pt x="7710323" y="13345"/>
                      <a:pt x="7725357" y="338"/>
                      <a:pt x="7755426" y="0"/>
                    </a:cubicBezTo>
                    <a:close/>
                    <a:moveTo>
                      <a:pt x="6148708" y="0"/>
                    </a:moveTo>
                    <a:cubicBezTo>
                      <a:pt x="6178608" y="338"/>
                      <a:pt x="6193557" y="13345"/>
                      <a:pt x="6193557" y="39021"/>
                    </a:cubicBezTo>
                    <a:lnTo>
                      <a:pt x="6193557" y="75382"/>
                    </a:lnTo>
                    <a:cubicBezTo>
                      <a:pt x="6193557" y="92444"/>
                      <a:pt x="6200103" y="101397"/>
                      <a:pt x="6213195" y="102242"/>
                    </a:cubicBezTo>
                    <a:lnTo>
                      <a:pt x="6213195" y="120738"/>
                    </a:lnTo>
                    <a:cubicBezTo>
                      <a:pt x="6200103" y="121583"/>
                      <a:pt x="6193557" y="130367"/>
                      <a:pt x="6193557" y="147091"/>
                    </a:cubicBezTo>
                    <a:lnTo>
                      <a:pt x="6193557" y="184466"/>
                    </a:lnTo>
                    <a:cubicBezTo>
                      <a:pt x="6193557" y="209804"/>
                      <a:pt x="6178608" y="222642"/>
                      <a:pt x="6148708" y="222980"/>
                    </a:cubicBezTo>
                    <a:lnTo>
                      <a:pt x="6148708" y="203469"/>
                    </a:lnTo>
                    <a:cubicBezTo>
                      <a:pt x="6156056" y="203300"/>
                      <a:pt x="6161272" y="201273"/>
                      <a:pt x="6164355" y="197388"/>
                    </a:cubicBezTo>
                    <a:cubicBezTo>
                      <a:pt x="6167437" y="193503"/>
                      <a:pt x="6168979" y="187084"/>
                      <a:pt x="6168979" y="178131"/>
                    </a:cubicBezTo>
                    <a:lnTo>
                      <a:pt x="6168979" y="142783"/>
                    </a:lnTo>
                    <a:cubicBezTo>
                      <a:pt x="6168979" y="125638"/>
                      <a:pt x="6177299" y="115206"/>
                      <a:pt x="6193938" y="111490"/>
                    </a:cubicBezTo>
                    <a:lnTo>
                      <a:pt x="6193938" y="111110"/>
                    </a:lnTo>
                    <a:cubicBezTo>
                      <a:pt x="6177299" y="107140"/>
                      <a:pt x="6168979" y="96625"/>
                      <a:pt x="6168979" y="79563"/>
                    </a:cubicBezTo>
                    <a:lnTo>
                      <a:pt x="6168979" y="43836"/>
                    </a:lnTo>
                    <a:cubicBezTo>
                      <a:pt x="6168979" y="28041"/>
                      <a:pt x="6162222" y="19975"/>
                      <a:pt x="6148708" y="19638"/>
                    </a:cubicBezTo>
                    <a:close/>
                    <a:moveTo>
                      <a:pt x="6131224" y="0"/>
                    </a:moveTo>
                    <a:lnTo>
                      <a:pt x="6131224" y="19638"/>
                    </a:lnTo>
                    <a:cubicBezTo>
                      <a:pt x="6117795" y="19975"/>
                      <a:pt x="6111080" y="28041"/>
                      <a:pt x="6111080" y="43836"/>
                    </a:cubicBezTo>
                    <a:lnTo>
                      <a:pt x="6111080" y="79563"/>
                    </a:lnTo>
                    <a:cubicBezTo>
                      <a:pt x="6111080" y="96625"/>
                      <a:pt x="6102676" y="107140"/>
                      <a:pt x="6085868" y="111110"/>
                    </a:cubicBezTo>
                    <a:lnTo>
                      <a:pt x="6085868" y="111490"/>
                    </a:lnTo>
                    <a:cubicBezTo>
                      <a:pt x="6102676" y="115206"/>
                      <a:pt x="6111080" y="125638"/>
                      <a:pt x="6111080" y="142783"/>
                    </a:cubicBezTo>
                    <a:lnTo>
                      <a:pt x="6111080" y="178131"/>
                    </a:lnTo>
                    <a:cubicBezTo>
                      <a:pt x="6111080" y="187168"/>
                      <a:pt x="6112579" y="193608"/>
                      <a:pt x="6115578" y="197451"/>
                    </a:cubicBezTo>
                    <a:cubicBezTo>
                      <a:pt x="6118576" y="201294"/>
                      <a:pt x="6123792" y="203300"/>
                      <a:pt x="6131224" y="203469"/>
                    </a:cubicBezTo>
                    <a:lnTo>
                      <a:pt x="6131224" y="222980"/>
                    </a:lnTo>
                    <a:cubicBezTo>
                      <a:pt x="6101156" y="222642"/>
                      <a:pt x="6086122" y="209804"/>
                      <a:pt x="6086122" y="184466"/>
                    </a:cubicBezTo>
                    <a:lnTo>
                      <a:pt x="6086122" y="147091"/>
                    </a:lnTo>
                    <a:cubicBezTo>
                      <a:pt x="6086122" y="130367"/>
                      <a:pt x="6079533" y="121583"/>
                      <a:pt x="6066357" y="120738"/>
                    </a:cubicBezTo>
                    <a:lnTo>
                      <a:pt x="6066357" y="102242"/>
                    </a:lnTo>
                    <a:cubicBezTo>
                      <a:pt x="6079533" y="101397"/>
                      <a:pt x="6086122" y="92444"/>
                      <a:pt x="6086122" y="75382"/>
                    </a:cubicBezTo>
                    <a:lnTo>
                      <a:pt x="6086122" y="39021"/>
                    </a:lnTo>
                    <a:cubicBezTo>
                      <a:pt x="6086122" y="13345"/>
                      <a:pt x="6101156" y="338"/>
                      <a:pt x="6131224" y="0"/>
                    </a:cubicBezTo>
                    <a:close/>
                    <a:moveTo>
                      <a:pt x="3572999" y="0"/>
                    </a:moveTo>
                    <a:cubicBezTo>
                      <a:pt x="3602899" y="338"/>
                      <a:pt x="3617848" y="13345"/>
                      <a:pt x="3617848" y="39021"/>
                    </a:cubicBezTo>
                    <a:lnTo>
                      <a:pt x="3617848" y="75382"/>
                    </a:lnTo>
                    <a:cubicBezTo>
                      <a:pt x="3617848" y="92444"/>
                      <a:pt x="3624394" y="101397"/>
                      <a:pt x="3637486" y="102242"/>
                    </a:cubicBezTo>
                    <a:lnTo>
                      <a:pt x="3637486" y="120738"/>
                    </a:lnTo>
                    <a:cubicBezTo>
                      <a:pt x="3624394" y="121583"/>
                      <a:pt x="3617848" y="130367"/>
                      <a:pt x="3617848" y="147091"/>
                    </a:cubicBezTo>
                    <a:lnTo>
                      <a:pt x="3617848" y="184466"/>
                    </a:lnTo>
                    <a:cubicBezTo>
                      <a:pt x="3617848" y="209804"/>
                      <a:pt x="3602899" y="222642"/>
                      <a:pt x="3572999" y="222980"/>
                    </a:cubicBezTo>
                    <a:lnTo>
                      <a:pt x="3572999" y="203469"/>
                    </a:lnTo>
                    <a:cubicBezTo>
                      <a:pt x="3580347" y="203300"/>
                      <a:pt x="3585562" y="201273"/>
                      <a:pt x="3588645" y="197388"/>
                    </a:cubicBezTo>
                    <a:cubicBezTo>
                      <a:pt x="3591728" y="193503"/>
                      <a:pt x="3593270" y="187084"/>
                      <a:pt x="3593270" y="178131"/>
                    </a:cubicBezTo>
                    <a:lnTo>
                      <a:pt x="3593270" y="142783"/>
                    </a:lnTo>
                    <a:cubicBezTo>
                      <a:pt x="3593270" y="125638"/>
                      <a:pt x="3601589" y="115206"/>
                      <a:pt x="3618228" y="111490"/>
                    </a:cubicBezTo>
                    <a:lnTo>
                      <a:pt x="3618228" y="111110"/>
                    </a:lnTo>
                    <a:cubicBezTo>
                      <a:pt x="3601589" y="107140"/>
                      <a:pt x="3593270" y="96625"/>
                      <a:pt x="3593270" y="79563"/>
                    </a:cubicBezTo>
                    <a:lnTo>
                      <a:pt x="3593270" y="43836"/>
                    </a:lnTo>
                    <a:cubicBezTo>
                      <a:pt x="3593270" y="28041"/>
                      <a:pt x="3586513" y="19975"/>
                      <a:pt x="3572999" y="19638"/>
                    </a:cubicBezTo>
                    <a:close/>
                    <a:moveTo>
                      <a:pt x="3555515" y="0"/>
                    </a:moveTo>
                    <a:lnTo>
                      <a:pt x="3555515" y="19638"/>
                    </a:lnTo>
                    <a:cubicBezTo>
                      <a:pt x="3542085" y="19975"/>
                      <a:pt x="3535371" y="28041"/>
                      <a:pt x="3535371" y="43836"/>
                    </a:cubicBezTo>
                    <a:lnTo>
                      <a:pt x="3535371" y="79563"/>
                    </a:lnTo>
                    <a:cubicBezTo>
                      <a:pt x="3535371" y="96625"/>
                      <a:pt x="3526966" y="107140"/>
                      <a:pt x="3510158" y="111110"/>
                    </a:cubicBezTo>
                    <a:lnTo>
                      <a:pt x="3510158" y="111490"/>
                    </a:lnTo>
                    <a:cubicBezTo>
                      <a:pt x="3526966" y="115206"/>
                      <a:pt x="3535371" y="125638"/>
                      <a:pt x="3535371" y="142783"/>
                    </a:cubicBezTo>
                    <a:lnTo>
                      <a:pt x="3535371" y="178131"/>
                    </a:lnTo>
                    <a:cubicBezTo>
                      <a:pt x="3535371" y="187168"/>
                      <a:pt x="3536870" y="193608"/>
                      <a:pt x="3539868" y="197451"/>
                    </a:cubicBezTo>
                    <a:cubicBezTo>
                      <a:pt x="3542866" y="201294"/>
                      <a:pt x="3548082" y="203300"/>
                      <a:pt x="3555515" y="203469"/>
                    </a:cubicBezTo>
                    <a:lnTo>
                      <a:pt x="3555515" y="222980"/>
                    </a:lnTo>
                    <a:cubicBezTo>
                      <a:pt x="3525446" y="222642"/>
                      <a:pt x="3510412" y="209804"/>
                      <a:pt x="3510412" y="184466"/>
                    </a:cubicBezTo>
                    <a:lnTo>
                      <a:pt x="3510412" y="147091"/>
                    </a:lnTo>
                    <a:cubicBezTo>
                      <a:pt x="3510412" y="130367"/>
                      <a:pt x="3503824" y="121583"/>
                      <a:pt x="3490648" y="120738"/>
                    </a:cubicBezTo>
                    <a:lnTo>
                      <a:pt x="3490648" y="102242"/>
                    </a:lnTo>
                    <a:cubicBezTo>
                      <a:pt x="3503824" y="101397"/>
                      <a:pt x="3510412" y="92444"/>
                      <a:pt x="3510412" y="75382"/>
                    </a:cubicBezTo>
                    <a:lnTo>
                      <a:pt x="3510412" y="39021"/>
                    </a:lnTo>
                    <a:cubicBezTo>
                      <a:pt x="3510412" y="13345"/>
                      <a:pt x="3525446" y="338"/>
                      <a:pt x="3555515" y="0"/>
                    </a:cubicBezTo>
                    <a:close/>
                    <a:moveTo>
                      <a:pt x="2906897" y="0"/>
                    </a:moveTo>
                    <a:cubicBezTo>
                      <a:pt x="2936797" y="338"/>
                      <a:pt x="2951746" y="13345"/>
                      <a:pt x="2951746" y="39021"/>
                    </a:cubicBezTo>
                    <a:lnTo>
                      <a:pt x="2951746" y="75382"/>
                    </a:lnTo>
                    <a:cubicBezTo>
                      <a:pt x="2951746" y="92444"/>
                      <a:pt x="2958292" y="101397"/>
                      <a:pt x="2971384" y="102242"/>
                    </a:cubicBezTo>
                    <a:lnTo>
                      <a:pt x="2971384" y="120738"/>
                    </a:lnTo>
                    <a:cubicBezTo>
                      <a:pt x="2958292" y="121583"/>
                      <a:pt x="2951746" y="130367"/>
                      <a:pt x="2951746" y="147091"/>
                    </a:cubicBezTo>
                    <a:lnTo>
                      <a:pt x="2951746" y="184466"/>
                    </a:lnTo>
                    <a:cubicBezTo>
                      <a:pt x="2951746" y="209804"/>
                      <a:pt x="2936797" y="222642"/>
                      <a:pt x="2906897" y="222980"/>
                    </a:cubicBezTo>
                    <a:lnTo>
                      <a:pt x="2906897" y="203469"/>
                    </a:lnTo>
                    <a:cubicBezTo>
                      <a:pt x="2914245" y="203300"/>
                      <a:pt x="2919460" y="201273"/>
                      <a:pt x="2922543" y="197388"/>
                    </a:cubicBezTo>
                    <a:cubicBezTo>
                      <a:pt x="2925626" y="193503"/>
                      <a:pt x="2927168" y="187084"/>
                      <a:pt x="2927168" y="178131"/>
                    </a:cubicBezTo>
                    <a:lnTo>
                      <a:pt x="2927168" y="142783"/>
                    </a:lnTo>
                    <a:cubicBezTo>
                      <a:pt x="2927168" y="125638"/>
                      <a:pt x="2935487" y="115206"/>
                      <a:pt x="2952126" y="111490"/>
                    </a:cubicBezTo>
                    <a:lnTo>
                      <a:pt x="2952126" y="111110"/>
                    </a:lnTo>
                    <a:cubicBezTo>
                      <a:pt x="2935487" y="107140"/>
                      <a:pt x="2927168" y="96625"/>
                      <a:pt x="2927168" y="79563"/>
                    </a:cubicBezTo>
                    <a:lnTo>
                      <a:pt x="2927168" y="43836"/>
                    </a:lnTo>
                    <a:cubicBezTo>
                      <a:pt x="2927168" y="28041"/>
                      <a:pt x="2920411" y="19975"/>
                      <a:pt x="2906897" y="19638"/>
                    </a:cubicBezTo>
                    <a:close/>
                    <a:moveTo>
                      <a:pt x="2889413" y="0"/>
                    </a:moveTo>
                    <a:lnTo>
                      <a:pt x="2889413" y="19638"/>
                    </a:lnTo>
                    <a:cubicBezTo>
                      <a:pt x="2875983" y="19975"/>
                      <a:pt x="2869269" y="28041"/>
                      <a:pt x="2869269" y="43836"/>
                    </a:cubicBezTo>
                    <a:lnTo>
                      <a:pt x="2869269" y="79563"/>
                    </a:lnTo>
                    <a:cubicBezTo>
                      <a:pt x="2869269" y="96625"/>
                      <a:pt x="2860864" y="107140"/>
                      <a:pt x="2844056" y="111110"/>
                    </a:cubicBezTo>
                    <a:lnTo>
                      <a:pt x="2844056" y="111490"/>
                    </a:lnTo>
                    <a:cubicBezTo>
                      <a:pt x="2860864" y="115206"/>
                      <a:pt x="2869269" y="125638"/>
                      <a:pt x="2869269" y="142783"/>
                    </a:cubicBezTo>
                    <a:lnTo>
                      <a:pt x="2869269" y="178131"/>
                    </a:lnTo>
                    <a:cubicBezTo>
                      <a:pt x="2869269" y="187168"/>
                      <a:pt x="2870768" y="193608"/>
                      <a:pt x="2873766" y="197451"/>
                    </a:cubicBezTo>
                    <a:cubicBezTo>
                      <a:pt x="2876764" y="201294"/>
                      <a:pt x="2881980" y="203300"/>
                      <a:pt x="2889413" y="203469"/>
                    </a:cubicBezTo>
                    <a:lnTo>
                      <a:pt x="2889413" y="222980"/>
                    </a:lnTo>
                    <a:cubicBezTo>
                      <a:pt x="2859344" y="222642"/>
                      <a:pt x="2844310" y="209804"/>
                      <a:pt x="2844310" y="184466"/>
                    </a:cubicBezTo>
                    <a:lnTo>
                      <a:pt x="2844310" y="147091"/>
                    </a:lnTo>
                    <a:cubicBezTo>
                      <a:pt x="2844310" y="130367"/>
                      <a:pt x="2837722" y="121583"/>
                      <a:pt x="2824546" y="120738"/>
                    </a:cubicBezTo>
                    <a:lnTo>
                      <a:pt x="2824546" y="102242"/>
                    </a:lnTo>
                    <a:cubicBezTo>
                      <a:pt x="2837722" y="101397"/>
                      <a:pt x="2844310" y="92444"/>
                      <a:pt x="2844310" y="75382"/>
                    </a:cubicBezTo>
                    <a:lnTo>
                      <a:pt x="2844310" y="39021"/>
                    </a:lnTo>
                    <a:cubicBezTo>
                      <a:pt x="2844310" y="13345"/>
                      <a:pt x="2859344" y="338"/>
                      <a:pt x="2889413" y="0"/>
                    </a:cubicBezTo>
                    <a:close/>
                    <a:moveTo>
                      <a:pt x="82351" y="0"/>
                    </a:moveTo>
                    <a:cubicBezTo>
                      <a:pt x="112251" y="338"/>
                      <a:pt x="127201" y="13345"/>
                      <a:pt x="127201" y="39021"/>
                    </a:cubicBezTo>
                    <a:lnTo>
                      <a:pt x="127201" y="75382"/>
                    </a:lnTo>
                    <a:cubicBezTo>
                      <a:pt x="127201" y="92444"/>
                      <a:pt x="133746" y="101397"/>
                      <a:pt x="146838" y="102242"/>
                    </a:cubicBezTo>
                    <a:lnTo>
                      <a:pt x="146838" y="120738"/>
                    </a:lnTo>
                    <a:cubicBezTo>
                      <a:pt x="133746" y="121583"/>
                      <a:pt x="127201" y="130367"/>
                      <a:pt x="127201" y="147091"/>
                    </a:cubicBezTo>
                    <a:lnTo>
                      <a:pt x="127201" y="184466"/>
                    </a:lnTo>
                    <a:cubicBezTo>
                      <a:pt x="127201" y="209804"/>
                      <a:pt x="112251" y="222642"/>
                      <a:pt x="82351" y="222980"/>
                    </a:cubicBezTo>
                    <a:lnTo>
                      <a:pt x="82351" y="203469"/>
                    </a:lnTo>
                    <a:cubicBezTo>
                      <a:pt x="89699" y="203300"/>
                      <a:pt x="94915" y="201273"/>
                      <a:pt x="97998" y="197388"/>
                    </a:cubicBezTo>
                    <a:cubicBezTo>
                      <a:pt x="101081" y="193503"/>
                      <a:pt x="102622" y="187084"/>
                      <a:pt x="102622" y="178131"/>
                    </a:cubicBezTo>
                    <a:lnTo>
                      <a:pt x="102622" y="142783"/>
                    </a:lnTo>
                    <a:cubicBezTo>
                      <a:pt x="102622" y="125638"/>
                      <a:pt x="110942" y="115206"/>
                      <a:pt x="127581" y="111490"/>
                    </a:cubicBezTo>
                    <a:lnTo>
                      <a:pt x="127581" y="111110"/>
                    </a:lnTo>
                    <a:cubicBezTo>
                      <a:pt x="110942" y="107140"/>
                      <a:pt x="102622" y="96625"/>
                      <a:pt x="102622" y="79563"/>
                    </a:cubicBezTo>
                    <a:lnTo>
                      <a:pt x="102622" y="43836"/>
                    </a:lnTo>
                    <a:cubicBezTo>
                      <a:pt x="102622" y="28041"/>
                      <a:pt x="95865" y="19975"/>
                      <a:pt x="82351"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6"/>
                      <a:pt x="44723" y="125638"/>
                      <a:pt x="44723" y="142783"/>
                    </a:cubicBezTo>
                    <a:lnTo>
                      <a:pt x="44723" y="178131"/>
                    </a:lnTo>
                    <a:cubicBezTo>
                      <a:pt x="44723" y="187168"/>
                      <a:pt x="46222" y="193608"/>
                      <a:pt x="49220" y="197451"/>
                    </a:cubicBezTo>
                    <a:cubicBezTo>
                      <a:pt x="52219" y="201294"/>
                      <a:pt x="57434" y="203300"/>
                      <a:pt x="64867" y="203469"/>
                    </a:cubicBezTo>
                    <a:lnTo>
                      <a:pt x="64867" y="222980"/>
                    </a:lnTo>
                    <a:cubicBezTo>
                      <a:pt x="34798" y="222642"/>
                      <a:pt x="19765" y="209804"/>
                      <a:pt x="19765" y="184466"/>
                    </a:cubicBezTo>
                    <a:lnTo>
                      <a:pt x="19765" y="147091"/>
                    </a:lnTo>
                    <a:cubicBezTo>
                      <a:pt x="19765" y="130367"/>
                      <a:pt x="13176" y="121583"/>
                      <a:pt x="0" y="120738"/>
                    </a:cubicBezTo>
                    <a:lnTo>
                      <a:pt x="0" y="102242"/>
                    </a:lnTo>
                    <a:cubicBezTo>
                      <a:pt x="13176" y="101397"/>
                      <a:pt x="19765" y="92444"/>
                      <a:pt x="19765" y="75382"/>
                    </a:cubicBezTo>
                    <a:lnTo>
                      <a:pt x="19765" y="39021"/>
                    </a:lnTo>
                    <a:cubicBezTo>
                      <a:pt x="19765" y="13345"/>
                      <a:pt x="34798"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nvGrpSpPr>
            <p:cNvPr id="389" name="Group 388"/>
            <p:cNvGrpSpPr/>
            <p:nvPr/>
          </p:nvGrpSpPr>
          <p:grpSpPr>
            <a:xfrm>
              <a:off x="9495970" y="2643633"/>
              <a:ext cx="1741663" cy="32454"/>
              <a:chOff x="37549" y="2881001"/>
              <a:chExt cx="12074550" cy="224991"/>
            </a:xfrm>
            <a:grpFill/>
          </p:grpSpPr>
          <p:sp>
            <p:nvSpPr>
              <p:cNvPr id="390" name="Freeform 389"/>
              <p:cNvSpPr/>
              <p:nvPr/>
            </p:nvSpPr>
            <p:spPr>
              <a:xfrm>
                <a:off x="257711" y="2883011"/>
                <a:ext cx="8179660" cy="222981"/>
              </a:xfrm>
              <a:custGeom>
                <a:avLst/>
                <a:gdLst>
                  <a:gd name="connsiteX0" fmla="*/ 179758 w 8179660"/>
                  <a:gd name="connsiteY0" fmla="*/ 169438 h 222980"/>
                  <a:gd name="connsiteX1" fmla="*/ 156567 w 8179660"/>
                  <a:gd name="connsiteY1" fmla="*/ 208685 h 222980"/>
                  <a:gd name="connsiteX2" fmla="*/ 172979 w 8179660"/>
                  <a:gd name="connsiteY2" fmla="*/ 212075 h 222980"/>
                  <a:gd name="connsiteX3" fmla="*/ 189391 w 8179660"/>
                  <a:gd name="connsiteY3" fmla="*/ 208507 h 222980"/>
                  <a:gd name="connsiteX4" fmla="*/ 186448 w 8179660"/>
                  <a:gd name="connsiteY4" fmla="*/ 199052 h 222980"/>
                  <a:gd name="connsiteX5" fmla="*/ 187429 w 8179660"/>
                  <a:gd name="connsiteY5" fmla="*/ 185851 h 222980"/>
                  <a:gd name="connsiteX6" fmla="*/ 179758 w 8179660"/>
                  <a:gd name="connsiteY6" fmla="*/ 169438 h 222980"/>
                  <a:gd name="connsiteX7" fmla="*/ 19737 w 8179660"/>
                  <a:gd name="connsiteY7" fmla="*/ 153026 h 222980"/>
                  <a:gd name="connsiteX8" fmla="*/ 6090 w 8179660"/>
                  <a:gd name="connsiteY8" fmla="*/ 173274 h 222980"/>
                  <a:gd name="connsiteX9" fmla="*/ 27587 w 8179660"/>
                  <a:gd name="connsiteY9" fmla="*/ 194860 h 222980"/>
                  <a:gd name="connsiteX10" fmla="*/ 36506 w 8179660"/>
                  <a:gd name="connsiteY10" fmla="*/ 187635 h 222980"/>
                  <a:gd name="connsiteX11" fmla="*/ 19737 w 8179660"/>
                  <a:gd name="connsiteY11" fmla="*/ 153026 h 222980"/>
                  <a:gd name="connsiteX12" fmla="*/ 3349 w 8179660"/>
                  <a:gd name="connsiteY12" fmla="*/ 84735 h 222980"/>
                  <a:gd name="connsiteX13" fmla="*/ 3148 w 8179660"/>
                  <a:gd name="connsiteY13" fmla="*/ 86252 h 222980"/>
                  <a:gd name="connsiteX14" fmla="*/ 3082 w 8179660"/>
                  <a:gd name="connsiteY14" fmla="*/ 84992 h 222980"/>
                  <a:gd name="connsiteX15" fmla="*/ 205269 w 8179660"/>
                  <a:gd name="connsiteY15" fmla="*/ 57540 h 222980"/>
                  <a:gd name="connsiteX16" fmla="*/ 201277 w 8179660"/>
                  <a:gd name="connsiteY16" fmla="*/ 60394 h 222980"/>
                  <a:gd name="connsiteX17" fmla="*/ 208199 w 8179660"/>
                  <a:gd name="connsiteY17" fmla="*/ 68765 h 222980"/>
                  <a:gd name="connsiteX18" fmla="*/ 215080 w 8179660"/>
                  <a:gd name="connsiteY18" fmla="*/ 67039 h 222980"/>
                  <a:gd name="connsiteX19" fmla="*/ 188856 w 8179660"/>
                  <a:gd name="connsiteY19" fmla="*/ 86217 h 222980"/>
                  <a:gd name="connsiteX20" fmla="*/ 193873 w 8179660"/>
                  <a:gd name="connsiteY20" fmla="*/ 78594 h 222980"/>
                  <a:gd name="connsiteX21" fmla="*/ 186091 w 8179660"/>
                  <a:gd name="connsiteY21" fmla="*/ 71633 h 222980"/>
                  <a:gd name="connsiteX22" fmla="*/ 181274 w 8179660"/>
                  <a:gd name="connsiteY22" fmla="*/ 75692 h 222980"/>
                  <a:gd name="connsiteX23" fmla="*/ 205269 w 8179660"/>
                  <a:gd name="connsiteY23" fmla="*/ 57540 h 222980"/>
                  <a:gd name="connsiteX24" fmla="*/ 178700 w 8179660"/>
                  <a:gd name="connsiteY24" fmla="*/ 41128 h 222980"/>
                  <a:gd name="connsiteX25" fmla="*/ 180985 w 8179660"/>
                  <a:gd name="connsiteY25" fmla="*/ 41165 h 222980"/>
                  <a:gd name="connsiteX26" fmla="*/ 189124 w 8179660"/>
                  <a:gd name="connsiteY26" fmla="*/ 42421 h 222980"/>
                  <a:gd name="connsiteX27" fmla="*/ 170214 w 8179660"/>
                  <a:gd name="connsiteY27" fmla="*/ 61331 h 222980"/>
                  <a:gd name="connsiteX28" fmla="*/ 178700 w 8179660"/>
                  <a:gd name="connsiteY28" fmla="*/ 41128 h 222980"/>
                  <a:gd name="connsiteX29" fmla="*/ 281303 w 8179660"/>
                  <a:gd name="connsiteY29" fmla="*/ 19051 h 222980"/>
                  <a:gd name="connsiteX30" fmla="*/ 273106 w 8179660"/>
                  <a:gd name="connsiteY30" fmla="*/ 32972 h 222980"/>
                  <a:gd name="connsiteX31" fmla="*/ 260930 w 8179660"/>
                  <a:gd name="connsiteY31" fmla="*/ 34963 h 222980"/>
                  <a:gd name="connsiteX32" fmla="*/ 272071 w 8179660"/>
                  <a:gd name="connsiteY32" fmla="*/ 28334 h 222980"/>
                  <a:gd name="connsiteX33" fmla="*/ 281303 w 8179660"/>
                  <a:gd name="connsiteY33" fmla="*/ 19051 h 222980"/>
                  <a:gd name="connsiteX34" fmla="*/ 177366 w 8179660"/>
                  <a:gd name="connsiteY34" fmla="*/ 46 h 222980"/>
                  <a:gd name="connsiteX35" fmla="*/ 183229 w 8179660"/>
                  <a:gd name="connsiteY35" fmla="*/ 560 h 222980"/>
                  <a:gd name="connsiteX36" fmla="*/ 226214 w 8179660"/>
                  <a:gd name="connsiteY36" fmla="*/ 29780 h 222980"/>
                  <a:gd name="connsiteX37" fmla="*/ 244085 w 8179660"/>
                  <a:gd name="connsiteY37" fmla="*/ 50790 h 222980"/>
                  <a:gd name="connsiteX38" fmla="*/ 240945 w 8179660"/>
                  <a:gd name="connsiteY38" fmla="*/ 58517 h 222980"/>
                  <a:gd name="connsiteX39" fmla="*/ 253971 w 8179660"/>
                  <a:gd name="connsiteY39" fmla="*/ 68554 h 222980"/>
                  <a:gd name="connsiteX40" fmla="*/ 252295 w 8179660"/>
                  <a:gd name="connsiteY40" fmla="*/ 31471 h 222980"/>
                  <a:gd name="connsiteX41" fmla="*/ 267509 w 8179660"/>
                  <a:gd name="connsiteY41" fmla="*/ 21811 h 222980"/>
                  <a:gd name="connsiteX42" fmla="*/ 279342 w 8179660"/>
                  <a:gd name="connsiteY42" fmla="*/ 10703 h 222980"/>
                  <a:gd name="connsiteX43" fmla="*/ 302042 w 8179660"/>
                  <a:gd name="connsiteY43" fmla="*/ 72765 h 222980"/>
                  <a:gd name="connsiteX44" fmla="*/ 264611 w 8179660"/>
                  <a:gd name="connsiteY44" fmla="*/ 140624 h 222980"/>
                  <a:gd name="connsiteX45" fmla="*/ 232800 w 8179660"/>
                  <a:gd name="connsiteY45" fmla="*/ 141337 h 222980"/>
                  <a:gd name="connsiteX46" fmla="*/ 228821 w 8179660"/>
                  <a:gd name="connsiteY46" fmla="*/ 139951 h 222980"/>
                  <a:gd name="connsiteX47" fmla="*/ 228343 w 8179660"/>
                  <a:gd name="connsiteY47" fmla="*/ 142212 h 222980"/>
                  <a:gd name="connsiteX48" fmla="*/ 203756 w 8179660"/>
                  <a:gd name="connsiteY48" fmla="*/ 162116 h 222980"/>
                  <a:gd name="connsiteX49" fmla="*/ 182263 w 8179660"/>
                  <a:gd name="connsiteY49" fmla="*/ 152457 h 222980"/>
                  <a:gd name="connsiteX50" fmla="*/ 181297 w 8179660"/>
                  <a:gd name="connsiteY50" fmla="*/ 165014 h 222980"/>
                  <a:gd name="connsiteX51" fmla="*/ 190957 w 8179660"/>
                  <a:gd name="connsiteY51" fmla="*/ 185540 h 222980"/>
                  <a:gd name="connsiteX52" fmla="*/ 190474 w 8179660"/>
                  <a:gd name="connsiteY52" fmla="*/ 196649 h 222980"/>
                  <a:gd name="connsiteX53" fmla="*/ 192647 w 8179660"/>
                  <a:gd name="connsiteY53" fmla="*/ 210414 h 222980"/>
                  <a:gd name="connsiteX54" fmla="*/ 176709 w 8179660"/>
                  <a:gd name="connsiteY54" fmla="*/ 216210 h 222980"/>
                  <a:gd name="connsiteX55" fmla="*/ 151835 w 8179660"/>
                  <a:gd name="connsiteY55" fmla="*/ 210897 h 222980"/>
                  <a:gd name="connsiteX56" fmla="*/ 151076 w 8179660"/>
                  <a:gd name="connsiteY56" fmla="*/ 206443 h 222980"/>
                  <a:gd name="connsiteX57" fmla="*/ 151036 w 8179660"/>
                  <a:gd name="connsiteY57" fmla="*/ 205098 h 222980"/>
                  <a:gd name="connsiteX58" fmla="*/ 147297 w 8179660"/>
                  <a:gd name="connsiteY58" fmla="*/ 208642 h 222980"/>
                  <a:gd name="connsiteX59" fmla="*/ 123823 w 8179660"/>
                  <a:gd name="connsiteY59" fmla="*/ 222971 h 222980"/>
                  <a:gd name="connsiteX60" fmla="*/ 100398 w 8179660"/>
                  <a:gd name="connsiteY60" fmla="*/ 194717 h 222980"/>
                  <a:gd name="connsiteX61" fmla="*/ 111265 w 8179660"/>
                  <a:gd name="connsiteY61" fmla="*/ 182884 h 222980"/>
                  <a:gd name="connsiteX62" fmla="*/ 86392 w 8179660"/>
                  <a:gd name="connsiteY62" fmla="*/ 180469 h 222980"/>
                  <a:gd name="connsiteX63" fmla="*/ 85426 w 8179660"/>
                  <a:gd name="connsiteY63" fmla="*/ 191336 h 222980"/>
                  <a:gd name="connsiteX64" fmla="*/ 79147 w 8179660"/>
                  <a:gd name="connsiteY64" fmla="*/ 201962 h 222980"/>
                  <a:gd name="connsiteX65" fmla="*/ 74076 w 8179660"/>
                  <a:gd name="connsiteY65" fmla="*/ 221039 h 222980"/>
                  <a:gd name="connsiteX66" fmla="*/ 33988 w 8179660"/>
                  <a:gd name="connsiteY66" fmla="*/ 212587 h 222980"/>
                  <a:gd name="connsiteX67" fmla="*/ 34954 w 8179660"/>
                  <a:gd name="connsiteY67" fmla="*/ 198581 h 222980"/>
                  <a:gd name="connsiteX68" fmla="*/ 25295 w 8179660"/>
                  <a:gd name="connsiteY68" fmla="*/ 200513 h 222980"/>
                  <a:gd name="connsiteX69" fmla="*/ 180 w 8179660"/>
                  <a:gd name="connsiteY69" fmla="*/ 174673 h 222980"/>
                  <a:gd name="connsiteX70" fmla="*/ 15394 w 8179660"/>
                  <a:gd name="connsiteY70" fmla="*/ 148110 h 222980"/>
                  <a:gd name="connsiteX71" fmla="*/ 16843 w 8179660"/>
                  <a:gd name="connsiteY71" fmla="*/ 121546 h 222980"/>
                  <a:gd name="connsiteX72" fmla="*/ 1387 w 8179660"/>
                  <a:gd name="connsiteY72" fmla="*/ 99570 h 222980"/>
                  <a:gd name="connsiteX73" fmla="*/ 3148 w 8179660"/>
                  <a:gd name="connsiteY73" fmla="*/ 86252 h 222980"/>
                  <a:gd name="connsiteX74" fmla="*/ 3607 w 8179660"/>
                  <a:gd name="connsiteY74" fmla="*/ 94972 h 222980"/>
                  <a:gd name="connsiteX75" fmla="*/ 4431 w 8179660"/>
                  <a:gd name="connsiteY75" fmla="*/ 95368 h 222980"/>
                  <a:gd name="connsiteX76" fmla="*/ 4553 w 8179660"/>
                  <a:gd name="connsiteY76" fmla="*/ 96542 h 222980"/>
                  <a:gd name="connsiteX77" fmla="*/ 24108 w 8179660"/>
                  <a:gd name="connsiteY77" fmla="*/ 110389 h 222980"/>
                  <a:gd name="connsiteX78" fmla="*/ 42331 w 8179660"/>
                  <a:gd name="connsiteY78" fmla="*/ 181019 h 222980"/>
                  <a:gd name="connsiteX79" fmla="*/ 43293 w 8179660"/>
                  <a:gd name="connsiteY79" fmla="*/ 182869 h 222980"/>
                  <a:gd name="connsiteX80" fmla="*/ 43259 w 8179660"/>
                  <a:gd name="connsiteY80" fmla="*/ 183736 h 222980"/>
                  <a:gd name="connsiteX81" fmla="*/ 41858 w 8179660"/>
                  <a:gd name="connsiteY81" fmla="*/ 197179 h 222980"/>
                  <a:gd name="connsiteX82" fmla="*/ 38558 w 8179660"/>
                  <a:gd name="connsiteY82" fmla="*/ 208507 h 222980"/>
                  <a:gd name="connsiteX83" fmla="*/ 72721 w 8179660"/>
                  <a:gd name="connsiteY83" fmla="*/ 215108 h 222980"/>
                  <a:gd name="connsiteX84" fmla="*/ 73880 w 8179660"/>
                  <a:gd name="connsiteY84" fmla="*/ 204225 h 222980"/>
                  <a:gd name="connsiteX85" fmla="*/ 80481 w 8179660"/>
                  <a:gd name="connsiteY85" fmla="*/ 190043 h 222980"/>
                  <a:gd name="connsiteX86" fmla="*/ 80760 w 8179660"/>
                  <a:gd name="connsiteY86" fmla="*/ 174935 h 222980"/>
                  <a:gd name="connsiteX87" fmla="*/ 80552 w 8179660"/>
                  <a:gd name="connsiteY87" fmla="*/ 169256 h 222980"/>
                  <a:gd name="connsiteX88" fmla="*/ 82140 w 8179660"/>
                  <a:gd name="connsiteY88" fmla="*/ 171106 h 222980"/>
                  <a:gd name="connsiteX89" fmla="*/ 121512 w 8179660"/>
                  <a:gd name="connsiteY89" fmla="*/ 168903 h 222980"/>
                  <a:gd name="connsiteX90" fmla="*/ 122404 w 8179660"/>
                  <a:gd name="connsiteY90" fmla="*/ 182640 h 222980"/>
                  <a:gd name="connsiteX91" fmla="*/ 105367 w 8179660"/>
                  <a:gd name="connsiteY91" fmla="*/ 195306 h 222980"/>
                  <a:gd name="connsiteX92" fmla="*/ 124277 w 8179660"/>
                  <a:gd name="connsiteY92" fmla="*/ 218229 h 222980"/>
                  <a:gd name="connsiteX93" fmla="*/ 159332 w 8179660"/>
                  <a:gd name="connsiteY93" fmla="*/ 190489 h 222980"/>
                  <a:gd name="connsiteX94" fmla="*/ 178420 w 8179660"/>
                  <a:gd name="connsiteY94" fmla="*/ 148655 h 222980"/>
                  <a:gd name="connsiteX95" fmla="*/ 161557 w 8179660"/>
                  <a:gd name="connsiteY95" fmla="*/ 130392 h 222980"/>
                  <a:gd name="connsiteX96" fmla="*/ 161363 w 8179660"/>
                  <a:gd name="connsiteY96" fmla="*/ 129884 h 222980"/>
                  <a:gd name="connsiteX97" fmla="*/ 163981 w 8179660"/>
                  <a:gd name="connsiteY97" fmla="*/ 131532 h 222980"/>
                  <a:gd name="connsiteX98" fmla="*/ 183147 w 8179660"/>
                  <a:gd name="connsiteY98" fmla="*/ 142144 h 222980"/>
                  <a:gd name="connsiteX99" fmla="*/ 204466 w 8179660"/>
                  <a:gd name="connsiteY99" fmla="*/ 156594 h 222980"/>
                  <a:gd name="connsiteX100" fmla="*/ 225427 w 8179660"/>
                  <a:gd name="connsiteY100" fmla="*/ 138219 h 222980"/>
                  <a:gd name="connsiteX101" fmla="*/ 222127 w 8179660"/>
                  <a:gd name="connsiteY101" fmla="*/ 137952 h 222980"/>
                  <a:gd name="connsiteX102" fmla="*/ 194334 w 8179660"/>
                  <a:gd name="connsiteY102" fmla="*/ 115804 h 222980"/>
                  <a:gd name="connsiteX103" fmla="*/ 195258 w 8179660"/>
                  <a:gd name="connsiteY103" fmla="*/ 111028 h 222980"/>
                  <a:gd name="connsiteX104" fmla="*/ 197011 w 8179660"/>
                  <a:gd name="connsiteY104" fmla="*/ 112938 h 222980"/>
                  <a:gd name="connsiteX105" fmla="*/ 268777 w 8179660"/>
                  <a:gd name="connsiteY105" fmla="*/ 131083 h 222980"/>
                  <a:gd name="connsiteX106" fmla="*/ 280641 w 8179660"/>
                  <a:gd name="connsiteY106" fmla="*/ 13967 h 222980"/>
                  <a:gd name="connsiteX107" fmla="*/ 271364 w 8179660"/>
                  <a:gd name="connsiteY107" fmla="*/ 24671 h 222980"/>
                  <a:gd name="connsiteX108" fmla="*/ 257806 w 8179660"/>
                  <a:gd name="connsiteY108" fmla="*/ 31539 h 222980"/>
                  <a:gd name="connsiteX109" fmla="*/ 249329 w 8179660"/>
                  <a:gd name="connsiteY109" fmla="*/ 92334 h 222980"/>
                  <a:gd name="connsiteX110" fmla="*/ 247849 w 8179660"/>
                  <a:gd name="connsiteY110" fmla="*/ 93502 h 222980"/>
                  <a:gd name="connsiteX111" fmla="*/ 248160 w 8179660"/>
                  <a:gd name="connsiteY111" fmla="*/ 92901 h 222980"/>
                  <a:gd name="connsiteX112" fmla="*/ 251384 w 8179660"/>
                  <a:gd name="connsiteY112" fmla="*/ 73819 h 222980"/>
                  <a:gd name="connsiteX113" fmla="*/ 238807 w 8179660"/>
                  <a:gd name="connsiteY113" fmla="*/ 76227 h 222980"/>
                  <a:gd name="connsiteX114" fmla="*/ 240145 w 8179660"/>
                  <a:gd name="connsiteY114" fmla="*/ 65791 h 222980"/>
                  <a:gd name="connsiteX115" fmla="*/ 228371 w 8179660"/>
                  <a:gd name="connsiteY115" fmla="*/ 65701 h 222980"/>
                  <a:gd name="connsiteX116" fmla="*/ 231760 w 8179660"/>
                  <a:gd name="connsiteY116" fmla="*/ 57941 h 222980"/>
                  <a:gd name="connsiteX117" fmla="*/ 224954 w 8179660"/>
                  <a:gd name="connsiteY117" fmla="*/ 54797 h 222980"/>
                  <a:gd name="connsiteX118" fmla="*/ 223067 w 8179660"/>
                  <a:gd name="connsiteY118" fmla="*/ 54810 h 222980"/>
                  <a:gd name="connsiteX119" fmla="*/ 224618 w 8179660"/>
                  <a:gd name="connsiteY119" fmla="*/ 54253 h 222980"/>
                  <a:gd name="connsiteX120" fmla="*/ 226944 w 8179660"/>
                  <a:gd name="connsiteY120" fmla="*/ 53571 h 222980"/>
                  <a:gd name="connsiteX121" fmla="*/ 238183 w 8179660"/>
                  <a:gd name="connsiteY121" fmla="*/ 50984 h 222980"/>
                  <a:gd name="connsiteX122" fmla="*/ 226765 w 8179660"/>
                  <a:gd name="connsiteY122" fmla="*/ 36445 h 222980"/>
                  <a:gd name="connsiteX123" fmla="*/ 214866 w 8179660"/>
                  <a:gd name="connsiteY123" fmla="*/ 34985 h 222980"/>
                  <a:gd name="connsiteX124" fmla="*/ 213767 w 8179660"/>
                  <a:gd name="connsiteY124" fmla="*/ 34927 h 222980"/>
                  <a:gd name="connsiteX125" fmla="*/ 213776 w 8179660"/>
                  <a:gd name="connsiteY125" fmla="*/ 34903 h 222980"/>
                  <a:gd name="connsiteX126" fmla="*/ 221503 w 8179660"/>
                  <a:gd name="connsiteY126" fmla="*/ 32520 h 222980"/>
                  <a:gd name="connsiteX127" fmla="*/ 179134 w 8179660"/>
                  <a:gd name="connsiteY127" fmla="*/ 6564 h 222980"/>
                  <a:gd name="connsiteX128" fmla="*/ 129004 w 8179660"/>
                  <a:gd name="connsiteY128" fmla="*/ 30023 h 222980"/>
                  <a:gd name="connsiteX129" fmla="*/ 143141 w 8179660"/>
                  <a:gd name="connsiteY129" fmla="*/ 30347 h 222980"/>
                  <a:gd name="connsiteX130" fmla="*/ 143714 w 8179660"/>
                  <a:gd name="connsiteY130" fmla="*/ 30430 h 222980"/>
                  <a:gd name="connsiteX131" fmla="*/ 141320 w 8179660"/>
                  <a:gd name="connsiteY131" fmla="*/ 31081 h 222980"/>
                  <a:gd name="connsiteX132" fmla="*/ 116887 w 8179660"/>
                  <a:gd name="connsiteY132" fmla="*/ 36163 h 222980"/>
                  <a:gd name="connsiteX133" fmla="*/ 70724 w 8179660"/>
                  <a:gd name="connsiteY133" fmla="*/ 96042 h 222980"/>
                  <a:gd name="connsiteX134" fmla="*/ 84611 w 8179660"/>
                  <a:gd name="connsiteY134" fmla="*/ 118006 h 222980"/>
                  <a:gd name="connsiteX135" fmla="*/ 99020 w 8179660"/>
                  <a:gd name="connsiteY135" fmla="*/ 101580 h 222980"/>
                  <a:gd name="connsiteX136" fmla="*/ 82162 w 8179660"/>
                  <a:gd name="connsiteY136" fmla="*/ 136449 h 222980"/>
                  <a:gd name="connsiteX137" fmla="*/ 97984 w 8179660"/>
                  <a:gd name="connsiteY137" fmla="*/ 145767 h 222980"/>
                  <a:gd name="connsiteX138" fmla="*/ 124956 w 8179660"/>
                  <a:gd name="connsiteY138" fmla="*/ 132414 h 222980"/>
                  <a:gd name="connsiteX139" fmla="*/ 142247 w 8179660"/>
                  <a:gd name="connsiteY139" fmla="*/ 130685 h 222980"/>
                  <a:gd name="connsiteX140" fmla="*/ 148443 w 8179660"/>
                  <a:gd name="connsiteY140" fmla="*/ 62099 h 222980"/>
                  <a:gd name="connsiteX141" fmla="*/ 149163 w 8179660"/>
                  <a:gd name="connsiteY141" fmla="*/ 139475 h 222980"/>
                  <a:gd name="connsiteX142" fmla="*/ 147070 w 8179660"/>
                  <a:gd name="connsiteY142" fmla="*/ 139132 h 222980"/>
                  <a:gd name="connsiteX143" fmla="*/ 144419 w 8179660"/>
                  <a:gd name="connsiteY143" fmla="*/ 138454 h 222980"/>
                  <a:gd name="connsiteX144" fmla="*/ 141703 w 8179660"/>
                  <a:gd name="connsiteY144" fmla="*/ 138030 h 222980"/>
                  <a:gd name="connsiteX145" fmla="*/ 140942 w 8179660"/>
                  <a:gd name="connsiteY145" fmla="*/ 137854 h 222980"/>
                  <a:gd name="connsiteX146" fmla="*/ 134217 w 8179660"/>
                  <a:gd name="connsiteY146" fmla="*/ 137626 h 222980"/>
                  <a:gd name="connsiteX147" fmla="*/ 133238 w 8179660"/>
                  <a:gd name="connsiteY147" fmla="*/ 137854 h 222980"/>
                  <a:gd name="connsiteX148" fmla="*/ 132646 w 8179660"/>
                  <a:gd name="connsiteY148" fmla="*/ 137906 h 222980"/>
                  <a:gd name="connsiteX149" fmla="*/ 93682 w 8179660"/>
                  <a:gd name="connsiteY149" fmla="*/ 153740 h 222980"/>
                  <a:gd name="connsiteX150" fmla="*/ 71492 w 8179660"/>
                  <a:gd name="connsiteY150" fmla="*/ 136140 h 222980"/>
                  <a:gd name="connsiteX151" fmla="*/ 71037 w 8179660"/>
                  <a:gd name="connsiteY151" fmla="*/ 135551 h 222980"/>
                  <a:gd name="connsiteX152" fmla="*/ 72748 w 8179660"/>
                  <a:gd name="connsiteY152" fmla="*/ 132692 h 222980"/>
                  <a:gd name="connsiteX153" fmla="*/ 78786 w 8179660"/>
                  <a:gd name="connsiteY153" fmla="*/ 123948 h 222980"/>
                  <a:gd name="connsiteX154" fmla="*/ 61838 w 8179660"/>
                  <a:gd name="connsiteY154" fmla="*/ 97099 h 222980"/>
                  <a:gd name="connsiteX155" fmla="*/ 91898 w 8179660"/>
                  <a:gd name="connsiteY155" fmla="*/ 51251 h 222980"/>
                  <a:gd name="connsiteX156" fmla="*/ 12382 w 8179660"/>
                  <a:gd name="connsiteY156" fmla="*/ 98314 h 222980"/>
                  <a:gd name="connsiteX157" fmla="*/ 8782 w 8179660"/>
                  <a:gd name="connsiteY157" fmla="*/ 95073 h 222980"/>
                  <a:gd name="connsiteX158" fmla="*/ 9834 w 8179660"/>
                  <a:gd name="connsiteY158" fmla="*/ 94482 h 222980"/>
                  <a:gd name="connsiteX159" fmla="*/ 13761 w 8179660"/>
                  <a:gd name="connsiteY159" fmla="*/ 74710 h 222980"/>
                  <a:gd name="connsiteX160" fmla="*/ 3349 w 8179660"/>
                  <a:gd name="connsiteY160" fmla="*/ 84735 h 222980"/>
                  <a:gd name="connsiteX161" fmla="*/ 4255 w 8179660"/>
                  <a:gd name="connsiteY161" fmla="*/ 77882 h 222980"/>
                  <a:gd name="connsiteX162" fmla="*/ 17809 w 8179660"/>
                  <a:gd name="connsiteY162" fmla="*/ 69384 h 222980"/>
                  <a:gd name="connsiteX163" fmla="*/ 17809 w 8179660"/>
                  <a:gd name="connsiteY163" fmla="*/ 93050 h 222980"/>
                  <a:gd name="connsiteX164" fmla="*/ 93637 w 8179660"/>
                  <a:gd name="connsiteY164" fmla="*/ 44994 h 222980"/>
                  <a:gd name="connsiteX165" fmla="*/ 116095 w 8179660"/>
                  <a:gd name="connsiteY165" fmla="*/ 28573 h 222980"/>
                  <a:gd name="connsiteX166" fmla="*/ 122090 w 8179660"/>
                  <a:gd name="connsiteY166" fmla="*/ 27944 h 222980"/>
                  <a:gd name="connsiteX167" fmla="*/ 122785 w 8179660"/>
                  <a:gd name="connsiteY167" fmla="*/ 26457 h 222980"/>
                  <a:gd name="connsiteX168" fmla="*/ 141935 w 8179660"/>
                  <a:gd name="connsiteY168" fmla="*/ 8046 h 222980"/>
                  <a:gd name="connsiteX169" fmla="*/ 177366 w 8179660"/>
                  <a:gd name="connsiteY169" fmla="*/ 46 h 222980"/>
                  <a:gd name="connsiteX170" fmla="*/ 8115173 w 8179660"/>
                  <a:gd name="connsiteY170" fmla="*/ 0 h 222980"/>
                  <a:gd name="connsiteX171" fmla="*/ 8160022 w 8179660"/>
                  <a:gd name="connsiteY171" fmla="*/ 39022 h 222980"/>
                  <a:gd name="connsiteX172" fmla="*/ 8160022 w 8179660"/>
                  <a:gd name="connsiteY172" fmla="*/ 75382 h 222980"/>
                  <a:gd name="connsiteX173" fmla="*/ 8179660 w 8179660"/>
                  <a:gd name="connsiteY173" fmla="*/ 102242 h 222980"/>
                  <a:gd name="connsiteX174" fmla="*/ 8179660 w 8179660"/>
                  <a:gd name="connsiteY174" fmla="*/ 120739 h 222980"/>
                  <a:gd name="connsiteX175" fmla="*/ 8160022 w 8179660"/>
                  <a:gd name="connsiteY175" fmla="*/ 147091 h 222980"/>
                  <a:gd name="connsiteX176" fmla="*/ 8160022 w 8179660"/>
                  <a:gd name="connsiteY176" fmla="*/ 184466 h 222980"/>
                  <a:gd name="connsiteX177" fmla="*/ 8115173 w 8179660"/>
                  <a:gd name="connsiteY177" fmla="*/ 222980 h 222980"/>
                  <a:gd name="connsiteX178" fmla="*/ 8115173 w 8179660"/>
                  <a:gd name="connsiteY178" fmla="*/ 203469 h 222980"/>
                  <a:gd name="connsiteX179" fmla="*/ 8130820 w 8179660"/>
                  <a:gd name="connsiteY179" fmla="*/ 197388 h 222980"/>
                  <a:gd name="connsiteX180" fmla="*/ 8135444 w 8179660"/>
                  <a:gd name="connsiteY180" fmla="*/ 178131 h 222980"/>
                  <a:gd name="connsiteX181" fmla="*/ 8135444 w 8179660"/>
                  <a:gd name="connsiteY181" fmla="*/ 142784 h 222980"/>
                  <a:gd name="connsiteX182" fmla="*/ 8160403 w 8179660"/>
                  <a:gd name="connsiteY182" fmla="*/ 111490 h 222980"/>
                  <a:gd name="connsiteX183" fmla="*/ 8160403 w 8179660"/>
                  <a:gd name="connsiteY183" fmla="*/ 111110 h 222980"/>
                  <a:gd name="connsiteX184" fmla="*/ 8135444 w 8179660"/>
                  <a:gd name="connsiteY184" fmla="*/ 79563 h 222980"/>
                  <a:gd name="connsiteX185" fmla="*/ 8135444 w 8179660"/>
                  <a:gd name="connsiteY185" fmla="*/ 43836 h 222980"/>
                  <a:gd name="connsiteX186" fmla="*/ 8115173 w 8179660"/>
                  <a:gd name="connsiteY186" fmla="*/ 19638 h 222980"/>
                  <a:gd name="connsiteX187" fmla="*/ 8097689 w 8179660"/>
                  <a:gd name="connsiteY187" fmla="*/ 0 h 222980"/>
                  <a:gd name="connsiteX188" fmla="*/ 8097689 w 8179660"/>
                  <a:gd name="connsiteY188" fmla="*/ 19638 h 222980"/>
                  <a:gd name="connsiteX189" fmla="*/ 8077545 w 8179660"/>
                  <a:gd name="connsiteY189" fmla="*/ 43836 h 222980"/>
                  <a:gd name="connsiteX190" fmla="*/ 8077545 w 8179660"/>
                  <a:gd name="connsiteY190" fmla="*/ 79563 h 222980"/>
                  <a:gd name="connsiteX191" fmla="*/ 8052333 w 8179660"/>
                  <a:gd name="connsiteY191" fmla="*/ 111110 h 222980"/>
                  <a:gd name="connsiteX192" fmla="*/ 8052333 w 8179660"/>
                  <a:gd name="connsiteY192" fmla="*/ 111490 h 222980"/>
                  <a:gd name="connsiteX193" fmla="*/ 8077545 w 8179660"/>
                  <a:gd name="connsiteY193" fmla="*/ 142784 h 222980"/>
                  <a:gd name="connsiteX194" fmla="*/ 8077545 w 8179660"/>
                  <a:gd name="connsiteY194" fmla="*/ 178131 h 222980"/>
                  <a:gd name="connsiteX195" fmla="*/ 8082043 w 8179660"/>
                  <a:gd name="connsiteY195" fmla="*/ 197451 h 222980"/>
                  <a:gd name="connsiteX196" fmla="*/ 8097689 w 8179660"/>
                  <a:gd name="connsiteY196" fmla="*/ 203469 h 222980"/>
                  <a:gd name="connsiteX197" fmla="*/ 8097689 w 8179660"/>
                  <a:gd name="connsiteY197" fmla="*/ 222980 h 222980"/>
                  <a:gd name="connsiteX198" fmla="*/ 8052587 w 8179660"/>
                  <a:gd name="connsiteY198" fmla="*/ 184466 h 222980"/>
                  <a:gd name="connsiteX199" fmla="*/ 8052587 w 8179660"/>
                  <a:gd name="connsiteY199" fmla="*/ 147091 h 222980"/>
                  <a:gd name="connsiteX200" fmla="*/ 8032822 w 8179660"/>
                  <a:gd name="connsiteY200" fmla="*/ 120739 h 222980"/>
                  <a:gd name="connsiteX201" fmla="*/ 8032822 w 8179660"/>
                  <a:gd name="connsiteY201" fmla="*/ 102242 h 222980"/>
                  <a:gd name="connsiteX202" fmla="*/ 8052587 w 8179660"/>
                  <a:gd name="connsiteY202" fmla="*/ 75382 h 222980"/>
                  <a:gd name="connsiteX203" fmla="*/ 8052587 w 8179660"/>
                  <a:gd name="connsiteY203" fmla="*/ 39022 h 222980"/>
                  <a:gd name="connsiteX204" fmla="*/ 8097689 w 8179660"/>
                  <a:gd name="connsiteY204" fmla="*/ 0 h 222980"/>
                  <a:gd name="connsiteX205" fmla="*/ 5416748 w 8179660"/>
                  <a:gd name="connsiteY205" fmla="*/ 0 h 222980"/>
                  <a:gd name="connsiteX206" fmla="*/ 5461598 w 8179660"/>
                  <a:gd name="connsiteY206" fmla="*/ 39022 h 222980"/>
                  <a:gd name="connsiteX207" fmla="*/ 5461598 w 8179660"/>
                  <a:gd name="connsiteY207" fmla="*/ 75382 h 222980"/>
                  <a:gd name="connsiteX208" fmla="*/ 5481235 w 8179660"/>
                  <a:gd name="connsiteY208" fmla="*/ 102242 h 222980"/>
                  <a:gd name="connsiteX209" fmla="*/ 5481235 w 8179660"/>
                  <a:gd name="connsiteY209" fmla="*/ 120739 h 222980"/>
                  <a:gd name="connsiteX210" fmla="*/ 5461598 w 8179660"/>
                  <a:gd name="connsiteY210" fmla="*/ 147091 h 222980"/>
                  <a:gd name="connsiteX211" fmla="*/ 5461598 w 8179660"/>
                  <a:gd name="connsiteY211" fmla="*/ 184466 h 222980"/>
                  <a:gd name="connsiteX212" fmla="*/ 5416748 w 8179660"/>
                  <a:gd name="connsiteY212" fmla="*/ 222980 h 222980"/>
                  <a:gd name="connsiteX213" fmla="*/ 5416748 w 8179660"/>
                  <a:gd name="connsiteY213" fmla="*/ 203469 h 222980"/>
                  <a:gd name="connsiteX214" fmla="*/ 5432395 w 8179660"/>
                  <a:gd name="connsiteY214" fmla="*/ 197388 h 222980"/>
                  <a:gd name="connsiteX215" fmla="*/ 5437019 w 8179660"/>
                  <a:gd name="connsiteY215" fmla="*/ 178131 h 222980"/>
                  <a:gd name="connsiteX216" fmla="*/ 5437019 w 8179660"/>
                  <a:gd name="connsiteY216" fmla="*/ 142784 h 222980"/>
                  <a:gd name="connsiteX217" fmla="*/ 5461978 w 8179660"/>
                  <a:gd name="connsiteY217" fmla="*/ 111490 h 222980"/>
                  <a:gd name="connsiteX218" fmla="*/ 5461978 w 8179660"/>
                  <a:gd name="connsiteY218" fmla="*/ 111110 h 222980"/>
                  <a:gd name="connsiteX219" fmla="*/ 5437019 w 8179660"/>
                  <a:gd name="connsiteY219" fmla="*/ 79563 h 222980"/>
                  <a:gd name="connsiteX220" fmla="*/ 5437019 w 8179660"/>
                  <a:gd name="connsiteY220" fmla="*/ 43836 h 222980"/>
                  <a:gd name="connsiteX221" fmla="*/ 5416748 w 8179660"/>
                  <a:gd name="connsiteY221" fmla="*/ 19638 h 222980"/>
                  <a:gd name="connsiteX222" fmla="*/ 5399264 w 8179660"/>
                  <a:gd name="connsiteY222" fmla="*/ 0 h 222980"/>
                  <a:gd name="connsiteX223" fmla="*/ 5399264 w 8179660"/>
                  <a:gd name="connsiteY223" fmla="*/ 19638 h 222980"/>
                  <a:gd name="connsiteX224" fmla="*/ 5379120 w 8179660"/>
                  <a:gd name="connsiteY224" fmla="*/ 43836 h 222980"/>
                  <a:gd name="connsiteX225" fmla="*/ 5379120 w 8179660"/>
                  <a:gd name="connsiteY225" fmla="*/ 79563 h 222980"/>
                  <a:gd name="connsiteX226" fmla="*/ 5353908 w 8179660"/>
                  <a:gd name="connsiteY226" fmla="*/ 111110 h 222980"/>
                  <a:gd name="connsiteX227" fmla="*/ 5353908 w 8179660"/>
                  <a:gd name="connsiteY227" fmla="*/ 111490 h 222980"/>
                  <a:gd name="connsiteX228" fmla="*/ 5379120 w 8179660"/>
                  <a:gd name="connsiteY228" fmla="*/ 142784 h 222980"/>
                  <a:gd name="connsiteX229" fmla="*/ 5379120 w 8179660"/>
                  <a:gd name="connsiteY229" fmla="*/ 178131 h 222980"/>
                  <a:gd name="connsiteX230" fmla="*/ 5383618 w 8179660"/>
                  <a:gd name="connsiteY230" fmla="*/ 197451 h 222980"/>
                  <a:gd name="connsiteX231" fmla="*/ 5399264 w 8179660"/>
                  <a:gd name="connsiteY231" fmla="*/ 203469 h 222980"/>
                  <a:gd name="connsiteX232" fmla="*/ 5399264 w 8179660"/>
                  <a:gd name="connsiteY232" fmla="*/ 222980 h 222980"/>
                  <a:gd name="connsiteX233" fmla="*/ 5354162 w 8179660"/>
                  <a:gd name="connsiteY233" fmla="*/ 184466 h 222980"/>
                  <a:gd name="connsiteX234" fmla="*/ 5354162 w 8179660"/>
                  <a:gd name="connsiteY234" fmla="*/ 147091 h 222980"/>
                  <a:gd name="connsiteX235" fmla="*/ 5334397 w 8179660"/>
                  <a:gd name="connsiteY235" fmla="*/ 120739 h 222980"/>
                  <a:gd name="connsiteX236" fmla="*/ 5334397 w 8179660"/>
                  <a:gd name="connsiteY236" fmla="*/ 102242 h 222980"/>
                  <a:gd name="connsiteX237" fmla="*/ 5354162 w 8179660"/>
                  <a:gd name="connsiteY237" fmla="*/ 75382 h 222980"/>
                  <a:gd name="connsiteX238" fmla="*/ 5354162 w 8179660"/>
                  <a:gd name="connsiteY238" fmla="*/ 39022 h 222980"/>
                  <a:gd name="connsiteX239" fmla="*/ 5399264 w 8179660"/>
                  <a:gd name="connsiteY239" fmla="*/ 0 h 222980"/>
                  <a:gd name="connsiteX240" fmla="*/ 2059120 w 8179660"/>
                  <a:gd name="connsiteY240" fmla="*/ 0 h 222980"/>
                  <a:gd name="connsiteX241" fmla="*/ 2103970 w 8179660"/>
                  <a:gd name="connsiteY241" fmla="*/ 39022 h 222980"/>
                  <a:gd name="connsiteX242" fmla="*/ 2103970 w 8179660"/>
                  <a:gd name="connsiteY242" fmla="*/ 75382 h 222980"/>
                  <a:gd name="connsiteX243" fmla="*/ 2123607 w 8179660"/>
                  <a:gd name="connsiteY243" fmla="*/ 102242 h 222980"/>
                  <a:gd name="connsiteX244" fmla="*/ 2123607 w 8179660"/>
                  <a:gd name="connsiteY244" fmla="*/ 120739 h 222980"/>
                  <a:gd name="connsiteX245" fmla="*/ 2103970 w 8179660"/>
                  <a:gd name="connsiteY245" fmla="*/ 147091 h 222980"/>
                  <a:gd name="connsiteX246" fmla="*/ 2103970 w 8179660"/>
                  <a:gd name="connsiteY246" fmla="*/ 184466 h 222980"/>
                  <a:gd name="connsiteX247" fmla="*/ 2059120 w 8179660"/>
                  <a:gd name="connsiteY247" fmla="*/ 222980 h 222980"/>
                  <a:gd name="connsiteX248" fmla="*/ 2059120 w 8179660"/>
                  <a:gd name="connsiteY248" fmla="*/ 203469 h 222980"/>
                  <a:gd name="connsiteX249" fmla="*/ 2074767 w 8179660"/>
                  <a:gd name="connsiteY249" fmla="*/ 197388 h 222980"/>
                  <a:gd name="connsiteX250" fmla="*/ 2079391 w 8179660"/>
                  <a:gd name="connsiteY250" fmla="*/ 178131 h 222980"/>
                  <a:gd name="connsiteX251" fmla="*/ 2079391 w 8179660"/>
                  <a:gd name="connsiteY251" fmla="*/ 142784 h 222980"/>
                  <a:gd name="connsiteX252" fmla="*/ 2104350 w 8179660"/>
                  <a:gd name="connsiteY252" fmla="*/ 111490 h 222980"/>
                  <a:gd name="connsiteX253" fmla="*/ 2104350 w 8179660"/>
                  <a:gd name="connsiteY253" fmla="*/ 111110 h 222980"/>
                  <a:gd name="connsiteX254" fmla="*/ 2079391 w 8179660"/>
                  <a:gd name="connsiteY254" fmla="*/ 79563 h 222980"/>
                  <a:gd name="connsiteX255" fmla="*/ 2079391 w 8179660"/>
                  <a:gd name="connsiteY255" fmla="*/ 43836 h 222980"/>
                  <a:gd name="connsiteX256" fmla="*/ 2059120 w 8179660"/>
                  <a:gd name="connsiteY256" fmla="*/ 19638 h 222980"/>
                  <a:gd name="connsiteX257" fmla="*/ 2041636 w 8179660"/>
                  <a:gd name="connsiteY257" fmla="*/ 0 h 222980"/>
                  <a:gd name="connsiteX258" fmla="*/ 2041636 w 8179660"/>
                  <a:gd name="connsiteY258" fmla="*/ 19638 h 222980"/>
                  <a:gd name="connsiteX259" fmla="*/ 2021492 w 8179660"/>
                  <a:gd name="connsiteY259" fmla="*/ 43836 h 222980"/>
                  <a:gd name="connsiteX260" fmla="*/ 2021492 w 8179660"/>
                  <a:gd name="connsiteY260" fmla="*/ 79563 h 222980"/>
                  <a:gd name="connsiteX261" fmla="*/ 1996280 w 8179660"/>
                  <a:gd name="connsiteY261" fmla="*/ 111110 h 222980"/>
                  <a:gd name="connsiteX262" fmla="*/ 1996280 w 8179660"/>
                  <a:gd name="connsiteY262" fmla="*/ 111490 h 222980"/>
                  <a:gd name="connsiteX263" fmla="*/ 2021492 w 8179660"/>
                  <a:gd name="connsiteY263" fmla="*/ 142784 h 222980"/>
                  <a:gd name="connsiteX264" fmla="*/ 2021492 w 8179660"/>
                  <a:gd name="connsiteY264" fmla="*/ 178131 h 222980"/>
                  <a:gd name="connsiteX265" fmla="*/ 2025990 w 8179660"/>
                  <a:gd name="connsiteY265" fmla="*/ 197451 h 222980"/>
                  <a:gd name="connsiteX266" fmla="*/ 2041636 w 8179660"/>
                  <a:gd name="connsiteY266" fmla="*/ 203469 h 222980"/>
                  <a:gd name="connsiteX267" fmla="*/ 2041636 w 8179660"/>
                  <a:gd name="connsiteY267" fmla="*/ 222980 h 222980"/>
                  <a:gd name="connsiteX268" fmla="*/ 1996534 w 8179660"/>
                  <a:gd name="connsiteY268" fmla="*/ 184466 h 222980"/>
                  <a:gd name="connsiteX269" fmla="*/ 1996534 w 8179660"/>
                  <a:gd name="connsiteY269" fmla="*/ 147091 h 222980"/>
                  <a:gd name="connsiteX270" fmla="*/ 1976769 w 8179660"/>
                  <a:gd name="connsiteY270" fmla="*/ 120739 h 222980"/>
                  <a:gd name="connsiteX271" fmla="*/ 1976769 w 8179660"/>
                  <a:gd name="connsiteY271" fmla="*/ 102242 h 222980"/>
                  <a:gd name="connsiteX272" fmla="*/ 1996534 w 8179660"/>
                  <a:gd name="connsiteY272" fmla="*/ 75382 h 222980"/>
                  <a:gd name="connsiteX273" fmla="*/ 1996534 w 8179660"/>
                  <a:gd name="connsiteY273" fmla="*/ 39022 h 222980"/>
                  <a:gd name="connsiteX274" fmla="*/ 2041636 w 8179660"/>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8179660" h="222980">
                    <a:moveTo>
                      <a:pt x="179758" y="169438"/>
                    </a:moveTo>
                    <a:cubicBezTo>
                      <a:pt x="175239" y="187337"/>
                      <a:pt x="170095" y="198636"/>
                      <a:pt x="156567" y="208685"/>
                    </a:cubicBezTo>
                    <a:cubicBezTo>
                      <a:pt x="155199" y="216029"/>
                      <a:pt x="167508" y="212105"/>
                      <a:pt x="172979" y="212075"/>
                    </a:cubicBezTo>
                    <a:cubicBezTo>
                      <a:pt x="178450" y="212045"/>
                      <a:pt x="187935" y="213517"/>
                      <a:pt x="189391" y="208507"/>
                    </a:cubicBezTo>
                    <a:cubicBezTo>
                      <a:pt x="190373" y="205058"/>
                      <a:pt x="187964" y="202412"/>
                      <a:pt x="186448" y="199052"/>
                    </a:cubicBezTo>
                    <a:cubicBezTo>
                      <a:pt x="185675" y="195365"/>
                      <a:pt x="188544" y="190786"/>
                      <a:pt x="187429" y="185851"/>
                    </a:cubicBezTo>
                    <a:cubicBezTo>
                      <a:pt x="186314" y="180915"/>
                      <a:pt x="183029" y="173125"/>
                      <a:pt x="179758" y="169438"/>
                    </a:cubicBezTo>
                    <a:close/>
                    <a:moveTo>
                      <a:pt x="19737" y="153026"/>
                    </a:moveTo>
                    <a:cubicBezTo>
                      <a:pt x="14920" y="158527"/>
                      <a:pt x="6090" y="169022"/>
                      <a:pt x="6090" y="173274"/>
                    </a:cubicBezTo>
                    <a:cubicBezTo>
                      <a:pt x="6357" y="178566"/>
                      <a:pt x="20540" y="194206"/>
                      <a:pt x="27587" y="194860"/>
                    </a:cubicBezTo>
                    <a:cubicBezTo>
                      <a:pt x="33414" y="195008"/>
                      <a:pt x="33979" y="191946"/>
                      <a:pt x="36506" y="187635"/>
                    </a:cubicBezTo>
                    <a:cubicBezTo>
                      <a:pt x="28419" y="176188"/>
                      <a:pt x="25059" y="170360"/>
                      <a:pt x="19737" y="153026"/>
                    </a:cubicBezTo>
                    <a:close/>
                    <a:moveTo>
                      <a:pt x="3349" y="84735"/>
                    </a:moveTo>
                    <a:lnTo>
                      <a:pt x="3148" y="86252"/>
                    </a:lnTo>
                    <a:lnTo>
                      <a:pt x="3082" y="84992"/>
                    </a:lnTo>
                    <a:close/>
                    <a:moveTo>
                      <a:pt x="205269" y="57540"/>
                    </a:moveTo>
                    <a:cubicBezTo>
                      <a:pt x="205231" y="57711"/>
                      <a:pt x="202373" y="58774"/>
                      <a:pt x="201277" y="60394"/>
                    </a:cubicBezTo>
                    <a:cubicBezTo>
                      <a:pt x="205814" y="61906"/>
                      <a:pt x="207408" y="63329"/>
                      <a:pt x="208199" y="68765"/>
                    </a:cubicBezTo>
                    <a:cubicBezTo>
                      <a:pt x="208413" y="68725"/>
                      <a:pt x="209907" y="67519"/>
                      <a:pt x="215080" y="67039"/>
                    </a:cubicBezTo>
                    <a:cubicBezTo>
                      <a:pt x="203336" y="71737"/>
                      <a:pt x="197389" y="76792"/>
                      <a:pt x="188856" y="86217"/>
                    </a:cubicBezTo>
                    <a:cubicBezTo>
                      <a:pt x="191554" y="80910"/>
                      <a:pt x="193854" y="78660"/>
                      <a:pt x="193873" y="78594"/>
                    </a:cubicBezTo>
                    <a:cubicBezTo>
                      <a:pt x="189406" y="77077"/>
                      <a:pt x="188150" y="76719"/>
                      <a:pt x="186091" y="71633"/>
                    </a:cubicBezTo>
                    <a:cubicBezTo>
                      <a:pt x="185820" y="71782"/>
                      <a:pt x="185370" y="71551"/>
                      <a:pt x="181274" y="75692"/>
                    </a:cubicBezTo>
                    <a:cubicBezTo>
                      <a:pt x="188470" y="61539"/>
                      <a:pt x="195219" y="60632"/>
                      <a:pt x="205269" y="57540"/>
                    </a:cubicBezTo>
                    <a:close/>
                    <a:moveTo>
                      <a:pt x="178700" y="41128"/>
                    </a:moveTo>
                    <a:cubicBezTo>
                      <a:pt x="179400" y="41073"/>
                      <a:pt x="180159" y="41093"/>
                      <a:pt x="180985" y="41165"/>
                    </a:cubicBezTo>
                    <a:cubicBezTo>
                      <a:pt x="183185" y="41358"/>
                      <a:pt x="185853" y="41923"/>
                      <a:pt x="189124" y="42421"/>
                    </a:cubicBezTo>
                    <a:cubicBezTo>
                      <a:pt x="178004" y="44175"/>
                      <a:pt x="174912" y="50389"/>
                      <a:pt x="170214" y="61331"/>
                    </a:cubicBezTo>
                    <a:cubicBezTo>
                      <a:pt x="171775" y="45604"/>
                      <a:pt x="173797" y="41517"/>
                      <a:pt x="178700" y="41128"/>
                    </a:cubicBezTo>
                    <a:close/>
                    <a:moveTo>
                      <a:pt x="281303" y="19051"/>
                    </a:moveTo>
                    <a:cubicBezTo>
                      <a:pt x="282900" y="21107"/>
                      <a:pt x="278040" y="28848"/>
                      <a:pt x="273106" y="32972"/>
                    </a:cubicBezTo>
                    <a:cubicBezTo>
                      <a:pt x="268171" y="37096"/>
                      <a:pt x="260901" y="36673"/>
                      <a:pt x="260930" y="34963"/>
                    </a:cubicBezTo>
                    <a:cubicBezTo>
                      <a:pt x="260958" y="33254"/>
                      <a:pt x="268675" y="30987"/>
                      <a:pt x="272071" y="28334"/>
                    </a:cubicBezTo>
                    <a:cubicBezTo>
                      <a:pt x="275466" y="25682"/>
                      <a:pt x="280174" y="18065"/>
                      <a:pt x="281303" y="19051"/>
                    </a:cubicBezTo>
                    <a:close/>
                    <a:moveTo>
                      <a:pt x="177366" y="46"/>
                    </a:moveTo>
                    <a:cubicBezTo>
                      <a:pt x="179305" y="121"/>
                      <a:pt x="181262" y="288"/>
                      <a:pt x="183229" y="560"/>
                    </a:cubicBezTo>
                    <a:cubicBezTo>
                      <a:pt x="198966" y="2733"/>
                      <a:pt x="219211" y="19235"/>
                      <a:pt x="226214" y="29780"/>
                    </a:cubicBezTo>
                    <a:cubicBezTo>
                      <a:pt x="235633" y="32356"/>
                      <a:pt x="241630" y="46000"/>
                      <a:pt x="244085" y="50790"/>
                    </a:cubicBezTo>
                    <a:cubicBezTo>
                      <a:pt x="246540" y="55579"/>
                      <a:pt x="243682" y="58316"/>
                      <a:pt x="240945" y="58517"/>
                    </a:cubicBezTo>
                    <a:cubicBezTo>
                      <a:pt x="240905" y="59101"/>
                      <a:pt x="249387" y="65882"/>
                      <a:pt x="253971" y="68554"/>
                    </a:cubicBezTo>
                    <a:cubicBezTo>
                      <a:pt x="257518" y="53134"/>
                      <a:pt x="252371" y="42785"/>
                      <a:pt x="252295" y="31471"/>
                    </a:cubicBezTo>
                    <a:cubicBezTo>
                      <a:pt x="257689" y="22052"/>
                      <a:pt x="262116" y="25433"/>
                      <a:pt x="267509" y="21811"/>
                    </a:cubicBezTo>
                    <a:cubicBezTo>
                      <a:pt x="270729" y="18108"/>
                      <a:pt x="273708" y="10300"/>
                      <a:pt x="279342" y="10703"/>
                    </a:cubicBezTo>
                    <a:cubicBezTo>
                      <a:pt x="289163" y="11105"/>
                      <a:pt x="301640" y="29378"/>
                      <a:pt x="302042" y="72765"/>
                    </a:cubicBezTo>
                    <a:cubicBezTo>
                      <a:pt x="302284" y="107218"/>
                      <a:pt x="288519" y="130320"/>
                      <a:pt x="264611" y="140624"/>
                    </a:cubicBezTo>
                    <a:cubicBezTo>
                      <a:pt x="252386" y="143884"/>
                      <a:pt x="241892" y="143680"/>
                      <a:pt x="232800" y="141337"/>
                    </a:cubicBezTo>
                    <a:lnTo>
                      <a:pt x="228821" y="139951"/>
                    </a:lnTo>
                    <a:lnTo>
                      <a:pt x="228343" y="142212"/>
                    </a:lnTo>
                    <a:cubicBezTo>
                      <a:pt x="223491" y="160826"/>
                      <a:pt x="209848" y="162257"/>
                      <a:pt x="203756" y="162116"/>
                    </a:cubicBezTo>
                    <a:cubicBezTo>
                      <a:pt x="196793" y="161955"/>
                      <a:pt x="186489" y="155515"/>
                      <a:pt x="182263" y="152457"/>
                    </a:cubicBezTo>
                    <a:cubicBezTo>
                      <a:pt x="182142" y="157125"/>
                      <a:pt x="183229" y="158776"/>
                      <a:pt x="181297" y="165014"/>
                    </a:cubicBezTo>
                    <a:cubicBezTo>
                      <a:pt x="186368" y="168355"/>
                      <a:pt x="189427" y="180268"/>
                      <a:pt x="190957" y="185540"/>
                    </a:cubicBezTo>
                    <a:cubicBezTo>
                      <a:pt x="192486" y="190813"/>
                      <a:pt x="190595" y="192020"/>
                      <a:pt x="190474" y="196649"/>
                    </a:cubicBezTo>
                    <a:cubicBezTo>
                      <a:pt x="190353" y="201278"/>
                      <a:pt x="195183" y="204980"/>
                      <a:pt x="192647" y="210414"/>
                    </a:cubicBezTo>
                    <a:cubicBezTo>
                      <a:pt x="190111" y="215847"/>
                      <a:pt x="183511" y="216129"/>
                      <a:pt x="176709" y="216210"/>
                    </a:cubicBezTo>
                    <a:cubicBezTo>
                      <a:pt x="169907" y="216290"/>
                      <a:pt x="154693" y="220959"/>
                      <a:pt x="151835" y="210897"/>
                    </a:cubicBezTo>
                    <a:cubicBezTo>
                      <a:pt x="151478" y="209639"/>
                      <a:pt x="151228" y="208140"/>
                      <a:pt x="151076" y="206443"/>
                    </a:cubicBezTo>
                    <a:cubicBezTo>
                      <a:pt x="151063" y="205994"/>
                      <a:pt x="151050" y="205546"/>
                      <a:pt x="151036" y="205098"/>
                    </a:cubicBezTo>
                    <a:lnTo>
                      <a:pt x="147297" y="208642"/>
                    </a:lnTo>
                    <a:cubicBezTo>
                      <a:pt x="138749" y="216689"/>
                      <a:pt x="131042" y="223273"/>
                      <a:pt x="123823" y="222971"/>
                    </a:cubicBezTo>
                    <a:cubicBezTo>
                      <a:pt x="111788" y="220556"/>
                      <a:pt x="102491" y="201398"/>
                      <a:pt x="100398" y="194717"/>
                    </a:cubicBezTo>
                    <a:cubicBezTo>
                      <a:pt x="98305" y="188036"/>
                      <a:pt x="105107" y="186788"/>
                      <a:pt x="111265" y="182884"/>
                    </a:cubicBezTo>
                    <a:cubicBezTo>
                      <a:pt x="105107" y="186466"/>
                      <a:pt x="88445" y="183528"/>
                      <a:pt x="86392" y="180469"/>
                    </a:cubicBezTo>
                    <a:cubicBezTo>
                      <a:pt x="86995" y="186828"/>
                      <a:pt x="86633" y="187754"/>
                      <a:pt x="85426" y="191336"/>
                    </a:cubicBezTo>
                    <a:cubicBezTo>
                      <a:pt x="84218" y="194918"/>
                      <a:pt x="81039" y="197011"/>
                      <a:pt x="79147" y="201962"/>
                    </a:cubicBezTo>
                    <a:cubicBezTo>
                      <a:pt x="77255" y="206912"/>
                      <a:pt x="81602" y="219268"/>
                      <a:pt x="74076" y="221039"/>
                    </a:cubicBezTo>
                    <a:cubicBezTo>
                      <a:pt x="66549" y="222810"/>
                      <a:pt x="43165" y="222126"/>
                      <a:pt x="33988" y="212587"/>
                    </a:cubicBezTo>
                    <a:cubicBezTo>
                      <a:pt x="30125" y="207878"/>
                      <a:pt x="36403" y="200593"/>
                      <a:pt x="34954" y="198581"/>
                    </a:cubicBezTo>
                    <a:cubicBezTo>
                      <a:pt x="33506" y="196568"/>
                      <a:pt x="31091" y="204497"/>
                      <a:pt x="25295" y="200513"/>
                    </a:cubicBezTo>
                    <a:cubicBezTo>
                      <a:pt x="19499" y="196528"/>
                      <a:pt x="1830" y="183407"/>
                      <a:pt x="180" y="174673"/>
                    </a:cubicBezTo>
                    <a:cubicBezTo>
                      <a:pt x="-1470" y="165940"/>
                      <a:pt x="8592" y="156763"/>
                      <a:pt x="15394" y="148110"/>
                    </a:cubicBezTo>
                    <a:cubicBezTo>
                      <a:pt x="13744" y="138732"/>
                      <a:pt x="13059" y="132453"/>
                      <a:pt x="16843" y="121546"/>
                    </a:cubicBezTo>
                    <a:cubicBezTo>
                      <a:pt x="11771" y="118447"/>
                      <a:pt x="743" y="114060"/>
                      <a:pt x="1387" y="99570"/>
                    </a:cubicBezTo>
                    <a:lnTo>
                      <a:pt x="3148" y="86252"/>
                    </a:lnTo>
                    <a:lnTo>
                      <a:pt x="3607" y="94972"/>
                    </a:lnTo>
                    <a:lnTo>
                      <a:pt x="4431" y="95368"/>
                    </a:lnTo>
                    <a:lnTo>
                      <a:pt x="4553" y="96542"/>
                    </a:lnTo>
                    <a:cubicBezTo>
                      <a:pt x="5577" y="104921"/>
                      <a:pt x="8320" y="114203"/>
                      <a:pt x="24108" y="110389"/>
                    </a:cubicBezTo>
                    <a:cubicBezTo>
                      <a:pt x="17318" y="146422"/>
                      <a:pt x="32654" y="164288"/>
                      <a:pt x="42331" y="181019"/>
                    </a:cubicBezTo>
                    <a:lnTo>
                      <a:pt x="43293" y="182869"/>
                    </a:lnTo>
                    <a:lnTo>
                      <a:pt x="43259" y="183736"/>
                    </a:lnTo>
                    <a:cubicBezTo>
                      <a:pt x="42968" y="188844"/>
                      <a:pt x="42237" y="192384"/>
                      <a:pt x="41858" y="197179"/>
                    </a:cubicBezTo>
                    <a:cubicBezTo>
                      <a:pt x="40758" y="200955"/>
                      <a:pt x="38052" y="200539"/>
                      <a:pt x="38558" y="208507"/>
                    </a:cubicBezTo>
                    <a:cubicBezTo>
                      <a:pt x="38885" y="213472"/>
                      <a:pt x="68023" y="221470"/>
                      <a:pt x="72721" y="215108"/>
                    </a:cubicBezTo>
                    <a:cubicBezTo>
                      <a:pt x="74088" y="212907"/>
                      <a:pt x="73494" y="207853"/>
                      <a:pt x="73880" y="204225"/>
                    </a:cubicBezTo>
                    <a:cubicBezTo>
                      <a:pt x="74475" y="200182"/>
                      <a:pt x="79708" y="195781"/>
                      <a:pt x="80481" y="190043"/>
                    </a:cubicBezTo>
                    <a:cubicBezTo>
                      <a:pt x="80986" y="185479"/>
                      <a:pt x="80934" y="180313"/>
                      <a:pt x="80760" y="174935"/>
                    </a:cubicBezTo>
                    <a:lnTo>
                      <a:pt x="80552" y="169256"/>
                    </a:lnTo>
                    <a:lnTo>
                      <a:pt x="82140" y="171106"/>
                    </a:lnTo>
                    <a:cubicBezTo>
                      <a:pt x="92413" y="181583"/>
                      <a:pt x="114201" y="185111"/>
                      <a:pt x="121512" y="168903"/>
                    </a:cubicBezTo>
                    <a:cubicBezTo>
                      <a:pt x="121601" y="174106"/>
                      <a:pt x="123296" y="176098"/>
                      <a:pt x="122404" y="182640"/>
                    </a:cubicBezTo>
                    <a:cubicBezTo>
                      <a:pt x="119847" y="186772"/>
                      <a:pt x="108459" y="187694"/>
                      <a:pt x="105367" y="195306"/>
                    </a:cubicBezTo>
                    <a:cubicBezTo>
                      <a:pt x="104445" y="198487"/>
                      <a:pt x="116547" y="217546"/>
                      <a:pt x="124277" y="218229"/>
                    </a:cubicBezTo>
                    <a:cubicBezTo>
                      <a:pt x="129896" y="218883"/>
                      <a:pt x="140333" y="207853"/>
                      <a:pt x="159332" y="190489"/>
                    </a:cubicBezTo>
                    <a:cubicBezTo>
                      <a:pt x="162273" y="187801"/>
                      <a:pt x="173395" y="166703"/>
                      <a:pt x="178420" y="148655"/>
                    </a:cubicBezTo>
                    <a:cubicBezTo>
                      <a:pt x="173298" y="146083"/>
                      <a:pt x="165876" y="139955"/>
                      <a:pt x="161557" y="130392"/>
                    </a:cubicBezTo>
                    <a:lnTo>
                      <a:pt x="161363" y="129884"/>
                    </a:lnTo>
                    <a:lnTo>
                      <a:pt x="163981" y="131532"/>
                    </a:lnTo>
                    <a:cubicBezTo>
                      <a:pt x="170571" y="135922"/>
                      <a:pt x="177261" y="140739"/>
                      <a:pt x="183147" y="142144"/>
                    </a:cubicBezTo>
                    <a:cubicBezTo>
                      <a:pt x="187488" y="147139"/>
                      <a:pt x="192543" y="155078"/>
                      <a:pt x="204466" y="156594"/>
                    </a:cubicBezTo>
                    <a:cubicBezTo>
                      <a:pt x="214634" y="158318"/>
                      <a:pt x="221859" y="148715"/>
                      <a:pt x="225427" y="138219"/>
                    </a:cubicBezTo>
                    <a:lnTo>
                      <a:pt x="222127" y="137952"/>
                    </a:lnTo>
                    <a:cubicBezTo>
                      <a:pt x="206963" y="163373"/>
                      <a:pt x="190937" y="140189"/>
                      <a:pt x="194334" y="115804"/>
                    </a:cubicBezTo>
                    <a:lnTo>
                      <a:pt x="195258" y="111028"/>
                    </a:lnTo>
                    <a:lnTo>
                      <a:pt x="197011" y="112938"/>
                    </a:lnTo>
                    <a:cubicBezTo>
                      <a:pt x="227283" y="143789"/>
                      <a:pt x="253753" y="139278"/>
                      <a:pt x="268777" y="131083"/>
                    </a:cubicBezTo>
                    <a:cubicBezTo>
                      <a:pt x="309928" y="105721"/>
                      <a:pt x="297871" y="18193"/>
                      <a:pt x="280641" y="13967"/>
                    </a:cubicBezTo>
                    <a:cubicBezTo>
                      <a:pt x="276701" y="13001"/>
                      <a:pt x="273951" y="23154"/>
                      <a:pt x="271364" y="24671"/>
                    </a:cubicBezTo>
                    <a:cubicBezTo>
                      <a:pt x="263426" y="28863"/>
                      <a:pt x="259947" y="28238"/>
                      <a:pt x="257806" y="31539"/>
                    </a:cubicBezTo>
                    <a:cubicBezTo>
                      <a:pt x="253569" y="37727"/>
                      <a:pt x="269167" y="73549"/>
                      <a:pt x="249329" y="92334"/>
                    </a:cubicBezTo>
                    <a:lnTo>
                      <a:pt x="247849" y="93502"/>
                    </a:lnTo>
                    <a:lnTo>
                      <a:pt x="248160" y="92901"/>
                    </a:lnTo>
                    <a:cubicBezTo>
                      <a:pt x="251919" y="85637"/>
                      <a:pt x="255866" y="77320"/>
                      <a:pt x="251384" y="73819"/>
                    </a:cubicBezTo>
                    <a:cubicBezTo>
                      <a:pt x="246121" y="69626"/>
                      <a:pt x="242821" y="72837"/>
                      <a:pt x="238807" y="76227"/>
                    </a:cubicBezTo>
                    <a:cubicBezTo>
                      <a:pt x="241394" y="73283"/>
                      <a:pt x="244516" y="72748"/>
                      <a:pt x="240145" y="65791"/>
                    </a:cubicBezTo>
                    <a:cubicBezTo>
                      <a:pt x="236666" y="63442"/>
                      <a:pt x="234793" y="64037"/>
                      <a:pt x="228371" y="65701"/>
                    </a:cubicBezTo>
                    <a:cubicBezTo>
                      <a:pt x="232444" y="62669"/>
                      <a:pt x="233752" y="63828"/>
                      <a:pt x="231760" y="57941"/>
                    </a:cubicBezTo>
                    <a:cubicBezTo>
                      <a:pt x="229040" y="54284"/>
                      <a:pt x="227674" y="54591"/>
                      <a:pt x="224954" y="54797"/>
                    </a:cubicBezTo>
                    <a:lnTo>
                      <a:pt x="223067" y="54810"/>
                    </a:lnTo>
                    <a:lnTo>
                      <a:pt x="224618" y="54253"/>
                    </a:lnTo>
                    <a:cubicBezTo>
                      <a:pt x="225488" y="53960"/>
                      <a:pt x="226275" y="53723"/>
                      <a:pt x="226944" y="53571"/>
                    </a:cubicBezTo>
                    <a:cubicBezTo>
                      <a:pt x="232296" y="52352"/>
                      <a:pt x="238153" y="54031"/>
                      <a:pt x="238183" y="50984"/>
                    </a:cubicBezTo>
                    <a:cubicBezTo>
                      <a:pt x="238837" y="47654"/>
                      <a:pt x="230482" y="37277"/>
                      <a:pt x="226765" y="36445"/>
                    </a:cubicBezTo>
                    <a:cubicBezTo>
                      <a:pt x="224781" y="35820"/>
                      <a:pt x="219585" y="35296"/>
                      <a:pt x="214866" y="34985"/>
                    </a:cubicBezTo>
                    <a:lnTo>
                      <a:pt x="213767" y="34927"/>
                    </a:lnTo>
                    <a:lnTo>
                      <a:pt x="213776" y="34903"/>
                    </a:lnTo>
                    <a:cubicBezTo>
                      <a:pt x="214896" y="33356"/>
                      <a:pt x="218626" y="32788"/>
                      <a:pt x="221503" y="32520"/>
                    </a:cubicBezTo>
                    <a:cubicBezTo>
                      <a:pt x="209431" y="16583"/>
                      <a:pt x="193167" y="6355"/>
                      <a:pt x="179134" y="6564"/>
                    </a:cubicBezTo>
                    <a:cubicBezTo>
                      <a:pt x="162216" y="7069"/>
                      <a:pt x="141016" y="11410"/>
                      <a:pt x="129004" y="30023"/>
                    </a:cubicBezTo>
                    <a:cubicBezTo>
                      <a:pt x="135144" y="29956"/>
                      <a:pt x="139712" y="29984"/>
                      <a:pt x="143141" y="30347"/>
                    </a:cubicBezTo>
                    <a:lnTo>
                      <a:pt x="143714" y="30430"/>
                    </a:lnTo>
                    <a:lnTo>
                      <a:pt x="141320" y="31081"/>
                    </a:lnTo>
                    <a:cubicBezTo>
                      <a:pt x="128601" y="34141"/>
                      <a:pt x="119739" y="33684"/>
                      <a:pt x="116887" y="36163"/>
                    </a:cubicBezTo>
                    <a:cubicBezTo>
                      <a:pt x="110925" y="40335"/>
                      <a:pt x="72316" y="75904"/>
                      <a:pt x="70724" y="96042"/>
                    </a:cubicBezTo>
                    <a:cubicBezTo>
                      <a:pt x="74813" y="106732"/>
                      <a:pt x="75582" y="99178"/>
                      <a:pt x="84611" y="118006"/>
                    </a:cubicBezTo>
                    <a:lnTo>
                      <a:pt x="99020" y="101580"/>
                    </a:lnTo>
                    <a:lnTo>
                      <a:pt x="82162" y="136449"/>
                    </a:lnTo>
                    <a:cubicBezTo>
                      <a:pt x="86366" y="142588"/>
                      <a:pt x="89231" y="145872"/>
                      <a:pt x="97984" y="145767"/>
                    </a:cubicBezTo>
                    <a:cubicBezTo>
                      <a:pt x="107332" y="144527"/>
                      <a:pt x="115966" y="136865"/>
                      <a:pt x="124956" y="132414"/>
                    </a:cubicBezTo>
                    <a:cubicBezTo>
                      <a:pt x="133842" y="128716"/>
                      <a:pt x="136483" y="131262"/>
                      <a:pt x="142247" y="130685"/>
                    </a:cubicBezTo>
                    <a:cubicBezTo>
                      <a:pt x="154392" y="97744"/>
                      <a:pt x="135317" y="97895"/>
                      <a:pt x="148443" y="62099"/>
                    </a:cubicBezTo>
                    <a:cubicBezTo>
                      <a:pt x="143777" y="91013"/>
                      <a:pt x="162303" y="91027"/>
                      <a:pt x="149163" y="139475"/>
                    </a:cubicBezTo>
                    <a:lnTo>
                      <a:pt x="147070" y="139132"/>
                    </a:lnTo>
                    <a:lnTo>
                      <a:pt x="144419" y="138454"/>
                    </a:lnTo>
                    <a:lnTo>
                      <a:pt x="141703" y="138030"/>
                    </a:lnTo>
                    <a:lnTo>
                      <a:pt x="140942" y="137854"/>
                    </a:lnTo>
                    <a:cubicBezTo>
                      <a:pt x="138887" y="137449"/>
                      <a:pt x="136725" y="137231"/>
                      <a:pt x="134217" y="137626"/>
                    </a:cubicBezTo>
                    <a:lnTo>
                      <a:pt x="133238" y="137854"/>
                    </a:lnTo>
                    <a:lnTo>
                      <a:pt x="132646" y="137906"/>
                    </a:lnTo>
                    <a:cubicBezTo>
                      <a:pt x="119533" y="139947"/>
                      <a:pt x="114710" y="151510"/>
                      <a:pt x="93682" y="153740"/>
                    </a:cubicBezTo>
                    <a:cubicBezTo>
                      <a:pt x="87412" y="152517"/>
                      <a:pt x="77386" y="143304"/>
                      <a:pt x="71492" y="136140"/>
                    </a:cubicBezTo>
                    <a:lnTo>
                      <a:pt x="71037" y="135551"/>
                    </a:lnTo>
                    <a:lnTo>
                      <a:pt x="72748" y="132692"/>
                    </a:lnTo>
                    <a:cubicBezTo>
                      <a:pt x="74575" y="129846"/>
                      <a:pt x="76575" y="126936"/>
                      <a:pt x="78786" y="123948"/>
                    </a:cubicBezTo>
                    <a:cubicBezTo>
                      <a:pt x="74921" y="113571"/>
                      <a:pt x="64723" y="109973"/>
                      <a:pt x="61838" y="97099"/>
                    </a:cubicBezTo>
                    <a:cubicBezTo>
                      <a:pt x="66506" y="83779"/>
                      <a:pt x="68409" y="75097"/>
                      <a:pt x="91898" y="51251"/>
                    </a:cubicBezTo>
                    <a:cubicBezTo>
                      <a:pt x="29460" y="60201"/>
                      <a:pt x="29645" y="110467"/>
                      <a:pt x="12382" y="98314"/>
                    </a:cubicBezTo>
                    <a:lnTo>
                      <a:pt x="8782" y="95073"/>
                    </a:lnTo>
                    <a:lnTo>
                      <a:pt x="9834" y="94482"/>
                    </a:lnTo>
                    <a:cubicBezTo>
                      <a:pt x="16197" y="90196"/>
                      <a:pt x="8662" y="84024"/>
                      <a:pt x="13761" y="74710"/>
                    </a:cubicBezTo>
                    <a:lnTo>
                      <a:pt x="3349" y="84735"/>
                    </a:lnTo>
                    <a:lnTo>
                      <a:pt x="4255" y="77882"/>
                    </a:lnTo>
                    <a:cubicBezTo>
                      <a:pt x="9316" y="72846"/>
                      <a:pt x="16158" y="70008"/>
                      <a:pt x="17809" y="69384"/>
                    </a:cubicBezTo>
                    <a:cubicBezTo>
                      <a:pt x="14709" y="78843"/>
                      <a:pt x="21471" y="85443"/>
                      <a:pt x="17809" y="93050"/>
                    </a:cubicBezTo>
                    <a:cubicBezTo>
                      <a:pt x="53026" y="48254"/>
                      <a:pt x="77336" y="45396"/>
                      <a:pt x="93637" y="44994"/>
                    </a:cubicBezTo>
                    <a:cubicBezTo>
                      <a:pt x="106315" y="33724"/>
                      <a:pt x="107401" y="30786"/>
                      <a:pt x="116095" y="28573"/>
                    </a:cubicBezTo>
                    <a:lnTo>
                      <a:pt x="122090" y="27944"/>
                    </a:lnTo>
                    <a:lnTo>
                      <a:pt x="122785" y="26457"/>
                    </a:lnTo>
                    <a:cubicBezTo>
                      <a:pt x="128121" y="15860"/>
                      <a:pt x="132778" y="12554"/>
                      <a:pt x="141935" y="8046"/>
                    </a:cubicBezTo>
                    <a:cubicBezTo>
                      <a:pt x="151091" y="3538"/>
                      <a:pt x="163791" y="-477"/>
                      <a:pt x="177366" y="46"/>
                    </a:cubicBezTo>
                    <a:close/>
                    <a:moveTo>
                      <a:pt x="8115173" y="0"/>
                    </a:moveTo>
                    <a:cubicBezTo>
                      <a:pt x="8145073" y="338"/>
                      <a:pt x="8160022" y="13345"/>
                      <a:pt x="8160022" y="39022"/>
                    </a:cubicBezTo>
                    <a:lnTo>
                      <a:pt x="8160022" y="75382"/>
                    </a:lnTo>
                    <a:cubicBezTo>
                      <a:pt x="8160022" y="92444"/>
                      <a:pt x="8166568" y="101397"/>
                      <a:pt x="8179660" y="102242"/>
                    </a:cubicBezTo>
                    <a:lnTo>
                      <a:pt x="8179660" y="120739"/>
                    </a:lnTo>
                    <a:cubicBezTo>
                      <a:pt x="8166568" y="121583"/>
                      <a:pt x="8160022" y="130367"/>
                      <a:pt x="8160022" y="147091"/>
                    </a:cubicBezTo>
                    <a:lnTo>
                      <a:pt x="8160022" y="184466"/>
                    </a:lnTo>
                    <a:cubicBezTo>
                      <a:pt x="8160022" y="209804"/>
                      <a:pt x="8145073" y="222642"/>
                      <a:pt x="8115173" y="222980"/>
                    </a:cubicBezTo>
                    <a:lnTo>
                      <a:pt x="8115173" y="203469"/>
                    </a:lnTo>
                    <a:cubicBezTo>
                      <a:pt x="8122522" y="203300"/>
                      <a:pt x="8127737" y="201274"/>
                      <a:pt x="8130820" y="197388"/>
                    </a:cubicBezTo>
                    <a:cubicBezTo>
                      <a:pt x="8133902" y="193503"/>
                      <a:pt x="8135444" y="187084"/>
                      <a:pt x="8135444" y="178131"/>
                    </a:cubicBezTo>
                    <a:lnTo>
                      <a:pt x="8135444" y="142784"/>
                    </a:lnTo>
                    <a:cubicBezTo>
                      <a:pt x="8135444" y="125638"/>
                      <a:pt x="8143764" y="115207"/>
                      <a:pt x="8160403" y="111490"/>
                    </a:cubicBezTo>
                    <a:lnTo>
                      <a:pt x="8160403" y="111110"/>
                    </a:lnTo>
                    <a:cubicBezTo>
                      <a:pt x="8143764" y="107140"/>
                      <a:pt x="8135444" y="96625"/>
                      <a:pt x="8135444" y="79563"/>
                    </a:cubicBezTo>
                    <a:lnTo>
                      <a:pt x="8135444" y="43836"/>
                    </a:lnTo>
                    <a:cubicBezTo>
                      <a:pt x="8135444" y="28041"/>
                      <a:pt x="8128687" y="19975"/>
                      <a:pt x="8115173" y="19638"/>
                    </a:cubicBezTo>
                    <a:close/>
                    <a:moveTo>
                      <a:pt x="8097689" y="0"/>
                    </a:moveTo>
                    <a:lnTo>
                      <a:pt x="8097689" y="19638"/>
                    </a:lnTo>
                    <a:cubicBezTo>
                      <a:pt x="8084260" y="19975"/>
                      <a:pt x="8077545" y="28041"/>
                      <a:pt x="8077545" y="43836"/>
                    </a:cubicBezTo>
                    <a:lnTo>
                      <a:pt x="8077545" y="79563"/>
                    </a:lnTo>
                    <a:cubicBezTo>
                      <a:pt x="8077545" y="96625"/>
                      <a:pt x="8069141" y="107140"/>
                      <a:pt x="8052333" y="111110"/>
                    </a:cubicBezTo>
                    <a:lnTo>
                      <a:pt x="8052333" y="111490"/>
                    </a:lnTo>
                    <a:cubicBezTo>
                      <a:pt x="8069141" y="115207"/>
                      <a:pt x="8077545" y="125638"/>
                      <a:pt x="8077545" y="142784"/>
                    </a:cubicBezTo>
                    <a:lnTo>
                      <a:pt x="8077545" y="178131"/>
                    </a:lnTo>
                    <a:cubicBezTo>
                      <a:pt x="8077545" y="187168"/>
                      <a:pt x="8079044" y="193608"/>
                      <a:pt x="8082043" y="197451"/>
                    </a:cubicBezTo>
                    <a:cubicBezTo>
                      <a:pt x="8085041" y="201294"/>
                      <a:pt x="8090257" y="203300"/>
                      <a:pt x="8097689" y="203469"/>
                    </a:cubicBezTo>
                    <a:lnTo>
                      <a:pt x="8097689" y="222980"/>
                    </a:lnTo>
                    <a:cubicBezTo>
                      <a:pt x="8067621" y="222642"/>
                      <a:pt x="8052587" y="209804"/>
                      <a:pt x="8052587" y="184466"/>
                    </a:cubicBezTo>
                    <a:lnTo>
                      <a:pt x="8052587" y="147091"/>
                    </a:lnTo>
                    <a:cubicBezTo>
                      <a:pt x="8052587" y="130367"/>
                      <a:pt x="8045998" y="121583"/>
                      <a:pt x="8032822" y="120739"/>
                    </a:cubicBezTo>
                    <a:lnTo>
                      <a:pt x="8032822" y="102242"/>
                    </a:lnTo>
                    <a:cubicBezTo>
                      <a:pt x="8045998" y="101397"/>
                      <a:pt x="8052587" y="92444"/>
                      <a:pt x="8052587" y="75382"/>
                    </a:cubicBezTo>
                    <a:lnTo>
                      <a:pt x="8052587" y="39022"/>
                    </a:lnTo>
                    <a:cubicBezTo>
                      <a:pt x="8052587" y="13345"/>
                      <a:pt x="8067621" y="338"/>
                      <a:pt x="8097689" y="0"/>
                    </a:cubicBezTo>
                    <a:close/>
                    <a:moveTo>
                      <a:pt x="5416748" y="0"/>
                    </a:moveTo>
                    <a:cubicBezTo>
                      <a:pt x="5446648" y="338"/>
                      <a:pt x="5461598" y="13345"/>
                      <a:pt x="5461598" y="39022"/>
                    </a:cubicBezTo>
                    <a:lnTo>
                      <a:pt x="5461598" y="75382"/>
                    </a:lnTo>
                    <a:cubicBezTo>
                      <a:pt x="5461598" y="92444"/>
                      <a:pt x="5468144" y="101397"/>
                      <a:pt x="5481235" y="102242"/>
                    </a:cubicBezTo>
                    <a:lnTo>
                      <a:pt x="5481235" y="120739"/>
                    </a:lnTo>
                    <a:cubicBezTo>
                      <a:pt x="5468144" y="121583"/>
                      <a:pt x="5461598" y="130367"/>
                      <a:pt x="5461598" y="147091"/>
                    </a:cubicBezTo>
                    <a:lnTo>
                      <a:pt x="5461598" y="184466"/>
                    </a:lnTo>
                    <a:cubicBezTo>
                      <a:pt x="5461598" y="209804"/>
                      <a:pt x="5446648" y="222642"/>
                      <a:pt x="5416748" y="222980"/>
                    </a:cubicBezTo>
                    <a:lnTo>
                      <a:pt x="5416748" y="203469"/>
                    </a:lnTo>
                    <a:cubicBezTo>
                      <a:pt x="5424097" y="203300"/>
                      <a:pt x="5429312" y="201274"/>
                      <a:pt x="5432395" y="197388"/>
                    </a:cubicBezTo>
                    <a:cubicBezTo>
                      <a:pt x="5435478" y="193503"/>
                      <a:pt x="5437019" y="187084"/>
                      <a:pt x="5437019" y="178131"/>
                    </a:cubicBezTo>
                    <a:lnTo>
                      <a:pt x="5437019" y="142784"/>
                    </a:lnTo>
                    <a:cubicBezTo>
                      <a:pt x="5437019" y="125638"/>
                      <a:pt x="5445339" y="115207"/>
                      <a:pt x="5461978" y="111490"/>
                    </a:cubicBezTo>
                    <a:lnTo>
                      <a:pt x="5461978" y="111110"/>
                    </a:lnTo>
                    <a:cubicBezTo>
                      <a:pt x="5445339" y="107140"/>
                      <a:pt x="5437019" y="96625"/>
                      <a:pt x="5437019" y="79563"/>
                    </a:cubicBezTo>
                    <a:lnTo>
                      <a:pt x="5437019" y="43836"/>
                    </a:lnTo>
                    <a:cubicBezTo>
                      <a:pt x="5437019" y="28041"/>
                      <a:pt x="5430262" y="19975"/>
                      <a:pt x="5416748" y="19638"/>
                    </a:cubicBezTo>
                    <a:close/>
                    <a:moveTo>
                      <a:pt x="5399264" y="0"/>
                    </a:moveTo>
                    <a:lnTo>
                      <a:pt x="5399264" y="19638"/>
                    </a:lnTo>
                    <a:cubicBezTo>
                      <a:pt x="5385835" y="19975"/>
                      <a:pt x="5379120" y="28041"/>
                      <a:pt x="5379120" y="43836"/>
                    </a:cubicBezTo>
                    <a:lnTo>
                      <a:pt x="5379120" y="79563"/>
                    </a:lnTo>
                    <a:cubicBezTo>
                      <a:pt x="5379120" y="96625"/>
                      <a:pt x="5370716" y="107140"/>
                      <a:pt x="5353908" y="111110"/>
                    </a:cubicBezTo>
                    <a:lnTo>
                      <a:pt x="5353908" y="111490"/>
                    </a:lnTo>
                    <a:cubicBezTo>
                      <a:pt x="5370716" y="115207"/>
                      <a:pt x="5379120" y="125638"/>
                      <a:pt x="5379120" y="142784"/>
                    </a:cubicBezTo>
                    <a:lnTo>
                      <a:pt x="5379120" y="178131"/>
                    </a:lnTo>
                    <a:cubicBezTo>
                      <a:pt x="5379120" y="187168"/>
                      <a:pt x="5380619" y="193608"/>
                      <a:pt x="5383618" y="197451"/>
                    </a:cubicBezTo>
                    <a:cubicBezTo>
                      <a:pt x="5386616" y="201294"/>
                      <a:pt x="5391832" y="203300"/>
                      <a:pt x="5399264" y="203469"/>
                    </a:cubicBezTo>
                    <a:lnTo>
                      <a:pt x="5399264" y="222980"/>
                    </a:lnTo>
                    <a:cubicBezTo>
                      <a:pt x="5369196" y="222642"/>
                      <a:pt x="5354162" y="209804"/>
                      <a:pt x="5354162" y="184466"/>
                    </a:cubicBezTo>
                    <a:lnTo>
                      <a:pt x="5354162" y="147091"/>
                    </a:lnTo>
                    <a:cubicBezTo>
                      <a:pt x="5354162" y="130367"/>
                      <a:pt x="5347573" y="121583"/>
                      <a:pt x="5334397" y="120739"/>
                    </a:cubicBezTo>
                    <a:lnTo>
                      <a:pt x="5334397" y="102242"/>
                    </a:lnTo>
                    <a:cubicBezTo>
                      <a:pt x="5347573" y="101397"/>
                      <a:pt x="5354162" y="92444"/>
                      <a:pt x="5354162" y="75382"/>
                    </a:cubicBezTo>
                    <a:lnTo>
                      <a:pt x="5354162" y="39022"/>
                    </a:lnTo>
                    <a:cubicBezTo>
                      <a:pt x="5354162" y="13345"/>
                      <a:pt x="5369196" y="338"/>
                      <a:pt x="5399264" y="0"/>
                    </a:cubicBezTo>
                    <a:close/>
                    <a:moveTo>
                      <a:pt x="2059120" y="0"/>
                    </a:moveTo>
                    <a:cubicBezTo>
                      <a:pt x="2089020" y="338"/>
                      <a:pt x="2103970" y="13345"/>
                      <a:pt x="2103970" y="39022"/>
                    </a:cubicBezTo>
                    <a:lnTo>
                      <a:pt x="2103970" y="75382"/>
                    </a:lnTo>
                    <a:cubicBezTo>
                      <a:pt x="2103970" y="92444"/>
                      <a:pt x="2110515" y="101397"/>
                      <a:pt x="2123607" y="102242"/>
                    </a:cubicBezTo>
                    <a:lnTo>
                      <a:pt x="2123607" y="120739"/>
                    </a:lnTo>
                    <a:cubicBezTo>
                      <a:pt x="2110515" y="121583"/>
                      <a:pt x="2103970" y="130367"/>
                      <a:pt x="2103970" y="147091"/>
                    </a:cubicBezTo>
                    <a:lnTo>
                      <a:pt x="2103970" y="184466"/>
                    </a:lnTo>
                    <a:cubicBezTo>
                      <a:pt x="2103970" y="209804"/>
                      <a:pt x="2089020" y="222642"/>
                      <a:pt x="2059120" y="222980"/>
                    </a:cubicBezTo>
                    <a:lnTo>
                      <a:pt x="2059120" y="203469"/>
                    </a:lnTo>
                    <a:cubicBezTo>
                      <a:pt x="2066469" y="203300"/>
                      <a:pt x="2071684" y="201274"/>
                      <a:pt x="2074767" y="197388"/>
                    </a:cubicBezTo>
                    <a:cubicBezTo>
                      <a:pt x="2077850" y="193503"/>
                      <a:pt x="2079391" y="187084"/>
                      <a:pt x="2079391" y="178131"/>
                    </a:cubicBezTo>
                    <a:lnTo>
                      <a:pt x="2079391" y="142784"/>
                    </a:lnTo>
                    <a:cubicBezTo>
                      <a:pt x="2079391" y="125638"/>
                      <a:pt x="2087711" y="115207"/>
                      <a:pt x="2104350" y="111490"/>
                    </a:cubicBezTo>
                    <a:lnTo>
                      <a:pt x="2104350" y="111110"/>
                    </a:lnTo>
                    <a:cubicBezTo>
                      <a:pt x="2087711" y="107140"/>
                      <a:pt x="2079391" y="96625"/>
                      <a:pt x="2079391" y="79563"/>
                    </a:cubicBezTo>
                    <a:lnTo>
                      <a:pt x="2079391" y="43836"/>
                    </a:lnTo>
                    <a:cubicBezTo>
                      <a:pt x="2079391" y="28041"/>
                      <a:pt x="2072634" y="19975"/>
                      <a:pt x="2059120" y="19638"/>
                    </a:cubicBezTo>
                    <a:close/>
                    <a:moveTo>
                      <a:pt x="2041636" y="0"/>
                    </a:moveTo>
                    <a:lnTo>
                      <a:pt x="2041636" y="19638"/>
                    </a:lnTo>
                    <a:cubicBezTo>
                      <a:pt x="2028207" y="19975"/>
                      <a:pt x="2021492" y="28041"/>
                      <a:pt x="2021492" y="43836"/>
                    </a:cubicBezTo>
                    <a:lnTo>
                      <a:pt x="2021492" y="79563"/>
                    </a:lnTo>
                    <a:cubicBezTo>
                      <a:pt x="2021492" y="96625"/>
                      <a:pt x="2013088" y="107140"/>
                      <a:pt x="1996280" y="111110"/>
                    </a:cubicBezTo>
                    <a:lnTo>
                      <a:pt x="1996280" y="111490"/>
                    </a:lnTo>
                    <a:cubicBezTo>
                      <a:pt x="2013088" y="115207"/>
                      <a:pt x="2021492" y="125638"/>
                      <a:pt x="2021492" y="142784"/>
                    </a:cubicBezTo>
                    <a:lnTo>
                      <a:pt x="2021492" y="178131"/>
                    </a:lnTo>
                    <a:cubicBezTo>
                      <a:pt x="2021492" y="187168"/>
                      <a:pt x="2022991" y="193608"/>
                      <a:pt x="2025990" y="197451"/>
                    </a:cubicBezTo>
                    <a:cubicBezTo>
                      <a:pt x="2028988" y="201294"/>
                      <a:pt x="2034204" y="203300"/>
                      <a:pt x="2041636" y="203469"/>
                    </a:cubicBezTo>
                    <a:lnTo>
                      <a:pt x="2041636" y="222980"/>
                    </a:lnTo>
                    <a:cubicBezTo>
                      <a:pt x="2011567" y="222642"/>
                      <a:pt x="1996534" y="209804"/>
                      <a:pt x="1996534" y="184466"/>
                    </a:cubicBezTo>
                    <a:lnTo>
                      <a:pt x="1996534" y="147091"/>
                    </a:lnTo>
                    <a:cubicBezTo>
                      <a:pt x="1996534" y="130367"/>
                      <a:pt x="1989945" y="121583"/>
                      <a:pt x="1976769" y="120739"/>
                    </a:cubicBezTo>
                    <a:lnTo>
                      <a:pt x="1976769" y="102242"/>
                    </a:lnTo>
                    <a:cubicBezTo>
                      <a:pt x="1989945" y="101397"/>
                      <a:pt x="1996534" y="92444"/>
                      <a:pt x="1996534" y="75382"/>
                    </a:cubicBezTo>
                    <a:lnTo>
                      <a:pt x="1996534" y="39022"/>
                    </a:lnTo>
                    <a:cubicBezTo>
                      <a:pt x="1996534" y="13345"/>
                      <a:pt x="2011567" y="338"/>
                      <a:pt x="204163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chemeClr val="tx1"/>
                  </a:solidFill>
                  <a:effectLst/>
                  <a:uLnTx/>
                  <a:uFillTx/>
                </a:endParaRPr>
              </a:p>
            </p:txBody>
          </p:sp>
          <p:sp>
            <p:nvSpPr>
              <p:cNvPr id="391" name="Freeform 390"/>
              <p:cNvSpPr/>
              <p:nvPr/>
            </p:nvSpPr>
            <p:spPr>
              <a:xfrm>
                <a:off x="1426527" y="2883011"/>
                <a:ext cx="10368473" cy="222981"/>
              </a:xfrm>
              <a:custGeom>
                <a:avLst/>
                <a:gdLst>
                  <a:gd name="connsiteX0" fmla="*/ 5056840 w 10368472"/>
                  <a:gd name="connsiteY0" fmla="*/ 169438 h 222980"/>
                  <a:gd name="connsiteX1" fmla="*/ 5033649 w 10368472"/>
                  <a:gd name="connsiteY1" fmla="*/ 208685 h 222980"/>
                  <a:gd name="connsiteX2" fmla="*/ 5050061 w 10368472"/>
                  <a:gd name="connsiteY2" fmla="*/ 212075 h 222980"/>
                  <a:gd name="connsiteX3" fmla="*/ 5066473 w 10368472"/>
                  <a:gd name="connsiteY3" fmla="*/ 208507 h 222980"/>
                  <a:gd name="connsiteX4" fmla="*/ 5063530 w 10368472"/>
                  <a:gd name="connsiteY4" fmla="*/ 199052 h 222980"/>
                  <a:gd name="connsiteX5" fmla="*/ 5064511 w 10368472"/>
                  <a:gd name="connsiteY5" fmla="*/ 185851 h 222980"/>
                  <a:gd name="connsiteX6" fmla="*/ 5056840 w 10368472"/>
                  <a:gd name="connsiteY6" fmla="*/ 169438 h 222980"/>
                  <a:gd name="connsiteX7" fmla="*/ 4896819 w 10368472"/>
                  <a:gd name="connsiteY7" fmla="*/ 153026 h 222980"/>
                  <a:gd name="connsiteX8" fmla="*/ 4883172 w 10368472"/>
                  <a:gd name="connsiteY8" fmla="*/ 173274 h 222980"/>
                  <a:gd name="connsiteX9" fmla="*/ 4904668 w 10368472"/>
                  <a:gd name="connsiteY9" fmla="*/ 194860 h 222980"/>
                  <a:gd name="connsiteX10" fmla="*/ 4913588 w 10368472"/>
                  <a:gd name="connsiteY10" fmla="*/ 187635 h 222980"/>
                  <a:gd name="connsiteX11" fmla="*/ 4896819 w 10368472"/>
                  <a:gd name="connsiteY11" fmla="*/ 153026 h 222980"/>
                  <a:gd name="connsiteX12" fmla="*/ 4880431 w 10368472"/>
                  <a:gd name="connsiteY12" fmla="*/ 84735 h 222980"/>
                  <a:gd name="connsiteX13" fmla="*/ 4880230 w 10368472"/>
                  <a:gd name="connsiteY13" fmla="*/ 86252 h 222980"/>
                  <a:gd name="connsiteX14" fmla="*/ 4880164 w 10368472"/>
                  <a:gd name="connsiteY14" fmla="*/ 84992 h 222980"/>
                  <a:gd name="connsiteX15" fmla="*/ 5082351 w 10368472"/>
                  <a:gd name="connsiteY15" fmla="*/ 57540 h 222980"/>
                  <a:gd name="connsiteX16" fmla="*/ 5078359 w 10368472"/>
                  <a:gd name="connsiteY16" fmla="*/ 60394 h 222980"/>
                  <a:gd name="connsiteX17" fmla="*/ 5085281 w 10368472"/>
                  <a:gd name="connsiteY17" fmla="*/ 68765 h 222980"/>
                  <a:gd name="connsiteX18" fmla="*/ 5092162 w 10368472"/>
                  <a:gd name="connsiteY18" fmla="*/ 67039 h 222980"/>
                  <a:gd name="connsiteX19" fmla="*/ 5065938 w 10368472"/>
                  <a:gd name="connsiteY19" fmla="*/ 86217 h 222980"/>
                  <a:gd name="connsiteX20" fmla="*/ 5070955 w 10368472"/>
                  <a:gd name="connsiteY20" fmla="*/ 78594 h 222980"/>
                  <a:gd name="connsiteX21" fmla="*/ 5063173 w 10368472"/>
                  <a:gd name="connsiteY21" fmla="*/ 71633 h 222980"/>
                  <a:gd name="connsiteX22" fmla="*/ 5058356 w 10368472"/>
                  <a:gd name="connsiteY22" fmla="*/ 75692 h 222980"/>
                  <a:gd name="connsiteX23" fmla="*/ 5082351 w 10368472"/>
                  <a:gd name="connsiteY23" fmla="*/ 57540 h 222980"/>
                  <a:gd name="connsiteX24" fmla="*/ 5055782 w 10368472"/>
                  <a:gd name="connsiteY24" fmla="*/ 41128 h 222980"/>
                  <a:gd name="connsiteX25" fmla="*/ 5058066 w 10368472"/>
                  <a:gd name="connsiteY25" fmla="*/ 41165 h 222980"/>
                  <a:gd name="connsiteX26" fmla="*/ 5066206 w 10368472"/>
                  <a:gd name="connsiteY26" fmla="*/ 42421 h 222980"/>
                  <a:gd name="connsiteX27" fmla="*/ 5047296 w 10368472"/>
                  <a:gd name="connsiteY27" fmla="*/ 61331 h 222980"/>
                  <a:gd name="connsiteX28" fmla="*/ 5055782 w 10368472"/>
                  <a:gd name="connsiteY28" fmla="*/ 41128 h 222980"/>
                  <a:gd name="connsiteX29" fmla="*/ 5158385 w 10368472"/>
                  <a:gd name="connsiteY29" fmla="*/ 19051 h 222980"/>
                  <a:gd name="connsiteX30" fmla="*/ 5150188 w 10368472"/>
                  <a:gd name="connsiteY30" fmla="*/ 32972 h 222980"/>
                  <a:gd name="connsiteX31" fmla="*/ 5138012 w 10368472"/>
                  <a:gd name="connsiteY31" fmla="*/ 34963 h 222980"/>
                  <a:gd name="connsiteX32" fmla="*/ 5149153 w 10368472"/>
                  <a:gd name="connsiteY32" fmla="*/ 28334 h 222980"/>
                  <a:gd name="connsiteX33" fmla="*/ 5158385 w 10368472"/>
                  <a:gd name="connsiteY33" fmla="*/ 19051 h 222980"/>
                  <a:gd name="connsiteX34" fmla="*/ 5054448 w 10368472"/>
                  <a:gd name="connsiteY34" fmla="*/ 46 h 222980"/>
                  <a:gd name="connsiteX35" fmla="*/ 5060311 w 10368472"/>
                  <a:gd name="connsiteY35" fmla="*/ 560 h 222980"/>
                  <a:gd name="connsiteX36" fmla="*/ 5103296 w 10368472"/>
                  <a:gd name="connsiteY36" fmla="*/ 29780 h 222980"/>
                  <a:gd name="connsiteX37" fmla="*/ 5121167 w 10368472"/>
                  <a:gd name="connsiteY37" fmla="*/ 50790 h 222980"/>
                  <a:gd name="connsiteX38" fmla="*/ 5118027 w 10368472"/>
                  <a:gd name="connsiteY38" fmla="*/ 58517 h 222980"/>
                  <a:gd name="connsiteX39" fmla="*/ 5131053 w 10368472"/>
                  <a:gd name="connsiteY39" fmla="*/ 68554 h 222980"/>
                  <a:gd name="connsiteX40" fmla="*/ 5129377 w 10368472"/>
                  <a:gd name="connsiteY40" fmla="*/ 31471 h 222980"/>
                  <a:gd name="connsiteX41" fmla="*/ 5144591 w 10368472"/>
                  <a:gd name="connsiteY41" fmla="*/ 21811 h 222980"/>
                  <a:gd name="connsiteX42" fmla="*/ 5156424 w 10368472"/>
                  <a:gd name="connsiteY42" fmla="*/ 10703 h 222980"/>
                  <a:gd name="connsiteX43" fmla="*/ 5179124 w 10368472"/>
                  <a:gd name="connsiteY43" fmla="*/ 72765 h 222980"/>
                  <a:gd name="connsiteX44" fmla="*/ 5141693 w 10368472"/>
                  <a:gd name="connsiteY44" fmla="*/ 140624 h 222980"/>
                  <a:gd name="connsiteX45" fmla="*/ 5109882 w 10368472"/>
                  <a:gd name="connsiteY45" fmla="*/ 141337 h 222980"/>
                  <a:gd name="connsiteX46" fmla="*/ 5105902 w 10368472"/>
                  <a:gd name="connsiteY46" fmla="*/ 139951 h 222980"/>
                  <a:gd name="connsiteX47" fmla="*/ 5105425 w 10368472"/>
                  <a:gd name="connsiteY47" fmla="*/ 142212 h 222980"/>
                  <a:gd name="connsiteX48" fmla="*/ 5080838 w 10368472"/>
                  <a:gd name="connsiteY48" fmla="*/ 162116 h 222980"/>
                  <a:gd name="connsiteX49" fmla="*/ 5059345 w 10368472"/>
                  <a:gd name="connsiteY49" fmla="*/ 152457 h 222980"/>
                  <a:gd name="connsiteX50" fmla="*/ 5058379 w 10368472"/>
                  <a:gd name="connsiteY50" fmla="*/ 165014 h 222980"/>
                  <a:gd name="connsiteX51" fmla="*/ 5068039 w 10368472"/>
                  <a:gd name="connsiteY51" fmla="*/ 185540 h 222980"/>
                  <a:gd name="connsiteX52" fmla="*/ 5067556 w 10368472"/>
                  <a:gd name="connsiteY52" fmla="*/ 196649 h 222980"/>
                  <a:gd name="connsiteX53" fmla="*/ 5069729 w 10368472"/>
                  <a:gd name="connsiteY53" fmla="*/ 210414 h 222980"/>
                  <a:gd name="connsiteX54" fmla="*/ 5053791 w 10368472"/>
                  <a:gd name="connsiteY54" fmla="*/ 216210 h 222980"/>
                  <a:gd name="connsiteX55" fmla="*/ 5028917 w 10368472"/>
                  <a:gd name="connsiteY55" fmla="*/ 210897 h 222980"/>
                  <a:gd name="connsiteX56" fmla="*/ 5028158 w 10368472"/>
                  <a:gd name="connsiteY56" fmla="*/ 206443 h 222980"/>
                  <a:gd name="connsiteX57" fmla="*/ 5028118 w 10368472"/>
                  <a:gd name="connsiteY57" fmla="*/ 205098 h 222980"/>
                  <a:gd name="connsiteX58" fmla="*/ 5024379 w 10368472"/>
                  <a:gd name="connsiteY58" fmla="*/ 208642 h 222980"/>
                  <a:gd name="connsiteX59" fmla="*/ 5000905 w 10368472"/>
                  <a:gd name="connsiteY59" fmla="*/ 222971 h 222980"/>
                  <a:gd name="connsiteX60" fmla="*/ 4977480 w 10368472"/>
                  <a:gd name="connsiteY60" fmla="*/ 194717 h 222980"/>
                  <a:gd name="connsiteX61" fmla="*/ 4988347 w 10368472"/>
                  <a:gd name="connsiteY61" fmla="*/ 182884 h 222980"/>
                  <a:gd name="connsiteX62" fmla="*/ 4963474 w 10368472"/>
                  <a:gd name="connsiteY62" fmla="*/ 180469 h 222980"/>
                  <a:gd name="connsiteX63" fmla="*/ 4962508 w 10368472"/>
                  <a:gd name="connsiteY63" fmla="*/ 191336 h 222980"/>
                  <a:gd name="connsiteX64" fmla="*/ 4956229 w 10368472"/>
                  <a:gd name="connsiteY64" fmla="*/ 201962 h 222980"/>
                  <a:gd name="connsiteX65" fmla="*/ 4951158 w 10368472"/>
                  <a:gd name="connsiteY65" fmla="*/ 221039 h 222980"/>
                  <a:gd name="connsiteX66" fmla="*/ 4911070 w 10368472"/>
                  <a:gd name="connsiteY66" fmla="*/ 212587 h 222980"/>
                  <a:gd name="connsiteX67" fmla="*/ 4912036 w 10368472"/>
                  <a:gd name="connsiteY67" fmla="*/ 198581 h 222980"/>
                  <a:gd name="connsiteX68" fmla="*/ 4902377 w 10368472"/>
                  <a:gd name="connsiteY68" fmla="*/ 200513 h 222980"/>
                  <a:gd name="connsiteX69" fmla="*/ 4877262 w 10368472"/>
                  <a:gd name="connsiteY69" fmla="*/ 174673 h 222980"/>
                  <a:gd name="connsiteX70" fmla="*/ 4892476 w 10368472"/>
                  <a:gd name="connsiteY70" fmla="*/ 148110 h 222980"/>
                  <a:gd name="connsiteX71" fmla="*/ 4893925 w 10368472"/>
                  <a:gd name="connsiteY71" fmla="*/ 121546 h 222980"/>
                  <a:gd name="connsiteX72" fmla="*/ 4878469 w 10368472"/>
                  <a:gd name="connsiteY72" fmla="*/ 99570 h 222980"/>
                  <a:gd name="connsiteX73" fmla="*/ 4880230 w 10368472"/>
                  <a:gd name="connsiteY73" fmla="*/ 86252 h 222980"/>
                  <a:gd name="connsiteX74" fmla="*/ 4880689 w 10368472"/>
                  <a:gd name="connsiteY74" fmla="*/ 94972 h 222980"/>
                  <a:gd name="connsiteX75" fmla="*/ 4881512 w 10368472"/>
                  <a:gd name="connsiteY75" fmla="*/ 95368 h 222980"/>
                  <a:gd name="connsiteX76" fmla="*/ 4881635 w 10368472"/>
                  <a:gd name="connsiteY76" fmla="*/ 96542 h 222980"/>
                  <a:gd name="connsiteX77" fmla="*/ 4901190 w 10368472"/>
                  <a:gd name="connsiteY77" fmla="*/ 110389 h 222980"/>
                  <a:gd name="connsiteX78" fmla="*/ 4919413 w 10368472"/>
                  <a:gd name="connsiteY78" fmla="*/ 181019 h 222980"/>
                  <a:gd name="connsiteX79" fmla="*/ 4920375 w 10368472"/>
                  <a:gd name="connsiteY79" fmla="*/ 182869 h 222980"/>
                  <a:gd name="connsiteX80" fmla="*/ 4920341 w 10368472"/>
                  <a:gd name="connsiteY80" fmla="*/ 183736 h 222980"/>
                  <a:gd name="connsiteX81" fmla="*/ 4918940 w 10368472"/>
                  <a:gd name="connsiteY81" fmla="*/ 197179 h 222980"/>
                  <a:gd name="connsiteX82" fmla="*/ 4915640 w 10368472"/>
                  <a:gd name="connsiteY82" fmla="*/ 208507 h 222980"/>
                  <a:gd name="connsiteX83" fmla="*/ 4949803 w 10368472"/>
                  <a:gd name="connsiteY83" fmla="*/ 215108 h 222980"/>
                  <a:gd name="connsiteX84" fmla="*/ 4950962 w 10368472"/>
                  <a:gd name="connsiteY84" fmla="*/ 204225 h 222980"/>
                  <a:gd name="connsiteX85" fmla="*/ 4957563 w 10368472"/>
                  <a:gd name="connsiteY85" fmla="*/ 190043 h 222980"/>
                  <a:gd name="connsiteX86" fmla="*/ 4957842 w 10368472"/>
                  <a:gd name="connsiteY86" fmla="*/ 174935 h 222980"/>
                  <a:gd name="connsiteX87" fmla="*/ 4957634 w 10368472"/>
                  <a:gd name="connsiteY87" fmla="*/ 169256 h 222980"/>
                  <a:gd name="connsiteX88" fmla="*/ 4959222 w 10368472"/>
                  <a:gd name="connsiteY88" fmla="*/ 171106 h 222980"/>
                  <a:gd name="connsiteX89" fmla="*/ 4998594 w 10368472"/>
                  <a:gd name="connsiteY89" fmla="*/ 168903 h 222980"/>
                  <a:gd name="connsiteX90" fmla="*/ 4999486 w 10368472"/>
                  <a:gd name="connsiteY90" fmla="*/ 182640 h 222980"/>
                  <a:gd name="connsiteX91" fmla="*/ 4982449 w 10368472"/>
                  <a:gd name="connsiteY91" fmla="*/ 195306 h 222980"/>
                  <a:gd name="connsiteX92" fmla="*/ 5001359 w 10368472"/>
                  <a:gd name="connsiteY92" fmla="*/ 218229 h 222980"/>
                  <a:gd name="connsiteX93" fmla="*/ 5036414 w 10368472"/>
                  <a:gd name="connsiteY93" fmla="*/ 190489 h 222980"/>
                  <a:gd name="connsiteX94" fmla="*/ 5055502 w 10368472"/>
                  <a:gd name="connsiteY94" fmla="*/ 148655 h 222980"/>
                  <a:gd name="connsiteX95" fmla="*/ 5038639 w 10368472"/>
                  <a:gd name="connsiteY95" fmla="*/ 130392 h 222980"/>
                  <a:gd name="connsiteX96" fmla="*/ 5038445 w 10368472"/>
                  <a:gd name="connsiteY96" fmla="*/ 129884 h 222980"/>
                  <a:gd name="connsiteX97" fmla="*/ 5041063 w 10368472"/>
                  <a:gd name="connsiteY97" fmla="*/ 131532 h 222980"/>
                  <a:gd name="connsiteX98" fmla="*/ 5060230 w 10368472"/>
                  <a:gd name="connsiteY98" fmla="*/ 142144 h 222980"/>
                  <a:gd name="connsiteX99" fmla="*/ 5081548 w 10368472"/>
                  <a:gd name="connsiteY99" fmla="*/ 156594 h 222980"/>
                  <a:gd name="connsiteX100" fmla="*/ 5102509 w 10368472"/>
                  <a:gd name="connsiteY100" fmla="*/ 138219 h 222980"/>
                  <a:gd name="connsiteX101" fmla="*/ 5099209 w 10368472"/>
                  <a:gd name="connsiteY101" fmla="*/ 137952 h 222980"/>
                  <a:gd name="connsiteX102" fmla="*/ 5071416 w 10368472"/>
                  <a:gd name="connsiteY102" fmla="*/ 115804 h 222980"/>
                  <a:gd name="connsiteX103" fmla="*/ 5072341 w 10368472"/>
                  <a:gd name="connsiteY103" fmla="*/ 111028 h 222980"/>
                  <a:gd name="connsiteX104" fmla="*/ 5074093 w 10368472"/>
                  <a:gd name="connsiteY104" fmla="*/ 112938 h 222980"/>
                  <a:gd name="connsiteX105" fmla="*/ 5145860 w 10368472"/>
                  <a:gd name="connsiteY105" fmla="*/ 131083 h 222980"/>
                  <a:gd name="connsiteX106" fmla="*/ 5157723 w 10368472"/>
                  <a:gd name="connsiteY106" fmla="*/ 13967 h 222980"/>
                  <a:gd name="connsiteX107" fmla="*/ 5148446 w 10368472"/>
                  <a:gd name="connsiteY107" fmla="*/ 24671 h 222980"/>
                  <a:gd name="connsiteX108" fmla="*/ 5134888 w 10368472"/>
                  <a:gd name="connsiteY108" fmla="*/ 31539 h 222980"/>
                  <a:gd name="connsiteX109" fmla="*/ 5126411 w 10368472"/>
                  <a:gd name="connsiteY109" fmla="*/ 92334 h 222980"/>
                  <a:gd name="connsiteX110" fmla="*/ 5124931 w 10368472"/>
                  <a:gd name="connsiteY110" fmla="*/ 93502 h 222980"/>
                  <a:gd name="connsiteX111" fmla="*/ 5125242 w 10368472"/>
                  <a:gd name="connsiteY111" fmla="*/ 92901 h 222980"/>
                  <a:gd name="connsiteX112" fmla="*/ 5128466 w 10368472"/>
                  <a:gd name="connsiteY112" fmla="*/ 73819 h 222980"/>
                  <a:gd name="connsiteX113" fmla="*/ 5115889 w 10368472"/>
                  <a:gd name="connsiteY113" fmla="*/ 76227 h 222980"/>
                  <a:gd name="connsiteX114" fmla="*/ 5117227 w 10368472"/>
                  <a:gd name="connsiteY114" fmla="*/ 65791 h 222980"/>
                  <a:gd name="connsiteX115" fmla="*/ 5105453 w 10368472"/>
                  <a:gd name="connsiteY115" fmla="*/ 65701 h 222980"/>
                  <a:gd name="connsiteX116" fmla="*/ 5108842 w 10368472"/>
                  <a:gd name="connsiteY116" fmla="*/ 57941 h 222980"/>
                  <a:gd name="connsiteX117" fmla="*/ 5102035 w 10368472"/>
                  <a:gd name="connsiteY117" fmla="*/ 54797 h 222980"/>
                  <a:gd name="connsiteX118" fmla="*/ 5100149 w 10368472"/>
                  <a:gd name="connsiteY118" fmla="*/ 54810 h 222980"/>
                  <a:gd name="connsiteX119" fmla="*/ 5101700 w 10368472"/>
                  <a:gd name="connsiteY119" fmla="*/ 54253 h 222980"/>
                  <a:gd name="connsiteX120" fmla="*/ 5104026 w 10368472"/>
                  <a:gd name="connsiteY120" fmla="*/ 53571 h 222980"/>
                  <a:gd name="connsiteX121" fmla="*/ 5115265 w 10368472"/>
                  <a:gd name="connsiteY121" fmla="*/ 50984 h 222980"/>
                  <a:gd name="connsiteX122" fmla="*/ 5103847 w 10368472"/>
                  <a:gd name="connsiteY122" fmla="*/ 36445 h 222980"/>
                  <a:gd name="connsiteX123" fmla="*/ 5091948 w 10368472"/>
                  <a:gd name="connsiteY123" fmla="*/ 34985 h 222980"/>
                  <a:gd name="connsiteX124" fmla="*/ 5090849 w 10368472"/>
                  <a:gd name="connsiteY124" fmla="*/ 34927 h 222980"/>
                  <a:gd name="connsiteX125" fmla="*/ 5090858 w 10368472"/>
                  <a:gd name="connsiteY125" fmla="*/ 34903 h 222980"/>
                  <a:gd name="connsiteX126" fmla="*/ 5098585 w 10368472"/>
                  <a:gd name="connsiteY126" fmla="*/ 32520 h 222980"/>
                  <a:gd name="connsiteX127" fmla="*/ 5056216 w 10368472"/>
                  <a:gd name="connsiteY127" fmla="*/ 6564 h 222980"/>
                  <a:gd name="connsiteX128" fmla="*/ 5006086 w 10368472"/>
                  <a:gd name="connsiteY128" fmla="*/ 30023 h 222980"/>
                  <a:gd name="connsiteX129" fmla="*/ 5020223 w 10368472"/>
                  <a:gd name="connsiteY129" fmla="*/ 30347 h 222980"/>
                  <a:gd name="connsiteX130" fmla="*/ 5020796 w 10368472"/>
                  <a:gd name="connsiteY130" fmla="*/ 30430 h 222980"/>
                  <a:gd name="connsiteX131" fmla="*/ 5018402 w 10368472"/>
                  <a:gd name="connsiteY131" fmla="*/ 31081 h 222980"/>
                  <a:gd name="connsiteX132" fmla="*/ 4993969 w 10368472"/>
                  <a:gd name="connsiteY132" fmla="*/ 36163 h 222980"/>
                  <a:gd name="connsiteX133" fmla="*/ 4947806 w 10368472"/>
                  <a:gd name="connsiteY133" fmla="*/ 96042 h 222980"/>
                  <a:gd name="connsiteX134" fmla="*/ 4961693 w 10368472"/>
                  <a:gd name="connsiteY134" fmla="*/ 118006 h 222980"/>
                  <a:gd name="connsiteX135" fmla="*/ 4976102 w 10368472"/>
                  <a:gd name="connsiteY135" fmla="*/ 101580 h 222980"/>
                  <a:gd name="connsiteX136" fmla="*/ 4959244 w 10368472"/>
                  <a:gd name="connsiteY136" fmla="*/ 136449 h 222980"/>
                  <a:gd name="connsiteX137" fmla="*/ 4975066 w 10368472"/>
                  <a:gd name="connsiteY137" fmla="*/ 145767 h 222980"/>
                  <a:gd name="connsiteX138" fmla="*/ 5002038 w 10368472"/>
                  <a:gd name="connsiteY138" fmla="*/ 132414 h 222980"/>
                  <a:gd name="connsiteX139" fmla="*/ 5019329 w 10368472"/>
                  <a:gd name="connsiteY139" fmla="*/ 130685 h 222980"/>
                  <a:gd name="connsiteX140" fmla="*/ 5025525 w 10368472"/>
                  <a:gd name="connsiteY140" fmla="*/ 62099 h 222980"/>
                  <a:gd name="connsiteX141" fmla="*/ 5026245 w 10368472"/>
                  <a:gd name="connsiteY141" fmla="*/ 139475 h 222980"/>
                  <a:gd name="connsiteX142" fmla="*/ 5024152 w 10368472"/>
                  <a:gd name="connsiteY142" fmla="*/ 139132 h 222980"/>
                  <a:gd name="connsiteX143" fmla="*/ 5021501 w 10368472"/>
                  <a:gd name="connsiteY143" fmla="*/ 138454 h 222980"/>
                  <a:gd name="connsiteX144" fmla="*/ 5018785 w 10368472"/>
                  <a:gd name="connsiteY144" fmla="*/ 138030 h 222980"/>
                  <a:gd name="connsiteX145" fmla="*/ 5018024 w 10368472"/>
                  <a:gd name="connsiteY145" fmla="*/ 137854 h 222980"/>
                  <a:gd name="connsiteX146" fmla="*/ 5011299 w 10368472"/>
                  <a:gd name="connsiteY146" fmla="*/ 137626 h 222980"/>
                  <a:gd name="connsiteX147" fmla="*/ 5010320 w 10368472"/>
                  <a:gd name="connsiteY147" fmla="*/ 137854 h 222980"/>
                  <a:gd name="connsiteX148" fmla="*/ 5009728 w 10368472"/>
                  <a:gd name="connsiteY148" fmla="*/ 137906 h 222980"/>
                  <a:gd name="connsiteX149" fmla="*/ 4970764 w 10368472"/>
                  <a:gd name="connsiteY149" fmla="*/ 153740 h 222980"/>
                  <a:gd name="connsiteX150" fmla="*/ 4948574 w 10368472"/>
                  <a:gd name="connsiteY150" fmla="*/ 136140 h 222980"/>
                  <a:gd name="connsiteX151" fmla="*/ 4948119 w 10368472"/>
                  <a:gd name="connsiteY151" fmla="*/ 135551 h 222980"/>
                  <a:gd name="connsiteX152" fmla="*/ 4949830 w 10368472"/>
                  <a:gd name="connsiteY152" fmla="*/ 132692 h 222980"/>
                  <a:gd name="connsiteX153" fmla="*/ 4955868 w 10368472"/>
                  <a:gd name="connsiteY153" fmla="*/ 123948 h 222980"/>
                  <a:gd name="connsiteX154" fmla="*/ 4938920 w 10368472"/>
                  <a:gd name="connsiteY154" fmla="*/ 97099 h 222980"/>
                  <a:gd name="connsiteX155" fmla="*/ 4968980 w 10368472"/>
                  <a:gd name="connsiteY155" fmla="*/ 51251 h 222980"/>
                  <a:gd name="connsiteX156" fmla="*/ 4889464 w 10368472"/>
                  <a:gd name="connsiteY156" fmla="*/ 98314 h 222980"/>
                  <a:gd name="connsiteX157" fmla="*/ 4885863 w 10368472"/>
                  <a:gd name="connsiteY157" fmla="*/ 95073 h 222980"/>
                  <a:gd name="connsiteX158" fmla="*/ 4886916 w 10368472"/>
                  <a:gd name="connsiteY158" fmla="*/ 94482 h 222980"/>
                  <a:gd name="connsiteX159" fmla="*/ 4890843 w 10368472"/>
                  <a:gd name="connsiteY159" fmla="*/ 74710 h 222980"/>
                  <a:gd name="connsiteX160" fmla="*/ 4880431 w 10368472"/>
                  <a:gd name="connsiteY160" fmla="*/ 84735 h 222980"/>
                  <a:gd name="connsiteX161" fmla="*/ 4881337 w 10368472"/>
                  <a:gd name="connsiteY161" fmla="*/ 77882 h 222980"/>
                  <a:gd name="connsiteX162" fmla="*/ 4894891 w 10368472"/>
                  <a:gd name="connsiteY162" fmla="*/ 69384 h 222980"/>
                  <a:gd name="connsiteX163" fmla="*/ 4894891 w 10368472"/>
                  <a:gd name="connsiteY163" fmla="*/ 93050 h 222980"/>
                  <a:gd name="connsiteX164" fmla="*/ 4970718 w 10368472"/>
                  <a:gd name="connsiteY164" fmla="*/ 44994 h 222980"/>
                  <a:gd name="connsiteX165" fmla="*/ 4993177 w 10368472"/>
                  <a:gd name="connsiteY165" fmla="*/ 28573 h 222980"/>
                  <a:gd name="connsiteX166" fmla="*/ 4999172 w 10368472"/>
                  <a:gd name="connsiteY166" fmla="*/ 27944 h 222980"/>
                  <a:gd name="connsiteX167" fmla="*/ 4999867 w 10368472"/>
                  <a:gd name="connsiteY167" fmla="*/ 26457 h 222980"/>
                  <a:gd name="connsiteX168" fmla="*/ 5019017 w 10368472"/>
                  <a:gd name="connsiteY168" fmla="*/ 8046 h 222980"/>
                  <a:gd name="connsiteX169" fmla="*/ 5054448 w 10368472"/>
                  <a:gd name="connsiteY169" fmla="*/ 46 h 222980"/>
                  <a:gd name="connsiteX170" fmla="*/ 10303985 w 10368472"/>
                  <a:gd name="connsiteY170" fmla="*/ 0 h 222980"/>
                  <a:gd name="connsiteX171" fmla="*/ 10348834 w 10368472"/>
                  <a:gd name="connsiteY171" fmla="*/ 39022 h 222980"/>
                  <a:gd name="connsiteX172" fmla="*/ 10348834 w 10368472"/>
                  <a:gd name="connsiteY172" fmla="*/ 75382 h 222980"/>
                  <a:gd name="connsiteX173" fmla="*/ 10368472 w 10368472"/>
                  <a:gd name="connsiteY173" fmla="*/ 102242 h 222980"/>
                  <a:gd name="connsiteX174" fmla="*/ 10368472 w 10368472"/>
                  <a:gd name="connsiteY174" fmla="*/ 120739 h 222980"/>
                  <a:gd name="connsiteX175" fmla="*/ 10348834 w 10368472"/>
                  <a:gd name="connsiteY175" fmla="*/ 147091 h 222980"/>
                  <a:gd name="connsiteX176" fmla="*/ 10348834 w 10368472"/>
                  <a:gd name="connsiteY176" fmla="*/ 184466 h 222980"/>
                  <a:gd name="connsiteX177" fmla="*/ 10303985 w 10368472"/>
                  <a:gd name="connsiteY177" fmla="*/ 222980 h 222980"/>
                  <a:gd name="connsiteX178" fmla="*/ 10303985 w 10368472"/>
                  <a:gd name="connsiteY178" fmla="*/ 203469 h 222980"/>
                  <a:gd name="connsiteX179" fmla="*/ 10319632 w 10368472"/>
                  <a:gd name="connsiteY179" fmla="*/ 197388 h 222980"/>
                  <a:gd name="connsiteX180" fmla="*/ 10324256 w 10368472"/>
                  <a:gd name="connsiteY180" fmla="*/ 178131 h 222980"/>
                  <a:gd name="connsiteX181" fmla="*/ 10324256 w 10368472"/>
                  <a:gd name="connsiteY181" fmla="*/ 142784 h 222980"/>
                  <a:gd name="connsiteX182" fmla="*/ 10349215 w 10368472"/>
                  <a:gd name="connsiteY182" fmla="*/ 111490 h 222980"/>
                  <a:gd name="connsiteX183" fmla="*/ 10349215 w 10368472"/>
                  <a:gd name="connsiteY183" fmla="*/ 111110 h 222980"/>
                  <a:gd name="connsiteX184" fmla="*/ 10324256 w 10368472"/>
                  <a:gd name="connsiteY184" fmla="*/ 79563 h 222980"/>
                  <a:gd name="connsiteX185" fmla="*/ 10324256 w 10368472"/>
                  <a:gd name="connsiteY185" fmla="*/ 43836 h 222980"/>
                  <a:gd name="connsiteX186" fmla="*/ 10303985 w 10368472"/>
                  <a:gd name="connsiteY186" fmla="*/ 19638 h 222980"/>
                  <a:gd name="connsiteX187" fmla="*/ 10286501 w 10368472"/>
                  <a:gd name="connsiteY187" fmla="*/ 0 h 222980"/>
                  <a:gd name="connsiteX188" fmla="*/ 10286501 w 10368472"/>
                  <a:gd name="connsiteY188" fmla="*/ 19638 h 222980"/>
                  <a:gd name="connsiteX189" fmla="*/ 10266357 w 10368472"/>
                  <a:gd name="connsiteY189" fmla="*/ 43836 h 222980"/>
                  <a:gd name="connsiteX190" fmla="*/ 10266357 w 10368472"/>
                  <a:gd name="connsiteY190" fmla="*/ 79563 h 222980"/>
                  <a:gd name="connsiteX191" fmla="*/ 10241145 w 10368472"/>
                  <a:gd name="connsiteY191" fmla="*/ 111110 h 222980"/>
                  <a:gd name="connsiteX192" fmla="*/ 10241145 w 10368472"/>
                  <a:gd name="connsiteY192" fmla="*/ 111490 h 222980"/>
                  <a:gd name="connsiteX193" fmla="*/ 10266357 w 10368472"/>
                  <a:gd name="connsiteY193" fmla="*/ 142784 h 222980"/>
                  <a:gd name="connsiteX194" fmla="*/ 10266357 w 10368472"/>
                  <a:gd name="connsiteY194" fmla="*/ 178131 h 222980"/>
                  <a:gd name="connsiteX195" fmla="*/ 10270855 w 10368472"/>
                  <a:gd name="connsiteY195" fmla="*/ 197451 h 222980"/>
                  <a:gd name="connsiteX196" fmla="*/ 10286501 w 10368472"/>
                  <a:gd name="connsiteY196" fmla="*/ 203469 h 222980"/>
                  <a:gd name="connsiteX197" fmla="*/ 10286501 w 10368472"/>
                  <a:gd name="connsiteY197" fmla="*/ 222980 h 222980"/>
                  <a:gd name="connsiteX198" fmla="*/ 10241398 w 10368472"/>
                  <a:gd name="connsiteY198" fmla="*/ 184466 h 222980"/>
                  <a:gd name="connsiteX199" fmla="*/ 10241398 w 10368472"/>
                  <a:gd name="connsiteY199" fmla="*/ 147091 h 222980"/>
                  <a:gd name="connsiteX200" fmla="*/ 10221634 w 10368472"/>
                  <a:gd name="connsiteY200" fmla="*/ 120739 h 222980"/>
                  <a:gd name="connsiteX201" fmla="*/ 10221634 w 10368472"/>
                  <a:gd name="connsiteY201" fmla="*/ 102242 h 222980"/>
                  <a:gd name="connsiteX202" fmla="*/ 10241398 w 10368472"/>
                  <a:gd name="connsiteY202" fmla="*/ 75382 h 222980"/>
                  <a:gd name="connsiteX203" fmla="*/ 10241398 w 10368472"/>
                  <a:gd name="connsiteY203" fmla="*/ 39022 h 222980"/>
                  <a:gd name="connsiteX204" fmla="*/ 10286501 w 10368472"/>
                  <a:gd name="connsiteY204" fmla="*/ 0 h 222980"/>
                  <a:gd name="connsiteX205" fmla="*/ 6138404 w 10368472"/>
                  <a:gd name="connsiteY205" fmla="*/ 0 h 222980"/>
                  <a:gd name="connsiteX206" fmla="*/ 6183254 w 10368472"/>
                  <a:gd name="connsiteY206" fmla="*/ 39022 h 222980"/>
                  <a:gd name="connsiteX207" fmla="*/ 6183254 w 10368472"/>
                  <a:gd name="connsiteY207" fmla="*/ 75382 h 222980"/>
                  <a:gd name="connsiteX208" fmla="*/ 6202891 w 10368472"/>
                  <a:gd name="connsiteY208" fmla="*/ 102242 h 222980"/>
                  <a:gd name="connsiteX209" fmla="*/ 6202891 w 10368472"/>
                  <a:gd name="connsiteY209" fmla="*/ 120739 h 222980"/>
                  <a:gd name="connsiteX210" fmla="*/ 6183254 w 10368472"/>
                  <a:gd name="connsiteY210" fmla="*/ 147091 h 222980"/>
                  <a:gd name="connsiteX211" fmla="*/ 6183254 w 10368472"/>
                  <a:gd name="connsiteY211" fmla="*/ 184466 h 222980"/>
                  <a:gd name="connsiteX212" fmla="*/ 6138404 w 10368472"/>
                  <a:gd name="connsiteY212" fmla="*/ 222980 h 222980"/>
                  <a:gd name="connsiteX213" fmla="*/ 6138404 w 10368472"/>
                  <a:gd name="connsiteY213" fmla="*/ 203469 h 222980"/>
                  <a:gd name="connsiteX214" fmla="*/ 6154051 w 10368472"/>
                  <a:gd name="connsiteY214" fmla="*/ 197388 h 222980"/>
                  <a:gd name="connsiteX215" fmla="*/ 6158675 w 10368472"/>
                  <a:gd name="connsiteY215" fmla="*/ 178131 h 222980"/>
                  <a:gd name="connsiteX216" fmla="*/ 6158675 w 10368472"/>
                  <a:gd name="connsiteY216" fmla="*/ 142784 h 222980"/>
                  <a:gd name="connsiteX217" fmla="*/ 6183634 w 10368472"/>
                  <a:gd name="connsiteY217" fmla="*/ 111490 h 222980"/>
                  <a:gd name="connsiteX218" fmla="*/ 6183634 w 10368472"/>
                  <a:gd name="connsiteY218" fmla="*/ 111110 h 222980"/>
                  <a:gd name="connsiteX219" fmla="*/ 6158675 w 10368472"/>
                  <a:gd name="connsiteY219" fmla="*/ 79563 h 222980"/>
                  <a:gd name="connsiteX220" fmla="*/ 6158675 w 10368472"/>
                  <a:gd name="connsiteY220" fmla="*/ 43836 h 222980"/>
                  <a:gd name="connsiteX221" fmla="*/ 6138404 w 10368472"/>
                  <a:gd name="connsiteY221" fmla="*/ 19638 h 222980"/>
                  <a:gd name="connsiteX222" fmla="*/ 6120920 w 10368472"/>
                  <a:gd name="connsiteY222" fmla="*/ 0 h 222980"/>
                  <a:gd name="connsiteX223" fmla="*/ 6120920 w 10368472"/>
                  <a:gd name="connsiteY223" fmla="*/ 19638 h 222980"/>
                  <a:gd name="connsiteX224" fmla="*/ 6100776 w 10368472"/>
                  <a:gd name="connsiteY224" fmla="*/ 43836 h 222980"/>
                  <a:gd name="connsiteX225" fmla="*/ 6100776 w 10368472"/>
                  <a:gd name="connsiteY225" fmla="*/ 79563 h 222980"/>
                  <a:gd name="connsiteX226" fmla="*/ 6075564 w 10368472"/>
                  <a:gd name="connsiteY226" fmla="*/ 111110 h 222980"/>
                  <a:gd name="connsiteX227" fmla="*/ 6075564 w 10368472"/>
                  <a:gd name="connsiteY227" fmla="*/ 111490 h 222980"/>
                  <a:gd name="connsiteX228" fmla="*/ 6100776 w 10368472"/>
                  <a:gd name="connsiteY228" fmla="*/ 142784 h 222980"/>
                  <a:gd name="connsiteX229" fmla="*/ 6100776 w 10368472"/>
                  <a:gd name="connsiteY229" fmla="*/ 178131 h 222980"/>
                  <a:gd name="connsiteX230" fmla="*/ 6105274 w 10368472"/>
                  <a:gd name="connsiteY230" fmla="*/ 197451 h 222980"/>
                  <a:gd name="connsiteX231" fmla="*/ 6120920 w 10368472"/>
                  <a:gd name="connsiteY231" fmla="*/ 203469 h 222980"/>
                  <a:gd name="connsiteX232" fmla="*/ 6120920 w 10368472"/>
                  <a:gd name="connsiteY232" fmla="*/ 222980 h 222980"/>
                  <a:gd name="connsiteX233" fmla="*/ 6075818 w 10368472"/>
                  <a:gd name="connsiteY233" fmla="*/ 184466 h 222980"/>
                  <a:gd name="connsiteX234" fmla="*/ 6075818 w 10368472"/>
                  <a:gd name="connsiteY234" fmla="*/ 147091 h 222980"/>
                  <a:gd name="connsiteX235" fmla="*/ 6056053 w 10368472"/>
                  <a:gd name="connsiteY235" fmla="*/ 120739 h 222980"/>
                  <a:gd name="connsiteX236" fmla="*/ 6056053 w 10368472"/>
                  <a:gd name="connsiteY236" fmla="*/ 102242 h 222980"/>
                  <a:gd name="connsiteX237" fmla="*/ 6075818 w 10368472"/>
                  <a:gd name="connsiteY237" fmla="*/ 75382 h 222980"/>
                  <a:gd name="connsiteX238" fmla="*/ 6075818 w 10368472"/>
                  <a:gd name="connsiteY238" fmla="*/ 39022 h 222980"/>
                  <a:gd name="connsiteX239" fmla="*/ 6120920 w 10368472"/>
                  <a:gd name="connsiteY239" fmla="*/ 0 h 222980"/>
                  <a:gd name="connsiteX240" fmla="*/ 82352 w 10368472"/>
                  <a:gd name="connsiteY240" fmla="*/ 0 h 222980"/>
                  <a:gd name="connsiteX241" fmla="*/ 127201 w 10368472"/>
                  <a:gd name="connsiteY241" fmla="*/ 39022 h 222980"/>
                  <a:gd name="connsiteX242" fmla="*/ 127201 w 10368472"/>
                  <a:gd name="connsiteY242" fmla="*/ 75382 h 222980"/>
                  <a:gd name="connsiteX243" fmla="*/ 146838 w 10368472"/>
                  <a:gd name="connsiteY243" fmla="*/ 102242 h 222980"/>
                  <a:gd name="connsiteX244" fmla="*/ 146838 w 10368472"/>
                  <a:gd name="connsiteY244" fmla="*/ 120739 h 222980"/>
                  <a:gd name="connsiteX245" fmla="*/ 127201 w 10368472"/>
                  <a:gd name="connsiteY245" fmla="*/ 147091 h 222980"/>
                  <a:gd name="connsiteX246" fmla="*/ 127201 w 10368472"/>
                  <a:gd name="connsiteY246" fmla="*/ 184466 h 222980"/>
                  <a:gd name="connsiteX247" fmla="*/ 82352 w 10368472"/>
                  <a:gd name="connsiteY247" fmla="*/ 222980 h 222980"/>
                  <a:gd name="connsiteX248" fmla="*/ 82352 w 10368472"/>
                  <a:gd name="connsiteY248" fmla="*/ 203469 h 222980"/>
                  <a:gd name="connsiteX249" fmla="*/ 97998 w 10368472"/>
                  <a:gd name="connsiteY249" fmla="*/ 197388 h 222980"/>
                  <a:gd name="connsiteX250" fmla="*/ 102622 w 10368472"/>
                  <a:gd name="connsiteY250" fmla="*/ 178131 h 222980"/>
                  <a:gd name="connsiteX251" fmla="*/ 102622 w 10368472"/>
                  <a:gd name="connsiteY251" fmla="*/ 142784 h 222980"/>
                  <a:gd name="connsiteX252" fmla="*/ 127581 w 10368472"/>
                  <a:gd name="connsiteY252" fmla="*/ 111490 h 222980"/>
                  <a:gd name="connsiteX253" fmla="*/ 127581 w 10368472"/>
                  <a:gd name="connsiteY253" fmla="*/ 111110 h 222980"/>
                  <a:gd name="connsiteX254" fmla="*/ 102622 w 10368472"/>
                  <a:gd name="connsiteY254" fmla="*/ 79563 h 222980"/>
                  <a:gd name="connsiteX255" fmla="*/ 102622 w 10368472"/>
                  <a:gd name="connsiteY255" fmla="*/ 43836 h 222980"/>
                  <a:gd name="connsiteX256" fmla="*/ 82352 w 10368472"/>
                  <a:gd name="connsiteY256" fmla="*/ 19638 h 222980"/>
                  <a:gd name="connsiteX257" fmla="*/ 64867 w 10368472"/>
                  <a:gd name="connsiteY257" fmla="*/ 0 h 222980"/>
                  <a:gd name="connsiteX258" fmla="*/ 64867 w 10368472"/>
                  <a:gd name="connsiteY258" fmla="*/ 19638 h 222980"/>
                  <a:gd name="connsiteX259" fmla="*/ 44723 w 10368472"/>
                  <a:gd name="connsiteY259" fmla="*/ 43836 h 222980"/>
                  <a:gd name="connsiteX260" fmla="*/ 44723 w 10368472"/>
                  <a:gd name="connsiteY260" fmla="*/ 79563 h 222980"/>
                  <a:gd name="connsiteX261" fmla="*/ 19511 w 10368472"/>
                  <a:gd name="connsiteY261" fmla="*/ 111110 h 222980"/>
                  <a:gd name="connsiteX262" fmla="*/ 19511 w 10368472"/>
                  <a:gd name="connsiteY262" fmla="*/ 111490 h 222980"/>
                  <a:gd name="connsiteX263" fmla="*/ 44723 w 10368472"/>
                  <a:gd name="connsiteY263" fmla="*/ 142784 h 222980"/>
                  <a:gd name="connsiteX264" fmla="*/ 44723 w 10368472"/>
                  <a:gd name="connsiteY264" fmla="*/ 178131 h 222980"/>
                  <a:gd name="connsiteX265" fmla="*/ 49221 w 10368472"/>
                  <a:gd name="connsiteY265" fmla="*/ 197451 h 222980"/>
                  <a:gd name="connsiteX266" fmla="*/ 64867 w 10368472"/>
                  <a:gd name="connsiteY266" fmla="*/ 203469 h 222980"/>
                  <a:gd name="connsiteX267" fmla="*/ 64867 w 10368472"/>
                  <a:gd name="connsiteY267" fmla="*/ 222980 h 222980"/>
                  <a:gd name="connsiteX268" fmla="*/ 19765 w 10368472"/>
                  <a:gd name="connsiteY268" fmla="*/ 184466 h 222980"/>
                  <a:gd name="connsiteX269" fmla="*/ 19765 w 10368472"/>
                  <a:gd name="connsiteY269" fmla="*/ 147091 h 222980"/>
                  <a:gd name="connsiteX270" fmla="*/ 0 w 10368472"/>
                  <a:gd name="connsiteY270" fmla="*/ 120739 h 222980"/>
                  <a:gd name="connsiteX271" fmla="*/ 0 w 10368472"/>
                  <a:gd name="connsiteY271" fmla="*/ 102242 h 222980"/>
                  <a:gd name="connsiteX272" fmla="*/ 19765 w 10368472"/>
                  <a:gd name="connsiteY272" fmla="*/ 75382 h 222980"/>
                  <a:gd name="connsiteX273" fmla="*/ 19765 w 10368472"/>
                  <a:gd name="connsiteY273" fmla="*/ 39022 h 222980"/>
                  <a:gd name="connsiteX274" fmla="*/ 64867 w 10368472"/>
                  <a:gd name="connsiteY274"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0368472" h="222980">
                    <a:moveTo>
                      <a:pt x="5056840" y="169438"/>
                    </a:moveTo>
                    <a:cubicBezTo>
                      <a:pt x="5052321" y="187337"/>
                      <a:pt x="5047177" y="198636"/>
                      <a:pt x="5033649" y="208685"/>
                    </a:cubicBezTo>
                    <a:cubicBezTo>
                      <a:pt x="5032281" y="216029"/>
                      <a:pt x="5044590" y="212105"/>
                      <a:pt x="5050061" y="212075"/>
                    </a:cubicBezTo>
                    <a:cubicBezTo>
                      <a:pt x="5055532" y="212045"/>
                      <a:pt x="5065017" y="213517"/>
                      <a:pt x="5066473" y="208507"/>
                    </a:cubicBezTo>
                    <a:cubicBezTo>
                      <a:pt x="5067455" y="205058"/>
                      <a:pt x="5065046" y="202412"/>
                      <a:pt x="5063530" y="199052"/>
                    </a:cubicBezTo>
                    <a:cubicBezTo>
                      <a:pt x="5062757" y="195365"/>
                      <a:pt x="5065626" y="190786"/>
                      <a:pt x="5064511" y="185851"/>
                    </a:cubicBezTo>
                    <a:cubicBezTo>
                      <a:pt x="5063396" y="180915"/>
                      <a:pt x="5060111" y="173125"/>
                      <a:pt x="5056840" y="169438"/>
                    </a:cubicBezTo>
                    <a:close/>
                    <a:moveTo>
                      <a:pt x="4896819" y="153026"/>
                    </a:moveTo>
                    <a:cubicBezTo>
                      <a:pt x="4892002" y="158527"/>
                      <a:pt x="4883172" y="169022"/>
                      <a:pt x="4883172" y="173274"/>
                    </a:cubicBezTo>
                    <a:cubicBezTo>
                      <a:pt x="4883439" y="178566"/>
                      <a:pt x="4897622" y="194206"/>
                      <a:pt x="4904668" y="194860"/>
                    </a:cubicBezTo>
                    <a:cubicBezTo>
                      <a:pt x="4910496" y="195008"/>
                      <a:pt x="4911061" y="191946"/>
                      <a:pt x="4913588" y="187635"/>
                    </a:cubicBezTo>
                    <a:cubicBezTo>
                      <a:pt x="4905501" y="176188"/>
                      <a:pt x="4902141" y="170360"/>
                      <a:pt x="4896819" y="153026"/>
                    </a:cubicBezTo>
                    <a:close/>
                    <a:moveTo>
                      <a:pt x="4880431" y="84735"/>
                    </a:moveTo>
                    <a:lnTo>
                      <a:pt x="4880230" y="86252"/>
                    </a:lnTo>
                    <a:lnTo>
                      <a:pt x="4880164" y="84992"/>
                    </a:lnTo>
                    <a:close/>
                    <a:moveTo>
                      <a:pt x="5082351" y="57540"/>
                    </a:moveTo>
                    <a:cubicBezTo>
                      <a:pt x="5082313" y="57711"/>
                      <a:pt x="5079455" y="58774"/>
                      <a:pt x="5078359" y="60394"/>
                    </a:cubicBezTo>
                    <a:cubicBezTo>
                      <a:pt x="5082896" y="61906"/>
                      <a:pt x="5084490" y="63329"/>
                      <a:pt x="5085281" y="68765"/>
                    </a:cubicBezTo>
                    <a:cubicBezTo>
                      <a:pt x="5085495" y="68725"/>
                      <a:pt x="5086989" y="67519"/>
                      <a:pt x="5092162" y="67039"/>
                    </a:cubicBezTo>
                    <a:cubicBezTo>
                      <a:pt x="5080418" y="71737"/>
                      <a:pt x="5074471" y="76792"/>
                      <a:pt x="5065938" y="86217"/>
                    </a:cubicBezTo>
                    <a:cubicBezTo>
                      <a:pt x="5068637" y="80910"/>
                      <a:pt x="5070936" y="78660"/>
                      <a:pt x="5070955" y="78594"/>
                    </a:cubicBezTo>
                    <a:cubicBezTo>
                      <a:pt x="5066488" y="77077"/>
                      <a:pt x="5065232" y="76719"/>
                      <a:pt x="5063173" y="71633"/>
                    </a:cubicBezTo>
                    <a:cubicBezTo>
                      <a:pt x="5062902" y="71782"/>
                      <a:pt x="5062452" y="71551"/>
                      <a:pt x="5058356" y="75692"/>
                    </a:cubicBezTo>
                    <a:cubicBezTo>
                      <a:pt x="5065552" y="61539"/>
                      <a:pt x="5072301" y="60632"/>
                      <a:pt x="5082351" y="57540"/>
                    </a:cubicBezTo>
                    <a:close/>
                    <a:moveTo>
                      <a:pt x="5055782" y="41128"/>
                    </a:moveTo>
                    <a:cubicBezTo>
                      <a:pt x="5056482" y="41073"/>
                      <a:pt x="5057241" y="41093"/>
                      <a:pt x="5058066" y="41165"/>
                    </a:cubicBezTo>
                    <a:cubicBezTo>
                      <a:pt x="5060267" y="41358"/>
                      <a:pt x="5062935" y="41923"/>
                      <a:pt x="5066206" y="42421"/>
                    </a:cubicBezTo>
                    <a:cubicBezTo>
                      <a:pt x="5055086" y="44175"/>
                      <a:pt x="5051994" y="50389"/>
                      <a:pt x="5047296" y="61331"/>
                    </a:cubicBezTo>
                    <a:cubicBezTo>
                      <a:pt x="5048857" y="45604"/>
                      <a:pt x="5050879" y="41517"/>
                      <a:pt x="5055782" y="41128"/>
                    </a:cubicBezTo>
                    <a:close/>
                    <a:moveTo>
                      <a:pt x="5158385" y="19051"/>
                    </a:moveTo>
                    <a:cubicBezTo>
                      <a:pt x="5159983" y="21107"/>
                      <a:pt x="5155122" y="28848"/>
                      <a:pt x="5150188" y="32972"/>
                    </a:cubicBezTo>
                    <a:cubicBezTo>
                      <a:pt x="5145253" y="37096"/>
                      <a:pt x="5137983" y="36673"/>
                      <a:pt x="5138012" y="34963"/>
                    </a:cubicBezTo>
                    <a:cubicBezTo>
                      <a:pt x="5138040" y="33254"/>
                      <a:pt x="5145757" y="30987"/>
                      <a:pt x="5149153" y="28334"/>
                    </a:cubicBezTo>
                    <a:cubicBezTo>
                      <a:pt x="5152548" y="25682"/>
                      <a:pt x="5157256" y="18065"/>
                      <a:pt x="5158385" y="19051"/>
                    </a:cubicBezTo>
                    <a:close/>
                    <a:moveTo>
                      <a:pt x="5054448" y="46"/>
                    </a:moveTo>
                    <a:cubicBezTo>
                      <a:pt x="5056387" y="121"/>
                      <a:pt x="5058344" y="288"/>
                      <a:pt x="5060311" y="560"/>
                    </a:cubicBezTo>
                    <a:cubicBezTo>
                      <a:pt x="5076048" y="2733"/>
                      <a:pt x="5096293" y="19235"/>
                      <a:pt x="5103296" y="29780"/>
                    </a:cubicBezTo>
                    <a:cubicBezTo>
                      <a:pt x="5112715" y="32356"/>
                      <a:pt x="5118712" y="46000"/>
                      <a:pt x="5121167" y="50790"/>
                    </a:cubicBezTo>
                    <a:cubicBezTo>
                      <a:pt x="5123622" y="55579"/>
                      <a:pt x="5120764" y="58316"/>
                      <a:pt x="5118027" y="58517"/>
                    </a:cubicBezTo>
                    <a:cubicBezTo>
                      <a:pt x="5117987" y="59101"/>
                      <a:pt x="5126469" y="65882"/>
                      <a:pt x="5131053" y="68554"/>
                    </a:cubicBezTo>
                    <a:cubicBezTo>
                      <a:pt x="5134600" y="53134"/>
                      <a:pt x="5129453" y="42785"/>
                      <a:pt x="5129377" y="31471"/>
                    </a:cubicBezTo>
                    <a:cubicBezTo>
                      <a:pt x="5134771" y="22052"/>
                      <a:pt x="5139198" y="25433"/>
                      <a:pt x="5144591" y="21811"/>
                    </a:cubicBezTo>
                    <a:cubicBezTo>
                      <a:pt x="5147811" y="18108"/>
                      <a:pt x="5150790" y="10300"/>
                      <a:pt x="5156424" y="10703"/>
                    </a:cubicBezTo>
                    <a:cubicBezTo>
                      <a:pt x="5166245" y="11105"/>
                      <a:pt x="5178722" y="29378"/>
                      <a:pt x="5179124" y="72765"/>
                    </a:cubicBezTo>
                    <a:cubicBezTo>
                      <a:pt x="5179366" y="107218"/>
                      <a:pt x="5165601" y="130320"/>
                      <a:pt x="5141693" y="140624"/>
                    </a:cubicBezTo>
                    <a:cubicBezTo>
                      <a:pt x="5129468" y="143884"/>
                      <a:pt x="5118974" y="143680"/>
                      <a:pt x="5109882" y="141337"/>
                    </a:cubicBezTo>
                    <a:lnTo>
                      <a:pt x="5105902" y="139951"/>
                    </a:lnTo>
                    <a:lnTo>
                      <a:pt x="5105425" y="142212"/>
                    </a:lnTo>
                    <a:cubicBezTo>
                      <a:pt x="5100573" y="160826"/>
                      <a:pt x="5086930" y="162257"/>
                      <a:pt x="5080838" y="162116"/>
                    </a:cubicBezTo>
                    <a:cubicBezTo>
                      <a:pt x="5073875" y="161955"/>
                      <a:pt x="5063571" y="155515"/>
                      <a:pt x="5059345" y="152457"/>
                    </a:cubicBezTo>
                    <a:cubicBezTo>
                      <a:pt x="5059224" y="157125"/>
                      <a:pt x="5060311" y="158776"/>
                      <a:pt x="5058379" y="165014"/>
                    </a:cubicBezTo>
                    <a:cubicBezTo>
                      <a:pt x="5063450" y="168355"/>
                      <a:pt x="5066509" y="180268"/>
                      <a:pt x="5068039" y="185540"/>
                    </a:cubicBezTo>
                    <a:cubicBezTo>
                      <a:pt x="5069568" y="190813"/>
                      <a:pt x="5067677" y="192020"/>
                      <a:pt x="5067556" y="196649"/>
                    </a:cubicBezTo>
                    <a:cubicBezTo>
                      <a:pt x="5067435" y="201278"/>
                      <a:pt x="5072265" y="204980"/>
                      <a:pt x="5069729" y="210414"/>
                    </a:cubicBezTo>
                    <a:cubicBezTo>
                      <a:pt x="5067194" y="215847"/>
                      <a:pt x="5060593" y="216129"/>
                      <a:pt x="5053791" y="216210"/>
                    </a:cubicBezTo>
                    <a:cubicBezTo>
                      <a:pt x="5046989" y="216290"/>
                      <a:pt x="5031775" y="220959"/>
                      <a:pt x="5028917" y="210897"/>
                    </a:cubicBezTo>
                    <a:cubicBezTo>
                      <a:pt x="5028560" y="209639"/>
                      <a:pt x="5028310" y="208140"/>
                      <a:pt x="5028158" y="206443"/>
                    </a:cubicBezTo>
                    <a:cubicBezTo>
                      <a:pt x="5028145" y="205994"/>
                      <a:pt x="5028132" y="205546"/>
                      <a:pt x="5028118" y="205098"/>
                    </a:cubicBezTo>
                    <a:lnTo>
                      <a:pt x="5024379" y="208642"/>
                    </a:lnTo>
                    <a:cubicBezTo>
                      <a:pt x="5015831" y="216689"/>
                      <a:pt x="5008124" y="223273"/>
                      <a:pt x="5000905" y="222971"/>
                    </a:cubicBezTo>
                    <a:cubicBezTo>
                      <a:pt x="4988870" y="220556"/>
                      <a:pt x="4979573" y="201398"/>
                      <a:pt x="4977480" y="194717"/>
                    </a:cubicBezTo>
                    <a:cubicBezTo>
                      <a:pt x="4975387" y="188036"/>
                      <a:pt x="4982189" y="186788"/>
                      <a:pt x="4988347" y="182884"/>
                    </a:cubicBezTo>
                    <a:cubicBezTo>
                      <a:pt x="4982189" y="186466"/>
                      <a:pt x="4965526" y="183528"/>
                      <a:pt x="4963474" y="180469"/>
                    </a:cubicBezTo>
                    <a:cubicBezTo>
                      <a:pt x="4964077" y="186828"/>
                      <a:pt x="4963715" y="187754"/>
                      <a:pt x="4962508" y="191336"/>
                    </a:cubicBezTo>
                    <a:cubicBezTo>
                      <a:pt x="4961300" y="194918"/>
                      <a:pt x="4958121" y="197011"/>
                      <a:pt x="4956229" y="201962"/>
                    </a:cubicBezTo>
                    <a:cubicBezTo>
                      <a:pt x="4954337" y="206912"/>
                      <a:pt x="4958684" y="219268"/>
                      <a:pt x="4951158" y="221039"/>
                    </a:cubicBezTo>
                    <a:cubicBezTo>
                      <a:pt x="4943631" y="222810"/>
                      <a:pt x="4920247" y="222126"/>
                      <a:pt x="4911070" y="212587"/>
                    </a:cubicBezTo>
                    <a:cubicBezTo>
                      <a:pt x="4907207" y="207878"/>
                      <a:pt x="4913485" y="200593"/>
                      <a:pt x="4912036" y="198581"/>
                    </a:cubicBezTo>
                    <a:cubicBezTo>
                      <a:pt x="4910588" y="196568"/>
                      <a:pt x="4908173" y="204497"/>
                      <a:pt x="4902377" y="200513"/>
                    </a:cubicBezTo>
                    <a:cubicBezTo>
                      <a:pt x="4896581" y="196528"/>
                      <a:pt x="4878912" y="183407"/>
                      <a:pt x="4877262" y="174673"/>
                    </a:cubicBezTo>
                    <a:cubicBezTo>
                      <a:pt x="4875612" y="165940"/>
                      <a:pt x="4885674" y="156763"/>
                      <a:pt x="4892476" y="148110"/>
                    </a:cubicBezTo>
                    <a:cubicBezTo>
                      <a:pt x="4890826" y="138732"/>
                      <a:pt x="4890141" y="132453"/>
                      <a:pt x="4893925" y="121546"/>
                    </a:cubicBezTo>
                    <a:cubicBezTo>
                      <a:pt x="4888853" y="118447"/>
                      <a:pt x="4877825" y="114060"/>
                      <a:pt x="4878469" y="99570"/>
                    </a:cubicBezTo>
                    <a:lnTo>
                      <a:pt x="4880230" y="86252"/>
                    </a:lnTo>
                    <a:lnTo>
                      <a:pt x="4880689" y="94972"/>
                    </a:lnTo>
                    <a:lnTo>
                      <a:pt x="4881512" y="95368"/>
                    </a:lnTo>
                    <a:lnTo>
                      <a:pt x="4881635" y="96542"/>
                    </a:lnTo>
                    <a:cubicBezTo>
                      <a:pt x="4882659" y="104921"/>
                      <a:pt x="4885402" y="114203"/>
                      <a:pt x="4901190" y="110389"/>
                    </a:cubicBezTo>
                    <a:cubicBezTo>
                      <a:pt x="4894400" y="146422"/>
                      <a:pt x="4909736" y="164288"/>
                      <a:pt x="4919413" y="181019"/>
                    </a:cubicBezTo>
                    <a:lnTo>
                      <a:pt x="4920375" y="182869"/>
                    </a:lnTo>
                    <a:lnTo>
                      <a:pt x="4920341" y="183736"/>
                    </a:lnTo>
                    <a:cubicBezTo>
                      <a:pt x="4920050" y="188844"/>
                      <a:pt x="4919319" y="192384"/>
                      <a:pt x="4918940" y="197179"/>
                    </a:cubicBezTo>
                    <a:cubicBezTo>
                      <a:pt x="4917840" y="200955"/>
                      <a:pt x="4915134" y="200539"/>
                      <a:pt x="4915640" y="208507"/>
                    </a:cubicBezTo>
                    <a:cubicBezTo>
                      <a:pt x="4915967" y="213472"/>
                      <a:pt x="4945105" y="221470"/>
                      <a:pt x="4949803" y="215108"/>
                    </a:cubicBezTo>
                    <a:cubicBezTo>
                      <a:pt x="4951170" y="212907"/>
                      <a:pt x="4950576" y="207853"/>
                      <a:pt x="4950962" y="204225"/>
                    </a:cubicBezTo>
                    <a:cubicBezTo>
                      <a:pt x="4951557" y="200182"/>
                      <a:pt x="4956790" y="195781"/>
                      <a:pt x="4957563" y="190043"/>
                    </a:cubicBezTo>
                    <a:cubicBezTo>
                      <a:pt x="4958068" y="185479"/>
                      <a:pt x="4958016" y="180313"/>
                      <a:pt x="4957842" y="174935"/>
                    </a:cubicBezTo>
                    <a:lnTo>
                      <a:pt x="4957634" y="169256"/>
                    </a:lnTo>
                    <a:lnTo>
                      <a:pt x="4959222" y="171106"/>
                    </a:lnTo>
                    <a:cubicBezTo>
                      <a:pt x="4969495" y="181583"/>
                      <a:pt x="4991283" y="185111"/>
                      <a:pt x="4998594" y="168903"/>
                    </a:cubicBezTo>
                    <a:cubicBezTo>
                      <a:pt x="4998683" y="174106"/>
                      <a:pt x="5000378" y="176098"/>
                      <a:pt x="4999486" y="182640"/>
                    </a:cubicBezTo>
                    <a:cubicBezTo>
                      <a:pt x="4996929" y="186772"/>
                      <a:pt x="4985541" y="187694"/>
                      <a:pt x="4982449" y="195306"/>
                    </a:cubicBezTo>
                    <a:cubicBezTo>
                      <a:pt x="4981527" y="198487"/>
                      <a:pt x="4993629" y="217546"/>
                      <a:pt x="5001359" y="218229"/>
                    </a:cubicBezTo>
                    <a:cubicBezTo>
                      <a:pt x="5006978" y="218883"/>
                      <a:pt x="5017415" y="207853"/>
                      <a:pt x="5036414" y="190489"/>
                    </a:cubicBezTo>
                    <a:cubicBezTo>
                      <a:pt x="5039355" y="187801"/>
                      <a:pt x="5050477" y="166703"/>
                      <a:pt x="5055502" y="148655"/>
                    </a:cubicBezTo>
                    <a:cubicBezTo>
                      <a:pt x="5050380" y="146083"/>
                      <a:pt x="5042958" y="139955"/>
                      <a:pt x="5038639" y="130392"/>
                    </a:cubicBezTo>
                    <a:lnTo>
                      <a:pt x="5038445" y="129884"/>
                    </a:lnTo>
                    <a:lnTo>
                      <a:pt x="5041063" y="131532"/>
                    </a:lnTo>
                    <a:cubicBezTo>
                      <a:pt x="5047653" y="135922"/>
                      <a:pt x="5054343" y="140739"/>
                      <a:pt x="5060230" y="142144"/>
                    </a:cubicBezTo>
                    <a:cubicBezTo>
                      <a:pt x="5064571" y="147139"/>
                      <a:pt x="5069625" y="155078"/>
                      <a:pt x="5081548" y="156594"/>
                    </a:cubicBezTo>
                    <a:cubicBezTo>
                      <a:pt x="5091716" y="158318"/>
                      <a:pt x="5098941" y="148715"/>
                      <a:pt x="5102509" y="138219"/>
                    </a:cubicBezTo>
                    <a:lnTo>
                      <a:pt x="5099209" y="137952"/>
                    </a:lnTo>
                    <a:cubicBezTo>
                      <a:pt x="5084045" y="163373"/>
                      <a:pt x="5068019" y="140189"/>
                      <a:pt x="5071416" y="115804"/>
                    </a:cubicBezTo>
                    <a:lnTo>
                      <a:pt x="5072341" y="111028"/>
                    </a:lnTo>
                    <a:lnTo>
                      <a:pt x="5074093" y="112938"/>
                    </a:lnTo>
                    <a:cubicBezTo>
                      <a:pt x="5104365" y="143789"/>
                      <a:pt x="5130835" y="139278"/>
                      <a:pt x="5145860" y="131083"/>
                    </a:cubicBezTo>
                    <a:cubicBezTo>
                      <a:pt x="5187009" y="105721"/>
                      <a:pt x="5174953" y="18193"/>
                      <a:pt x="5157723" y="13967"/>
                    </a:cubicBezTo>
                    <a:cubicBezTo>
                      <a:pt x="5153783" y="13001"/>
                      <a:pt x="5151033" y="23154"/>
                      <a:pt x="5148446" y="24671"/>
                    </a:cubicBezTo>
                    <a:cubicBezTo>
                      <a:pt x="5140508" y="28863"/>
                      <a:pt x="5137029" y="28238"/>
                      <a:pt x="5134888" y="31539"/>
                    </a:cubicBezTo>
                    <a:cubicBezTo>
                      <a:pt x="5130651" y="37727"/>
                      <a:pt x="5146249" y="73549"/>
                      <a:pt x="5126411" y="92334"/>
                    </a:cubicBezTo>
                    <a:lnTo>
                      <a:pt x="5124931" y="93502"/>
                    </a:lnTo>
                    <a:lnTo>
                      <a:pt x="5125242" y="92901"/>
                    </a:lnTo>
                    <a:cubicBezTo>
                      <a:pt x="5129001" y="85637"/>
                      <a:pt x="5132948" y="77320"/>
                      <a:pt x="5128466" y="73819"/>
                    </a:cubicBezTo>
                    <a:cubicBezTo>
                      <a:pt x="5123203" y="69626"/>
                      <a:pt x="5119903" y="72837"/>
                      <a:pt x="5115889" y="76227"/>
                    </a:cubicBezTo>
                    <a:cubicBezTo>
                      <a:pt x="5118476" y="73283"/>
                      <a:pt x="5121598" y="72748"/>
                      <a:pt x="5117227" y="65791"/>
                    </a:cubicBezTo>
                    <a:cubicBezTo>
                      <a:pt x="5113748" y="63442"/>
                      <a:pt x="5111875" y="64037"/>
                      <a:pt x="5105453" y="65701"/>
                    </a:cubicBezTo>
                    <a:cubicBezTo>
                      <a:pt x="5109526" y="62669"/>
                      <a:pt x="5110834" y="63828"/>
                      <a:pt x="5108842" y="57941"/>
                    </a:cubicBezTo>
                    <a:cubicBezTo>
                      <a:pt x="5106122" y="54284"/>
                      <a:pt x="5104756" y="54591"/>
                      <a:pt x="5102035" y="54797"/>
                    </a:cubicBezTo>
                    <a:lnTo>
                      <a:pt x="5100149" y="54810"/>
                    </a:lnTo>
                    <a:lnTo>
                      <a:pt x="5101700" y="54253"/>
                    </a:lnTo>
                    <a:cubicBezTo>
                      <a:pt x="5102570" y="53960"/>
                      <a:pt x="5103357" y="53723"/>
                      <a:pt x="5104026" y="53571"/>
                    </a:cubicBezTo>
                    <a:cubicBezTo>
                      <a:pt x="5109378" y="52352"/>
                      <a:pt x="5115235" y="54031"/>
                      <a:pt x="5115265" y="50984"/>
                    </a:cubicBezTo>
                    <a:cubicBezTo>
                      <a:pt x="5115919" y="47654"/>
                      <a:pt x="5107564" y="37277"/>
                      <a:pt x="5103847" y="36445"/>
                    </a:cubicBezTo>
                    <a:cubicBezTo>
                      <a:pt x="5101863" y="35820"/>
                      <a:pt x="5096667" y="35296"/>
                      <a:pt x="5091948" y="34985"/>
                    </a:cubicBezTo>
                    <a:lnTo>
                      <a:pt x="5090849" y="34927"/>
                    </a:lnTo>
                    <a:lnTo>
                      <a:pt x="5090858" y="34903"/>
                    </a:lnTo>
                    <a:cubicBezTo>
                      <a:pt x="5091978" y="33356"/>
                      <a:pt x="5095708" y="32788"/>
                      <a:pt x="5098585" y="32520"/>
                    </a:cubicBezTo>
                    <a:cubicBezTo>
                      <a:pt x="5086513" y="16583"/>
                      <a:pt x="5070249" y="6355"/>
                      <a:pt x="5056216" y="6564"/>
                    </a:cubicBezTo>
                    <a:cubicBezTo>
                      <a:pt x="5039298" y="7069"/>
                      <a:pt x="5018098" y="11410"/>
                      <a:pt x="5006086" y="30023"/>
                    </a:cubicBezTo>
                    <a:cubicBezTo>
                      <a:pt x="5012226" y="29956"/>
                      <a:pt x="5016794" y="29984"/>
                      <a:pt x="5020223" y="30347"/>
                    </a:cubicBezTo>
                    <a:lnTo>
                      <a:pt x="5020796" y="30430"/>
                    </a:lnTo>
                    <a:lnTo>
                      <a:pt x="5018402" y="31081"/>
                    </a:lnTo>
                    <a:cubicBezTo>
                      <a:pt x="5005682" y="34141"/>
                      <a:pt x="4996821" y="33684"/>
                      <a:pt x="4993969" y="36163"/>
                    </a:cubicBezTo>
                    <a:cubicBezTo>
                      <a:pt x="4988007" y="40335"/>
                      <a:pt x="4949398" y="75904"/>
                      <a:pt x="4947806" y="96042"/>
                    </a:cubicBezTo>
                    <a:cubicBezTo>
                      <a:pt x="4951895" y="106732"/>
                      <a:pt x="4952664" y="99178"/>
                      <a:pt x="4961693" y="118006"/>
                    </a:cubicBezTo>
                    <a:lnTo>
                      <a:pt x="4976102" y="101580"/>
                    </a:lnTo>
                    <a:lnTo>
                      <a:pt x="4959244" y="136449"/>
                    </a:lnTo>
                    <a:cubicBezTo>
                      <a:pt x="4963448" y="142588"/>
                      <a:pt x="4966313" y="145872"/>
                      <a:pt x="4975066" y="145767"/>
                    </a:cubicBezTo>
                    <a:cubicBezTo>
                      <a:pt x="4984414" y="144527"/>
                      <a:pt x="4993048" y="136865"/>
                      <a:pt x="5002038" y="132414"/>
                    </a:cubicBezTo>
                    <a:cubicBezTo>
                      <a:pt x="5010924" y="128716"/>
                      <a:pt x="5013565" y="131262"/>
                      <a:pt x="5019329" y="130685"/>
                    </a:cubicBezTo>
                    <a:cubicBezTo>
                      <a:pt x="5031474" y="97744"/>
                      <a:pt x="5012399" y="97895"/>
                      <a:pt x="5025525" y="62099"/>
                    </a:cubicBezTo>
                    <a:cubicBezTo>
                      <a:pt x="5020859" y="91013"/>
                      <a:pt x="5039385" y="91027"/>
                      <a:pt x="5026245" y="139475"/>
                    </a:cubicBezTo>
                    <a:lnTo>
                      <a:pt x="5024152" y="139132"/>
                    </a:lnTo>
                    <a:lnTo>
                      <a:pt x="5021501" y="138454"/>
                    </a:lnTo>
                    <a:lnTo>
                      <a:pt x="5018785" y="138030"/>
                    </a:lnTo>
                    <a:lnTo>
                      <a:pt x="5018024" y="137854"/>
                    </a:lnTo>
                    <a:cubicBezTo>
                      <a:pt x="5015969" y="137449"/>
                      <a:pt x="5013807" y="137231"/>
                      <a:pt x="5011299" y="137626"/>
                    </a:cubicBezTo>
                    <a:lnTo>
                      <a:pt x="5010320" y="137854"/>
                    </a:lnTo>
                    <a:lnTo>
                      <a:pt x="5009728" y="137906"/>
                    </a:lnTo>
                    <a:cubicBezTo>
                      <a:pt x="4996615" y="139947"/>
                      <a:pt x="4991792" y="151510"/>
                      <a:pt x="4970764" y="153740"/>
                    </a:cubicBezTo>
                    <a:cubicBezTo>
                      <a:pt x="4964494" y="152517"/>
                      <a:pt x="4954468" y="143304"/>
                      <a:pt x="4948574" y="136140"/>
                    </a:cubicBezTo>
                    <a:lnTo>
                      <a:pt x="4948119" y="135551"/>
                    </a:lnTo>
                    <a:lnTo>
                      <a:pt x="4949830" y="132692"/>
                    </a:lnTo>
                    <a:cubicBezTo>
                      <a:pt x="4951657" y="129846"/>
                      <a:pt x="4953657" y="126936"/>
                      <a:pt x="4955868" y="123948"/>
                    </a:cubicBezTo>
                    <a:cubicBezTo>
                      <a:pt x="4952003" y="113571"/>
                      <a:pt x="4941804" y="109973"/>
                      <a:pt x="4938920" y="97099"/>
                    </a:cubicBezTo>
                    <a:cubicBezTo>
                      <a:pt x="4943588" y="83779"/>
                      <a:pt x="4945491" y="75097"/>
                      <a:pt x="4968980" y="51251"/>
                    </a:cubicBezTo>
                    <a:cubicBezTo>
                      <a:pt x="4906542" y="60201"/>
                      <a:pt x="4906727" y="110467"/>
                      <a:pt x="4889464" y="98314"/>
                    </a:cubicBezTo>
                    <a:lnTo>
                      <a:pt x="4885863" y="95073"/>
                    </a:lnTo>
                    <a:lnTo>
                      <a:pt x="4886916" y="94482"/>
                    </a:lnTo>
                    <a:cubicBezTo>
                      <a:pt x="4893279" y="90196"/>
                      <a:pt x="4885744" y="84024"/>
                      <a:pt x="4890843" y="74710"/>
                    </a:cubicBezTo>
                    <a:lnTo>
                      <a:pt x="4880431" y="84735"/>
                    </a:lnTo>
                    <a:lnTo>
                      <a:pt x="4881337" y="77882"/>
                    </a:lnTo>
                    <a:cubicBezTo>
                      <a:pt x="4886398" y="72846"/>
                      <a:pt x="4893241" y="70008"/>
                      <a:pt x="4894891" y="69384"/>
                    </a:cubicBezTo>
                    <a:cubicBezTo>
                      <a:pt x="4891791" y="78843"/>
                      <a:pt x="4898553" y="85443"/>
                      <a:pt x="4894891" y="93050"/>
                    </a:cubicBezTo>
                    <a:cubicBezTo>
                      <a:pt x="4930108" y="48254"/>
                      <a:pt x="4954418" y="45396"/>
                      <a:pt x="4970718" y="44994"/>
                    </a:cubicBezTo>
                    <a:cubicBezTo>
                      <a:pt x="4983397" y="33724"/>
                      <a:pt x="4984483" y="30786"/>
                      <a:pt x="4993177" y="28573"/>
                    </a:cubicBezTo>
                    <a:lnTo>
                      <a:pt x="4999172" y="27944"/>
                    </a:lnTo>
                    <a:lnTo>
                      <a:pt x="4999867" y="26457"/>
                    </a:lnTo>
                    <a:cubicBezTo>
                      <a:pt x="5005203" y="15860"/>
                      <a:pt x="5009860" y="12554"/>
                      <a:pt x="5019017" y="8046"/>
                    </a:cubicBezTo>
                    <a:cubicBezTo>
                      <a:pt x="5028173" y="3538"/>
                      <a:pt x="5040873" y="-477"/>
                      <a:pt x="5054448" y="46"/>
                    </a:cubicBezTo>
                    <a:close/>
                    <a:moveTo>
                      <a:pt x="10303985" y="0"/>
                    </a:moveTo>
                    <a:cubicBezTo>
                      <a:pt x="10333885" y="338"/>
                      <a:pt x="10348834" y="13345"/>
                      <a:pt x="10348834" y="39022"/>
                    </a:cubicBezTo>
                    <a:lnTo>
                      <a:pt x="10348834" y="75382"/>
                    </a:lnTo>
                    <a:cubicBezTo>
                      <a:pt x="10348834" y="92444"/>
                      <a:pt x="10355380" y="101397"/>
                      <a:pt x="10368472" y="102242"/>
                    </a:cubicBezTo>
                    <a:lnTo>
                      <a:pt x="10368472" y="120739"/>
                    </a:lnTo>
                    <a:cubicBezTo>
                      <a:pt x="10355380" y="121583"/>
                      <a:pt x="10348834" y="130367"/>
                      <a:pt x="10348834" y="147091"/>
                    </a:cubicBezTo>
                    <a:lnTo>
                      <a:pt x="10348834" y="184466"/>
                    </a:lnTo>
                    <a:cubicBezTo>
                      <a:pt x="10348834" y="209804"/>
                      <a:pt x="10333885" y="222642"/>
                      <a:pt x="10303985" y="222980"/>
                    </a:cubicBezTo>
                    <a:lnTo>
                      <a:pt x="10303985" y="203469"/>
                    </a:lnTo>
                    <a:cubicBezTo>
                      <a:pt x="10311333" y="203300"/>
                      <a:pt x="10316549" y="201274"/>
                      <a:pt x="10319632" y="197388"/>
                    </a:cubicBezTo>
                    <a:cubicBezTo>
                      <a:pt x="10322714" y="193503"/>
                      <a:pt x="10324256" y="187084"/>
                      <a:pt x="10324256" y="178131"/>
                    </a:cubicBezTo>
                    <a:lnTo>
                      <a:pt x="10324256" y="142784"/>
                    </a:lnTo>
                    <a:cubicBezTo>
                      <a:pt x="10324256" y="125638"/>
                      <a:pt x="10332576" y="115207"/>
                      <a:pt x="10349215" y="111490"/>
                    </a:cubicBezTo>
                    <a:lnTo>
                      <a:pt x="10349215" y="111110"/>
                    </a:lnTo>
                    <a:cubicBezTo>
                      <a:pt x="10332576" y="107140"/>
                      <a:pt x="10324256" y="96625"/>
                      <a:pt x="10324256" y="79563"/>
                    </a:cubicBezTo>
                    <a:lnTo>
                      <a:pt x="10324256" y="43836"/>
                    </a:lnTo>
                    <a:cubicBezTo>
                      <a:pt x="10324256" y="28041"/>
                      <a:pt x="10317499" y="19975"/>
                      <a:pt x="10303985" y="19638"/>
                    </a:cubicBezTo>
                    <a:close/>
                    <a:moveTo>
                      <a:pt x="10286501" y="0"/>
                    </a:moveTo>
                    <a:lnTo>
                      <a:pt x="10286501" y="19638"/>
                    </a:lnTo>
                    <a:cubicBezTo>
                      <a:pt x="10273072" y="19975"/>
                      <a:pt x="10266357" y="28041"/>
                      <a:pt x="10266357" y="43836"/>
                    </a:cubicBezTo>
                    <a:lnTo>
                      <a:pt x="10266357" y="79563"/>
                    </a:lnTo>
                    <a:cubicBezTo>
                      <a:pt x="10266357" y="96625"/>
                      <a:pt x="10257953" y="107140"/>
                      <a:pt x="10241145" y="111110"/>
                    </a:cubicBezTo>
                    <a:lnTo>
                      <a:pt x="10241145" y="111490"/>
                    </a:lnTo>
                    <a:cubicBezTo>
                      <a:pt x="10257953" y="115207"/>
                      <a:pt x="10266357" y="125638"/>
                      <a:pt x="10266357" y="142784"/>
                    </a:cubicBezTo>
                    <a:lnTo>
                      <a:pt x="10266357" y="178131"/>
                    </a:lnTo>
                    <a:cubicBezTo>
                      <a:pt x="10266357" y="187168"/>
                      <a:pt x="10267856" y="193608"/>
                      <a:pt x="10270855" y="197451"/>
                    </a:cubicBezTo>
                    <a:cubicBezTo>
                      <a:pt x="10273853" y="201294"/>
                      <a:pt x="10279068" y="203300"/>
                      <a:pt x="10286501" y="203469"/>
                    </a:cubicBezTo>
                    <a:lnTo>
                      <a:pt x="10286501" y="222980"/>
                    </a:lnTo>
                    <a:cubicBezTo>
                      <a:pt x="10256432" y="222642"/>
                      <a:pt x="10241398" y="209804"/>
                      <a:pt x="10241398" y="184466"/>
                    </a:cubicBezTo>
                    <a:lnTo>
                      <a:pt x="10241398" y="147091"/>
                    </a:lnTo>
                    <a:cubicBezTo>
                      <a:pt x="10241398" y="130367"/>
                      <a:pt x="10234810" y="121583"/>
                      <a:pt x="10221634" y="120739"/>
                    </a:cubicBezTo>
                    <a:lnTo>
                      <a:pt x="10221634" y="102242"/>
                    </a:lnTo>
                    <a:cubicBezTo>
                      <a:pt x="10234810" y="101397"/>
                      <a:pt x="10241398" y="92444"/>
                      <a:pt x="10241398" y="75382"/>
                    </a:cubicBezTo>
                    <a:lnTo>
                      <a:pt x="10241398" y="39022"/>
                    </a:lnTo>
                    <a:cubicBezTo>
                      <a:pt x="10241398" y="13345"/>
                      <a:pt x="10256432" y="338"/>
                      <a:pt x="10286501" y="0"/>
                    </a:cubicBezTo>
                    <a:close/>
                    <a:moveTo>
                      <a:pt x="6138404" y="0"/>
                    </a:moveTo>
                    <a:cubicBezTo>
                      <a:pt x="6168304" y="338"/>
                      <a:pt x="6183254" y="13345"/>
                      <a:pt x="6183254" y="39022"/>
                    </a:cubicBezTo>
                    <a:lnTo>
                      <a:pt x="6183254" y="75382"/>
                    </a:lnTo>
                    <a:cubicBezTo>
                      <a:pt x="6183254" y="92444"/>
                      <a:pt x="6189800" y="101397"/>
                      <a:pt x="6202891" y="102242"/>
                    </a:cubicBezTo>
                    <a:lnTo>
                      <a:pt x="6202891" y="120739"/>
                    </a:lnTo>
                    <a:cubicBezTo>
                      <a:pt x="6189800" y="121583"/>
                      <a:pt x="6183254" y="130367"/>
                      <a:pt x="6183254" y="147091"/>
                    </a:cubicBezTo>
                    <a:lnTo>
                      <a:pt x="6183254" y="184466"/>
                    </a:lnTo>
                    <a:cubicBezTo>
                      <a:pt x="6183254" y="209804"/>
                      <a:pt x="6168304" y="222642"/>
                      <a:pt x="6138404" y="222980"/>
                    </a:cubicBezTo>
                    <a:lnTo>
                      <a:pt x="6138404" y="203469"/>
                    </a:lnTo>
                    <a:cubicBezTo>
                      <a:pt x="6145753" y="203300"/>
                      <a:pt x="6150968" y="201274"/>
                      <a:pt x="6154051" y="197388"/>
                    </a:cubicBezTo>
                    <a:cubicBezTo>
                      <a:pt x="6157134" y="193503"/>
                      <a:pt x="6158675" y="187084"/>
                      <a:pt x="6158675" y="178131"/>
                    </a:cubicBezTo>
                    <a:lnTo>
                      <a:pt x="6158675" y="142784"/>
                    </a:lnTo>
                    <a:cubicBezTo>
                      <a:pt x="6158675" y="125638"/>
                      <a:pt x="6166995" y="115207"/>
                      <a:pt x="6183634" y="111490"/>
                    </a:cubicBezTo>
                    <a:lnTo>
                      <a:pt x="6183634" y="111110"/>
                    </a:lnTo>
                    <a:cubicBezTo>
                      <a:pt x="6166995" y="107140"/>
                      <a:pt x="6158675" y="96625"/>
                      <a:pt x="6158675" y="79563"/>
                    </a:cubicBezTo>
                    <a:lnTo>
                      <a:pt x="6158675" y="43836"/>
                    </a:lnTo>
                    <a:cubicBezTo>
                      <a:pt x="6158675" y="28041"/>
                      <a:pt x="6151918" y="19975"/>
                      <a:pt x="6138404" y="19638"/>
                    </a:cubicBezTo>
                    <a:close/>
                    <a:moveTo>
                      <a:pt x="6120920" y="0"/>
                    </a:moveTo>
                    <a:lnTo>
                      <a:pt x="6120920" y="19638"/>
                    </a:lnTo>
                    <a:cubicBezTo>
                      <a:pt x="6107491" y="19975"/>
                      <a:pt x="6100776" y="28041"/>
                      <a:pt x="6100776" y="43836"/>
                    </a:cubicBezTo>
                    <a:lnTo>
                      <a:pt x="6100776" y="79563"/>
                    </a:lnTo>
                    <a:cubicBezTo>
                      <a:pt x="6100776" y="96625"/>
                      <a:pt x="6092372" y="107140"/>
                      <a:pt x="6075564" y="111110"/>
                    </a:cubicBezTo>
                    <a:lnTo>
                      <a:pt x="6075564" y="111490"/>
                    </a:lnTo>
                    <a:cubicBezTo>
                      <a:pt x="6092372" y="115207"/>
                      <a:pt x="6100776" y="125638"/>
                      <a:pt x="6100776" y="142784"/>
                    </a:cubicBezTo>
                    <a:lnTo>
                      <a:pt x="6100776" y="178131"/>
                    </a:lnTo>
                    <a:cubicBezTo>
                      <a:pt x="6100776" y="187168"/>
                      <a:pt x="6102275" y="193608"/>
                      <a:pt x="6105274" y="197451"/>
                    </a:cubicBezTo>
                    <a:cubicBezTo>
                      <a:pt x="6108272" y="201294"/>
                      <a:pt x="6113488" y="203300"/>
                      <a:pt x="6120920" y="203469"/>
                    </a:cubicBezTo>
                    <a:lnTo>
                      <a:pt x="6120920" y="222980"/>
                    </a:lnTo>
                    <a:cubicBezTo>
                      <a:pt x="6090852" y="222642"/>
                      <a:pt x="6075818" y="209804"/>
                      <a:pt x="6075818" y="184466"/>
                    </a:cubicBezTo>
                    <a:lnTo>
                      <a:pt x="6075818" y="147091"/>
                    </a:lnTo>
                    <a:cubicBezTo>
                      <a:pt x="6075818" y="130367"/>
                      <a:pt x="6069229" y="121583"/>
                      <a:pt x="6056053" y="120739"/>
                    </a:cubicBezTo>
                    <a:lnTo>
                      <a:pt x="6056053" y="102242"/>
                    </a:lnTo>
                    <a:cubicBezTo>
                      <a:pt x="6069229" y="101397"/>
                      <a:pt x="6075818" y="92444"/>
                      <a:pt x="6075818" y="75382"/>
                    </a:cubicBezTo>
                    <a:lnTo>
                      <a:pt x="6075818" y="39022"/>
                    </a:lnTo>
                    <a:cubicBezTo>
                      <a:pt x="6075818" y="13345"/>
                      <a:pt x="6090852" y="338"/>
                      <a:pt x="6120920" y="0"/>
                    </a:cubicBezTo>
                    <a:close/>
                    <a:moveTo>
                      <a:pt x="82352" y="0"/>
                    </a:moveTo>
                    <a:cubicBezTo>
                      <a:pt x="112251" y="338"/>
                      <a:pt x="127201" y="13345"/>
                      <a:pt x="127201" y="39022"/>
                    </a:cubicBezTo>
                    <a:lnTo>
                      <a:pt x="127201" y="75382"/>
                    </a:lnTo>
                    <a:cubicBezTo>
                      <a:pt x="127201" y="92444"/>
                      <a:pt x="133747" y="101397"/>
                      <a:pt x="146838" y="102242"/>
                    </a:cubicBezTo>
                    <a:lnTo>
                      <a:pt x="146838" y="120739"/>
                    </a:lnTo>
                    <a:cubicBezTo>
                      <a:pt x="133747" y="121583"/>
                      <a:pt x="127201" y="130367"/>
                      <a:pt x="127201" y="147091"/>
                    </a:cubicBezTo>
                    <a:lnTo>
                      <a:pt x="127201" y="184466"/>
                    </a:lnTo>
                    <a:cubicBezTo>
                      <a:pt x="127201" y="209804"/>
                      <a:pt x="112251" y="222642"/>
                      <a:pt x="82352" y="222980"/>
                    </a:cubicBezTo>
                    <a:lnTo>
                      <a:pt x="82352" y="203469"/>
                    </a:lnTo>
                    <a:cubicBezTo>
                      <a:pt x="89700" y="203300"/>
                      <a:pt x="94915" y="201274"/>
                      <a:pt x="97998" y="197388"/>
                    </a:cubicBezTo>
                    <a:cubicBezTo>
                      <a:pt x="101081" y="193503"/>
                      <a:pt x="102622" y="187084"/>
                      <a:pt x="102622" y="178131"/>
                    </a:cubicBezTo>
                    <a:lnTo>
                      <a:pt x="102622" y="142784"/>
                    </a:lnTo>
                    <a:cubicBezTo>
                      <a:pt x="102622" y="125638"/>
                      <a:pt x="110942" y="115207"/>
                      <a:pt x="127581" y="111490"/>
                    </a:cubicBezTo>
                    <a:lnTo>
                      <a:pt x="127581" y="111110"/>
                    </a:lnTo>
                    <a:cubicBezTo>
                      <a:pt x="110942" y="107140"/>
                      <a:pt x="102622" y="96625"/>
                      <a:pt x="102622" y="79563"/>
                    </a:cubicBezTo>
                    <a:lnTo>
                      <a:pt x="102622" y="43836"/>
                    </a:lnTo>
                    <a:cubicBezTo>
                      <a:pt x="102622" y="28041"/>
                      <a:pt x="95865" y="19975"/>
                      <a:pt x="82352" y="19638"/>
                    </a:cubicBezTo>
                    <a:close/>
                    <a:moveTo>
                      <a:pt x="64867" y="0"/>
                    </a:moveTo>
                    <a:lnTo>
                      <a:pt x="64867" y="19638"/>
                    </a:lnTo>
                    <a:cubicBezTo>
                      <a:pt x="51438" y="19975"/>
                      <a:pt x="44723" y="28041"/>
                      <a:pt x="44723" y="43836"/>
                    </a:cubicBezTo>
                    <a:lnTo>
                      <a:pt x="44723" y="79563"/>
                    </a:lnTo>
                    <a:cubicBezTo>
                      <a:pt x="44723" y="96625"/>
                      <a:pt x="36319" y="107140"/>
                      <a:pt x="19511" y="111110"/>
                    </a:cubicBezTo>
                    <a:lnTo>
                      <a:pt x="19511" y="111490"/>
                    </a:lnTo>
                    <a:cubicBezTo>
                      <a:pt x="36319" y="115207"/>
                      <a:pt x="44723" y="125638"/>
                      <a:pt x="44723" y="142784"/>
                    </a:cubicBezTo>
                    <a:lnTo>
                      <a:pt x="44723" y="178131"/>
                    </a:lnTo>
                    <a:cubicBezTo>
                      <a:pt x="44723" y="187168"/>
                      <a:pt x="46222" y="193608"/>
                      <a:pt x="49221" y="197451"/>
                    </a:cubicBezTo>
                    <a:cubicBezTo>
                      <a:pt x="52219" y="201294"/>
                      <a:pt x="57435" y="203300"/>
                      <a:pt x="64867" y="203469"/>
                    </a:cubicBezTo>
                    <a:lnTo>
                      <a:pt x="64867" y="222980"/>
                    </a:lnTo>
                    <a:cubicBezTo>
                      <a:pt x="34799" y="222642"/>
                      <a:pt x="19765" y="209804"/>
                      <a:pt x="19765" y="184466"/>
                    </a:cubicBezTo>
                    <a:lnTo>
                      <a:pt x="19765" y="147091"/>
                    </a:lnTo>
                    <a:cubicBezTo>
                      <a:pt x="19765" y="130367"/>
                      <a:pt x="13176" y="121583"/>
                      <a:pt x="0" y="120739"/>
                    </a:cubicBezTo>
                    <a:lnTo>
                      <a:pt x="0" y="102242"/>
                    </a:lnTo>
                    <a:cubicBezTo>
                      <a:pt x="13176" y="101397"/>
                      <a:pt x="19765" y="92444"/>
                      <a:pt x="19765" y="75382"/>
                    </a:cubicBezTo>
                    <a:lnTo>
                      <a:pt x="19765" y="39022"/>
                    </a:lnTo>
                    <a:cubicBezTo>
                      <a:pt x="19765" y="13345"/>
                      <a:pt x="34799" y="338"/>
                      <a:pt x="6486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2" name="Freeform 391"/>
              <p:cNvSpPr/>
              <p:nvPr/>
            </p:nvSpPr>
            <p:spPr>
              <a:xfrm>
                <a:off x="4636354" y="2883011"/>
                <a:ext cx="6203804" cy="222981"/>
              </a:xfrm>
              <a:custGeom>
                <a:avLst/>
                <a:gdLst>
                  <a:gd name="connsiteX0" fmla="*/ 6130982 w 6203804"/>
                  <a:gd name="connsiteY0" fmla="*/ 27835 h 222980"/>
                  <a:gd name="connsiteX1" fmla="*/ 6091712 w 6203804"/>
                  <a:gd name="connsiteY1" fmla="*/ 114349 h 222980"/>
                  <a:gd name="connsiteX2" fmla="*/ 6130230 w 6203804"/>
                  <a:gd name="connsiteY2" fmla="*/ 195296 h 222980"/>
                  <a:gd name="connsiteX3" fmla="*/ 6168145 w 6203804"/>
                  <a:gd name="connsiteY3" fmla="*/ 112995 h 222980"/>
                  <a:gd name="connsiteX4" fmla="*/ 6130982 w 6203804"/>
                  <a:gd name="connsiteY4" fmla="*/ 27835 h 222980"/>
                  <a:gd name="connsiteX5" fmla="*/ 74929 w 6203804"/>
                  <a:gd name="connsiteY5" fmla="*/ 27835 h 222980"/>
                  <a:gd name="connsiteX6" fmla="*/ 35659 w 6203804"/>
                  <a:gd name="connsiteY6" fmla="*/ 114349 h 222980"/>
                  <a:gd name="connsiteX7" fmla="*/ 74177 w 6203804"/>
                  <a:gd name="connsiteY7" fmla="*/ 195296 h 222980"/>
                  <a:gd name="connsiteX8" fmla="*/ 112092 w 6203804"/>
                  <a:gd name="connsiteY8" fmla="*/ 112995 h 222980"/>
                  <a:gd name="connsiteX9" fmla="*/ 74929 w 6203804"/>
                  <a:gd name="connsiteY9" fmla="*/ 27835 h 222980"/>
                  <a:gd name="connsiteX10" fmla="*/ 6132637 w 6203804"/>
                  <a:gd name="connsiteY10" fmla="*/ 0 h 222980"/>
                  <a:gd name="connsiteX11" fmla="*/ 6203804 w 6203804"/>
                  <a:gd name="connsiteY11" fmla="*/ 110588 h 222980"/>
                  <a:gd name="connsiteX12" fmla="*/ 6183718 w 6203804"/>
                  <a:gd name="connsiteY12" fmla="*/ 194167 h 222980"/>
                  <a:gd name="connsiteX13" fmla="*/ 6127521 w 6203804"/>
                  <a:gd name="connsiteY13" fmla="*/ 222980 h 222980"/>
                  <a:gd name="connsiteX14" fmla="*/ 6074936 w 6203804"/>
                  <a:gd name="connsiteY14" fmla="*/ 195446 h 222980"/>
                  <a:gd name="connsiteX15" fmla="*/ 6056053 w 6203804"/>
                  <a:gd name="connsiteY15" fmla="*/ 115854 h 222980"/>
                  <a:gd name="connsiteX16" fmla="*/ 6075763 w 6203804"/>
                  <a:gd name="connsiteY16" fmla="*/ 29340 h 222980"/>
                  <a:gd name="connsiteX17" fmla="*/ 6132637 w 6203804"/>
                  <a:gd name="connsiteY17" fmla="*/ 0 h 222980"/>
                  <a:gd name="connsiteX18" fmla="*/ 76584 w 6203804"/>
                  <a:gd name="connsiteY18" fmla="*/ 0 h 222980"/>
                  <a:gd name="connsiteX19" fmla="*/ 147751 w 6203804"/>
                  <a:gd name="connsiteY19" fmla="*/ 110588 h 222980"/>
                  <a:gd name="connsiteX20" fmla="*/ 127665 w 6203804"/>
                  <a:gd name="connsiteY20" fmla="*/ 194167 h 222980"/>
                  <a:gd name="connsiteX21" fmla="*/ 71468 w 6203804"/>
                  <a:gd name="connsiteY21" fmla="*/ 222980 h 222980"/>
                  <a:gd name="connsiteX22" fmla="*/ 18883 w 6203804"/>
                  <a:gd name="connsiteY22" fmla="*/ 195446 h 222980"/>
                  <a:gd name="connsiteX23" fmla="*/ 0 w 6203804"/>
                  <a:gd name="connsiteY23" fmla="*/ 115854 h 222980"/>
                  <a:gd name="connsiteX24" fmla="*/ 19710 w 6203804"/>
                  <a:gd name="connsiteY24" fmla="*/ 29340 h 222980"/>
                  <a:gd name="connsiteX25" fmla="*/ 76584 w 6203804"/>
                  <a:gd name="connsiteY25"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03804" h="222980">
                    <a:moveTo>
                      <a:pt x="6130982" y="27835"/>
                    </a:moveTo>
                    <a:cubicBezTo>
                      <a:pt x="6104802" y="27835"/>
                      <a:pt x="6091712" y="56673"/>
                      <a:pt x="6091712" y="114349"/>
                    </a:cubicBezTo>
                    <a:cubicBezTo>
                      <a:pt x="6091712" y="168313"/>
                      <a:pt x="6104551" y="195296"/>
                      <a:pt x="6130230" y="195296"/>
                    </a:cubicBezTo>
                    <a:cubicBezTo>
                      <a:pt x="6155506" y="195296"/>
                      <a:pt x="6168145" y="167862"/>
                      <a:pt x="6168145" y="112995"/>
                    </a:cubicBezTo>
                    <a:cubicBezTo>
                      <a:pt x="6168145" y="56221"/>
                      <a:pt x="6155757" y="27835"/>
                      <a:pt x="6130982" y="2783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6132637" y="0"/>
                    </a:moveTo>
                    <a:cubicBezTo>
                      <a:pt x="6180081" y="0"/>
                      <a:pt x="6203804" y="36863"/>
                      <a:pt x="6203804" y="110588"/>
                    </a:cubicBezTo>
                    <a:cubicBezTo>
                      <a:pt x="6203804" y="147099"/>
                      <a:pt x="6197108" y="174959"/>
                      <a:pt x="6183718" y="194167"/>
                    </a:cubicBezTo>
                    <a:cubicBezTo>
                      <a:pt x="6170327" y="213376"/>
                      <a:pt x="6151595" y="222980"/>
                      <a:pt x="6127521" y="222980"/>
                    </a:cubicBezTo>
                    <a:cubicBezTo>
                      <a:pt x="6105053" y="222980"/>
                      <a:pt x="6087524" y="213802"/>
                      <a:pt x="6074936" y="195446"/>
                    </a:cubicBezTo>
                    <a:cubicBezTo>
                      <a:pt x="6062347" y="177090"/>
                      <a:pt x="6056053" y="150559"/>
                      <a:pt x="6056053" y="115854"/>
                    </a:cubicBezTo>
                    <a:cubicBezTo>
                      <a:pt x="6056053" y="77737"/>
                      <a:pt x="6062623" y="48900"/>
                      <a:pt x="6075763" y="29340"/>
                    </a:cubicBezTo>
                    <a:cubicBezTo>
                      <a:pt x="6088904" y="9780"/>
                      <a:pt x="6107861" y="0"/>
                      <a:pt x="6132637" y="0"/>
                    </a:cubicBezTo>
                    <a:close/>
                    <a:moveTo>
                      <a:pt x="76584" y="0"/>
                    </a:moveTo>
                    <a:cubicBezTo>
                      <a:pt x="124029" y="0"/>
                      <a:pt x="147751" y="36863"/>
                      <a:pt x="147751" y="110588"/>
                    </a:cubicBezTo>
                    <a:cubicBezTo>
                      <a:pt x="147751" y="147099"/>
                      <a:pt x="141056"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3" name="Freeform 392"/>
              <p:cNvSpPr/>
              <p:nvPr/>
            </p:nvSpPr>
            <p:spPr>
              <a:xfrm>
                <a:off x="615434" y="2883011"/>
                <a:ext cx="11496665" cy="222981"/>
              </a:xfrm>
              <a:custGeom>
                <a:avLst/>
                <a:gdLst>
                  <a:gd name="connsiteX0" fmla="*/ 11481759 w 11496665"/>
                  <a:gd name="connsiteY0" fmla="*/ 0 h 222980"/>
                  <a:gd name="connsiteX1" fmla="*/ 11496665 w 11496665"/>
                  <a:gd name="connsiteY1" fmla="*/ 0 h 222980"/>
                  <a:gd name="connsiteX2" fmla="*/ 11496665 w 11496665"/>
                  <a:gd name="connsiteY2" fmla="*/ 222980 h 222980"/>
                  <a:gd name="connsiteX3" fmla="*/ 11461377 w 11496665"/>
                  <a:gd name="connsiteY3" fmla="*/ 222980 h 222980"/>
                  <a:gd name="connsiteX4" fmla="*/ 11461377 w 11496665"/>
                  <a:gd name="connsiteY4" fmla="*/ 43197 h 222980"/>
                  <a:gd name="connsiteX5" fmla="*/ 11440768 w 11496665"/>
                  <a:gd name="connsiteY5" fmla="*/ 54832 h 222980"/>
                  <a:gd name="connsiteX6" fmla="*/ 11415595 w 11496665"/>
                  <a:gd name="connsiteY6" fmla="*/ 63274 h 222980"/>
                  <a:gd name="connsiteX7" fmla="*/ 11415595 w 11496665"/>
                  <a:gd name="connsiteY7" fmla="*/ 33158 h 222980"/>
                  <a:gd name="connsiteX8" fmla="*/ 11432630 w 11496665"/>
                  <a:gd name="connsiteY8" fmla="*/ 27074 h 222980"/>
                  <a:gd name="connsiteX9" fmla="*/ 11448829 w 11496665"/>
                  <a:gd name="connsiteY9" fmla="*/ 19925 h 222980"/>
                  <a:gd name="connsiteX10" fmla="*/ 11464952 w 11496665"/>
                  <a:gd name="connsiteY10" fmla="*/ 11104 h 222980"/>
                  <a:gd name="connsiteX11" fmla="*/ 11481759 w 11496665"/>
                  <a:gd name="connsiteY11" fmla="*/ 0 h 222980"/>
                  <a:gd name="connsiteX12" fmla="*/ 9856978 w 11496665"/>
                  <a:gd name="connsiteY12" fmla="*/ 0 h 222980"/>
                  <a:gd name="connsiteX13" fmla="*/ 9871884 w 11496665"/>
                  <a:gd name="connsiteY13" fmla="*/ 0 h 222980"/>
                  <a:gd name="connsiteX14" fmla="*/ 9871884 w 11496665"/>
                  <a:gd name="connsiteY14" fmla="*/ 222980 h 222980"/>
                  <a:gd name="connsiteX15" fmla="*/ 9836596 w 11496665"/>
                  <a:gd name="connsiteY15" fmla="*/ 222980 h 222980"/>
                  <a:gd name="connsiteX16" fmla="*/ 9836596 w 11496665"/>
                  <a:gd name="connsiteY16" fmla="*/ 43197 h 222980"/>
                  <a:gd name="connsiteX17" fmla="*/ 9815987 w 11496665"/>
                  <a:gd name="connsiteY17" fmla="*/ 54832 h 222980"/>
                  <a:gd name="connsiteX18" fmla="*/ 9790814 w 11496665"/>
                  <a:gd name="connsiteY18" fmla="*/ 63274 h 222980"/>
                  <a:gd name="connsiteX19" fmla="*/ 9790814 w 11496665"/>
                  <a:gd name="connsiteY19" fmla="*/ 33158 h 222980"/>
                  <a:gd name="connsiteX20" fmla="*/ 9807849 w 11496665"/>
                  <a:gd name="connsiteY20" fmla="*/ 27074 h 222980"/>
                  <a:gd name="connsiteX21" fmla="*/ 9824048 w 11496665"/>
                  <a:gd name="connsiteY21" fmla="*/ 19925 h 222980"/>
                  <a:gd name="connsiteX22" fmla="*/ 9840171 w 11496665"/>
                  <a:gd name="connsiteY22" fmla="*/ 11104 h 222980"/>
                  <a:gd name="connsiteX23" fmla="*/ 9856978 w 11496665"/>
                  <a:gd name="connsiteY23" fmla="*/ 0 h 222980"/>
                  <a:gd name="connsiteX24" fmla="*/ 8979271 w 11496665"/>
                  <a:gd name="connsiteY24" fmla="*/ 0 h 222980"/>
                  <a:gd name="connsiteX25" fmla="*/ 8994177 w 11496665"/>
                  <a:gd name="connsiteY25" fmla="*/ 0 h 222980"/>
                  <a:gd name="connsiteX26" fmla="*/ 8994177 w 11496665"/>
                  <a:gd name="connsiteY26" fmla="*/ 222980 h 222980"/>
                  <a:gd name="connsiteX27" fmla="*/ 8958889 w 11496665"/>
                  <a:gd name="connsiteY27" fmla="*/ 222980 h 222980"/>
                  <a:gd name="connsiteX28" fmla="*/ 8958889 w 11496665"/>
                  <a:gd name="connsiteY28" fmla="*/ 43197 h 222980"/>
                  <a:gd name="connsiteX29" fmla="*/ 8938280 w 11496665"/>
                  <a:gd name="connsiteY29" fmla="*/ 54832 h 222980"/>
                  <a:gd name="connsiteX30" fmla="*/ 8913107 w 11496665"/>
                  <a:gd name="connsiteY30" fmla="*/ 63274 h 222980"/>
                  <a:gd name="connsiteX31" fmla="*/ 8913107 w 11496665"/>
                  <a:gd name="connsiteY31" fmla="*/ 33158 h 222980"/>
                  <a:gd name="connsiteX32" fmla="*/ 8930142 w 11496665"/>
                  <a:gd name="connsiteY32" fmla="*/ 27074 h 222980"/>
                  <a:gd name="connsiteX33" fmla="*/ 8946341 w 11496665"/>
                  <a:gd name="connsiteY33" fmla="*/ 19925 h 222980"/>
                  <a:gd name="connsiteX34" fmla="*/ 8962464 w 11496665"/>
                  <a:gd name="connsiteY34" fmla="*/ 11104 h 222980"/>
                  <a:gd name="connsiteX35" fmla="*/ 8979271 w 11496665"/>
                  <a:gd name="connsiteY35" fmla="*/ 0 h 222980"/>
                  <a:gd name="connsiteX36" fmla="*/ 8106816 w 11496665"/>
                  <a:gd name="connsiteY36" fmla="*/ 0 h 222980"/>
                  <a:gd name="connsiteX37" fmla="*/ 8121722 w 11496665"/>
                  <a:gd name="connsiteY37" fmla="*/ 0 h 222980"/>
                  <a:gd name="connsiteX38" fmla="*/ 8121722 w 11496665"/>
                  <a:gd name="connsiteY38" fmla="*/ 222980 h 222980"/>
                  <a:gd name="connsiteX39" fmla="*/ 8086434 w 11496665"/>
                  <a:gd name="connsiteY39" fmla="*/ 222980 h 222980"/>
                  <a:gd name="connsiteX40" fmla="*/ 8086434 w 11496665"/>
                  <a:gd name="connsiteY40" fmla="*/ 43197 h 222980"/>
                  <a:gd name="connsiteX41" fmla="*/ 8065825 w 11496665"/>
                  <a:gd name="connsiteY41" fmla="*/ 54832 h 222980"/>
                  <a:gd name="connsiteX42" fmla="*/ 8040652 w 11496665"/>
                  <a:gd name="connsiteY42" fmla="*/ 63274 h 222980"/>
                  <a:gd name="connsiteX43" fmla="*/ 8040652 w 11496665"/>
                  <a:gd name="connsiteY43" fmla="*/ 33158 h 222980"/>
                  <a:gd name="connsiteX44" fmla="*/ 8057687 w 11496665"/>
                  <a:gd name="connsiteY44" fmla="*/ 27074 h 222980"/>
                  <a:gd name="connsiteX45" fmla="*/ 8073886 w 11496665"/>
                  <a:gd name="connsiteY45" fmla="*/ 19925 h 222980"/>
                  <a:gd name="connsiteX46" fmla="*/ 8090009 w 11496665"/>
                  <a:gd name="connsiteY46" fmla="*/ 11104 h 222980"/>
                  <a:gd name="connsiteX47" fmla="*/ 8106816 w 11496665"/>
                  <a:gd name="connsiteY47" fmla="*/ 0 h 222980"/>
                  <a:gd name="connsiteX48" fmla="*/ 6117683 w 11496665"/>
                  <a:gd name="connsiteY48" fmla="*/ 0 h 222980"/>
                  <a:gd name="connsiteX49" fmla="*/ 6132590 w 11496665"/>
                  <a:gd name="connsiteY49" fmla="*/ 0 h 222980"/>
                  <a:gd name="connsiteX50" fmla="*/ 6132590 w 11496665"/>
                  <a:gd name="connsiteY50" fmla="*/ 222980 h 222980"/>
                  <a:gd name="connsiteX51" fmla="*/ 6097302 w 11496665"/>
                  <a:gd name="connsiteY51" fmla="*/ 222980 h 222980"/>
                  <a:gd name="connsiteX52" fmla="*/ 6097302 w 11496665"/>
                  <a:gd name="connsiteY52" fmla="*/ 43197 h 222980"/>
                  <a:gd name="connsiteX53" fmla="*/ 6076692 w 11496665"/>
                  <a:gd name="connsiteY53" fmla="*/ 54832 h 222980"/>
                  <a:gd name="connsiteX54" fmla="*/ 6051520 w 11496665"/>
                  <a:gd name="connsiteY54" fmla="*/ 63274 h 222980"/>
                  <a:gd name="connsiteX55" fmla="*/ 6051520 w 11496665"/>
                  <a:gd name="connsiteY55" fmla="*/ 33158 h 222980"/>
                  <a:gd name="connsiteX56" fmla="*/ 6068555 w 11496665"/>
                  <a:gd name="connsiteY56" fmla="*/ 27074 h 222980"/>
                  <a:gd name="connsiteX57" fmla="*/ 6084754 w 11496665"/>
                  <a:gd name="connsiteY57" fmla="*/ 19925 h 222980"/>
                  <a:gd name="connsiteX58" fmla="*/ 6100876 w 11496665"/>
                  <a:gd name="connsiteY58" fmla="*/ 11104 h 222980"/>
                  <a:gd name="connsiteX59" fmla="*/ 6117683 w 11496665"/>
                  <a:gd name="connsiteY59" fmla="*/ 0 h 222980"/>
                  <a:gd name="connsiteX60" fmla="*/ 5425705 w 11496665"/>
                  <a:gd name="connsiteY60" fmla="*/ 0 h 222980"/>
                  <a:gd name="connsiteX61" fmla="*/ 5440612 w 11496665"/>
                  <a:gd name="connsiteY61" fmla="*/ 0 h 222980"/>
                  <a:gd name="connsiteX62" fmla="*/ 5440612 w 11496665"/>
                  <a:gd name="connsiteY62" fmla="*/ 222980 h 222980"/>
                  <a:gd name="connsiteX63" fmla="*/ 5405324 w 11496665"/>
                  <a:gd name="connsiteY63" fmla="*/ 222980 h 222980"/>
                  <a:gd name="connsiteX64" fmla="*/ 5405324 w 11496665"/>
                  <a:gd name="connsiteY64" fmla="*/ 43197 h 222980"/>
                  <a:gd name="connsiteX65" fmla="*/ 5384714 w 11496665"/>
                  <a:gd name="connsiteY65" fmla="*/ 54832 h 222980"/>
                  <a:gd name="connsiteX66" fmla="*/ 5359542 w 11496665"/>
                  <a:gd name="connsiteY66" fmla="*/ 63274 h 222980"/>
                  <a:gd name="connsiteX67" fmla="*/ 5359542 w 11496665"/>
                  <a:gd name="connsiteY67" fmla="*/ 33158 h 222980"/>
                  <a:gd name="connsiteX68" fmla="*/ 5376577 w 11496665"/>
                  <a:gd name="connsiteY68" fmla="*/ 27074 h 222980"/>
                  <a:gd name="connsiteX69" fmla="*/ 5392776 w 11496665"/>
                  <a:gd name="connsiteY69" fmla="*/ 19925 h 222980"/>
                  <a:gd name="connsiteX70" fmla="*/ 5408898 w 11496665"/>
                  <a:gd name="connsiteY70" fmla="*/ 11104 h 222980"/>
                  <a:gd name="connsiteX71" fmla="*/ 5425705 w 11496665"/>
                  <a:gd name="connsiteY71" fmla="*/ 0 h 222980"/>
                  <a:gd name="connsiteX72" fmla="*/ 3800924 w 11496665"/>
                  <a:gd name="connsiteY72" fmla="*/ 0 h 222980"/>
                  <a:gd name="connsiteX73" fmla="*/ 3815831 w 11496665"/>
                  <a:gd name="connsiteY73" fmla="*/ 0 h 222980"/>
                  <a:gd name="connsiteX74" fmla="*/ 3815831 w 11496665"/>
                  <a:gd name="connsiteY74" fmla="*/ 222980 h 222980"/>
                  <a:gd name="connsiteX75" fmla="*/ 3780543 w 11496665"/>
                  <a:gd name="connsiteY75" fmla="*/ 222980 h 222980"/>
                  <a:gd name="connsiteX76" fmla="*/ 3780543 w 11496665"/>
                  <a:gd name="connsiteY76" fmla="*/ 43197 h 222980"/>
                  <a:gd name="connsiteX77" fmla="*/ 3759933 w 11496665"/>
                  <a:gd name="connsiteY77" fmla="*/ 54832 h 222980"/>
                  <a:gd name="connsiteX78" fmla="*/ 3734761 w 11496665"/>
                  <a:gd name="connsiteY78" fmla="*/ 63274 h 222980"/>
                  <a:gd name="connsiteX79" fmla="*/ 3734761 w 11496665"/>
                  <a:gd name="connsiteY79" fmla="*/ 33158 h 222980"/>
                  <a:gd name="connsiteX80" fmla="*/ 3751796 w 11496665"/>
                  <a:gd name="connsiteY80" fmla="*/ 27074 h 222980"/>
                  <a:gd name="connsiteX81" fmla="*/ 3767995 w 11496665"/>
                  <a:gd name="connsiteY81" fmla="*/ 19925 h 222980"/>
                  <a:gd name="connsiteX82" fmla="*/ 3784117 w 11496665"/>
                  <a:gd name="connsiteY82" fmla="*/ 11104 h 222980"/>
                  <a:gd name="connsiteX83" fmla="*/ 3800924 w 11496665"/>
                  <a:gd name="connsiteY83" fmla="*/ 0 h 222980"/>
                  <a:gd name="connsiteX84" fmla="*/ 2923218 w 11496665"/>
                  <a:gd name="connsiteY84" fmla="*/ 0 h 222980"/>
                  <a:gd name="connsiteX85" fmla="*/ 2938125 w 11496665"/>
                  <a:gd name="connsiteY85" fmla="*/ 0 h 222980"/>
                  <a:gd name="connsiteX86" fmla="*/ 2938125 w 11496665"/>
                  <a:gd name="connsiteY86" fmla="*/ 222980 h 222980"/>
                  <a:gd name="connsiteX87" fmla="*/ 2902837 w 11496665"/>
                  <a:gd name="connsiteY87" fmla="*/ 222980 h 222980"/>
                  <a:gd name="connsiteX88" fmla="*/ 2902837 w 11496665"/>
                  <a:gd name="connsiteY88" fmla="*/ 43197 h 222980"/>
                  <a:gd name="connsiteX89" fmla="*/ 2882227 w 11496665"/>
                  <a:gd name="connsiteY89" fmla="*/ 54832 h 222980"/>
                  <a:gd name="connsiteX90" fmla="*/ 2857054 w 11496665"/>
                  <a:gd name="connsiteY90" fmla="*/ 63274 h 222980"/>
                  <a:gd name="connsiteX91" fmla="*/ 2857054 w 11496665"/>
                  <a:gd name="connsiteY91" fmla="*/ 33158 h 222980"/>
                  <a:gd name="connsiteX92" fmla="*/ 2874090 w 11496665"/>
                  <a:gd name="connsiteY92" fmla="*/ 27074 h 222980"/>
                  <a:gd name="connsiteX93" fmla="*/ 2890289 w 11496665"/>
                  <a:gd name="connsiteY93" fmla="*/ 19925 h 222980"/>
                  <a:gd name="connsiteX94" fmla="*/ 2906411 w 11496665"/>
                  <a:gd name="connsiteY94" fmla="*/ 11104 h 222980"/>
                  <a:gd name="connsiteX95" fmla="*/ 2923218 w 11496665"/>
                  <a:gd name="connsiteY95" fmla="*/ 0 h 222980"/>
                  <a:gd name="connsiteX96" fmla="*/ 2050763 w 11496665"/>
                  <a:gd name="connsiteY96" fmla="*/ 0 h 222980"/>
                  <a:gd name="connsiteX97" fmla="*/ 2065669 w 11496665"/>
                  <a:gd name="connsiteY97" fmla="*/ 0 h 222980"/>
                  <a:gd name="connsiteX98" fmla="*/ 2065669 w 11496665"/>
                  <a:gd name="connsiteY98" fmla="*/ 222980 h 222980"/>
                  <a:gd name="connsiteX99" fmla="*/ 2030381 w 11496665"/>
                  <a:gd name="connsiteY99" fmla="*/ 222980 h 222980"/>
                  <a:gd name="connsiteX100" fmla="*/ 2030381 w 11496665"/>
                  <a:gd name="connsiteY100" fmla="*/ 43197 h 222980"/>
                  <a:gd name="connsiteX101" fmla="*/ 2009772 w 11496665"/>
                  <a:gd name="connsiteY101" fmla="*/ 54832 h 222980"/>
                  <a:gd name="connsiteX102" fmla="*/ 1984599 w 11496665"/>
                  <a:gd name="connsiteY102" fmla="*/ 63274 h 222980"/>
                  <a:gd name="connsiteX103" fmla="*/ 1984599 w 11496665"/>
                  <a:gd name="connsiteY103" fmla="*/ 33158 h 222980"/>
                  <a:gd name="connsiteX104" fmla="*/ 2001634 w 11496665"/>
                  <a:gd name="connsiteY104" fmla="*/ 27074 h 222980"/>
                  <a:gd name="connsiteX105" fmla="*/ 2017833 w 11496665"/>
                  <a:gd name="connsiteY105" fmla="*/ 19925 h 222980"/>
                  <a:gd name="connsiteX106" fmla="*/ 2033956 w 11496665"/>
                  <a:gd name="connsiteY106" fmla="*/ 11104 h 222980"/>
                  <a:gd name="connsiteX107" fmla="*/ 2050763 w 11496665"/>
                  <a:gd name="connsiteY107" fmla="*/ 0 h 222980"/>
                  <a:gd name="connsiteX108" fmla="*/ 66164 w 11496665"/>
                  <a:gd name="connsiteY108" fmla="*/ 0 h 222980"/>
                  <a:gd name="connsiteX109" fmla="*/ 81070 w 11496665"/>
                  <a:gd name="connsiteY109" fmla="*/ 0 h 222980"/>
                  <a:gd name="connsiteX110" fmla="*/ 81070 w 11496665"/>
                  <a:gd name="connsiteY110" fmla="*/ 222980 h 222980"/>
                  <a:gd name="connsiteX111" fmla="*/ 45782 w 11496665"/>
                  <a:gd name="connsiteY111" fmla="*/ 222980 h 222980"/>
                  <a:gd name="connsiteX112" fmla="*/ 45782 w 11496665"/>
                  <a:gd name="connsiteY112" fmla="*/ 43197 h 222980"/>
                  <a:gd name="connsiteX113" fmla="*/ 25173 w 11496665"/>
                  <a:gd name="connsiteY113" fmla="*/ 54832 h 222980"/>
                  <a:gd name="connsiteX114" fmla="*/ 0 w 11496665"/>
                  <a:gd name="connsiteY114" fmla="*/ 63274 h 222980"/>
                  <a:gd name="connsiteX115" fmla="*/ 0 w 11496665"/>
                  <a:gd name="connsiteY115" fmla="*/ 33158 h 222980"/>
                  <a:gd name="connsiteX116" fmla="*/ 17035 w 11496665"/>
                  <a:gd name="connsiteY116" fmla="*/ 27074 h 222980"/>
                  <a:gd name="connsiteX117" fmla="*/ 33234 w 11496665"/>
                  <a:gd name="connsiteY117" fmla="*/ 19925 h 222980"/>
                  <a:gd name="connsiteX118" fmla="*/ 49357 w 11496665"/>
                  <a:gd name="connsiteY118" fmla="*/ 11104 h 222980"/>
                  <a:gd name="connsiteX119" fmla="*/ 66164 w 11496665"/>
                  <a:gd name="connsiteY119" fmla="*/ 0 h 2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1496665" h="222980">
                    <a:moveTo>
                      <a:pt x="11481759" y="0"/>
                    </a:moveTo>
                    <a:lnTo>
                      <a:pt x="11496665" y="0"/>
                    </a:lnTo>
                    <a:lnTo>
                      <a:pt x="11496665" y="222980"/>
                    </a:lnTo>
                    <a:lnTo>
                      <a:pt x="11461377" y="222980"/>
                    </a:lnTo>
                    <a:lnTo>
                      <a:pt x="11461377" y="43197"/>
                    </a:lnTo>
                    <a:cubicBezTo>
                      <a:pt x="11454989" y="47760"/>
                      <a:pt x="11448119" y="51638"/>
                      <a:pt x="11440768" y="54832"/>
                    </a:cubicBezTo>
                    <a:cubicBezTo>
                      <a:pt x="11433416" y="58027"/>
                      <a:pt x="11425025" y="60840"/>
                      <a:pt x="11415595" y="63274"/>
                    </a:cubicBezTo>
                    <a:lnTo>
                      <a:pt x="11415595" y="33158"/>
                    </a:lnTo>
                    <a:cubicBezTo>
                      <a:pt x="11421476" y="31232"/>
                      <a:pt x="11427155" y="29204"/>
                      <a:pt x="11432630" y="27074"/>
                    </a:cubicBezTo>
                    <a:cubicBezTo>
                      <a:pt x="11438106" y="24945"/>
                      <a:pt x="11443506" y="22562"/>
                      <a:pt x="11448829" y="19925"/>
                    </a:cubicBezTo>
                    <a:cubicBezTo>
                      <a:pt x="11454153" y="17289"/>
                      <a:pt x="11459527" y="14348"/>
                      <a:pt x="11464952" y="11104"/>
                    </a:cubicBezTo>
                    <a:cubicBezTo>
                      <a:pt x="11470377" y="7859"/>
                      <a:pt x="11475979" y="4158"/>
                      <a:pt x="11481759" y="0"/>
                    </a:cubicBezTo>
                    <a:close/>
                    <a:moveTo>
                      <a:pt x="9856978" y="0"/>
                    </a:moveTo>
                    <a:lnTo>
                      <a:pt x="9871884" y="0"/>
                    </a:lnTo>
                    <a:lnTo>
                      <a:pt x="9871884" y="222980"/>
                    </a:lnTo>
                    <a:lnTo>
                      <a:pt x="9836596" y="222980"/>
                    </a:lnTo>
                    <a:lnTo>
                      <a:pt x="9836596" y="43197"/>
                    </a:lnTo>
                    <a:cubicBezTo>
                      <a:pt x="9830208" y="47760"/>
                      <a:pt x="9823338" y="51638"/>
                      <a:pt x="9815987" y="54832"/>
                    </a:cubicBezTo>
                    <a:cubicBezTo>
                      <a:pt x="9808635" y="58027"/>
                      <a:pt x="9800244" y="60840"/>
                      <a:pt x="9790814" y="63274"/>
                    </a:cubicBezTo>
                    <a:lnTo>
                      <a:pt x="9790814" y="33158"/>
                    </a:lnTo>
                    <a:cubicBezTo>
                      <a:pt x="9796695" y="31232"/>
                      <a:pt x="9802374" y="29204"/>
                      <a:pt x="9807849" y="27074"/>
                    </a:cubicBezTo>
                    <a:cubicBezTo>
                      <a:pt x="9813325" y="24945"/>
                      <a:pt x="9818725" y="22562"/>
                      <a:pt x="9824048" y="19925"/>
                    </a:cubicBezTo>
                    <a:cubicBezTo>
                      <a:pt x="9829372" y="17289"/>
                      <a:pt x="9834746" y="14348"/>
                      <a:pt x="9840171" y="11104"/>
                    </a:cubicBezTo>
                    <a:cubicBezTo>
                      <a:pt x="9845596" y="7859"/>
                      <a:pt x="9851198" y="4158"/>
                      <a:pt x="9856978" y="0"/>
                    </a:cubicBezTo>
                    <a:close/>
                    <a:moveTo>
                      <a:pt x="8979271" y="0"/>
                    </a:moveTo>
                    <a:lnTo>
                      <a:pt x="8994177" y="0"/>
                    </a:lnTo>
                    <a:lnTo>
                      <a:pt x="8994177" y="222980"/>
                    </a:lnTo>
                    <a:lnTo>
                      <a:pt x="8958889" y="222980"/>
                    </a:lnTo>
                    <a:lnTo>
                      <a:pt x="8958889" y="43197"/>
                    </a:lnTo>
                    <a:cubicBezTo>
                      <a:pt x="8952501" y="47760"/>
                      <a:pt x="8945631" y="51638"/>
                      <a:pt x="8938280" y="54832"/>
                    </a:cubicBezTo>
                    <a:cubicBezTo>
                      <a:pt x="8930928" y="58027"/>
                      <a:pt x="8922537" y="60840"/>
                      <a:pt x="8913107" y="63274"/>
                    </a:cubicBezTo>
                    <a:lnTo>
                      <a:pt x="8913107" y="33158"/>
                    </a:lnTo>
                    <a:cubicBezTo>
                      <a:pt x="8918988" y="31232"/>
                      <a:pt x="8924667" y="29204"/>
                      <a:pt x="8930142" y="27074"/>
                    </a:cubicBezTo>
                    <a:cubicBezTo>
                      <a:pt x="8935618" y="24945"/>
                      <a:pt x="8941018" y="22562"/>
                      <a:pt x="8946341" y="19925"/>
                    </a:cubicBezTo>
                    <a:cubicBezTo>
                      <a:pt x="8951665" y="17289"/>
                      <a:pt x="8957039" y="14348"/>
                      <a:pt x="8962464" y="11104"/>
                    </a:cubicBezTo>
                    <a:cubicBezTo>
                      <a:pt x="8967889" y="7859"/>
                      <a:pt x="8973491" y="4158"/>
                      <a:pt x="8979271" y="0"/>
                    </a:cubicBezTo>
                    <a:close/>
                    <a:moveTo>
                      <a:pt x="8106816" y="0"/>
                    </a:moveTo>
                    <a:lnTo>
                      <a:pt x="8121722" y="0"/>
                    </a:lnTo>
                    <a:lnTo>
                      <a:pt x="8121722" y="222980"/>
                    </a:lnTo>
                    <a:lnTo>
                      <a:pt x="8086434" y="222980"/>
                    </a:lnTo>
                    <a:lnTo>
                      <a:pt x="8086434" y="43197"/>
                    </a:lnTo>
                    <a:cubicBezTo>
                      <a:pt x="8080046" y="47760"/>
                      <a:pt x="8073176" y="51638"/>
                      <a:pt x="8065825" y="54832"/>
                    </a:cubicBezTo>
                    <a:cubicBezTo>
                      <a:pt x="8058473" y="58027"/>
                      <a:pt x="8050082" y="60840"/>
                      <a:pt x="8040652" y="63274"/>
                    </a:cubicBezTo>
                    <a:lnTo>
                      <a:pt x="8040652" y="33158"/>
                    </a:lnTo>
                    <a:cubicBezTo>
                      <a:pt x="8046533" y="31232"/>
                      <a:pt x="8052212" y="29204"/>
                      <a:pt x="8057687" y="27074"/>
                    </a:cubicBezTo>
                    <a:cubicBezTo>
                      <a:pt x="8063163" y="24945"/>
                      <a:pt x="8068563" y="22562"/>
                      <a:pt x="8073886" y="19925"/>
                    </a:cubicBezTo>
                    <a:cubicBezTo>
                      <a:pt x="8079210" y="17289"/>
                      <a:pt x="8084584" y="14348"/>
                      <a:pt x="8090009" y="11104"/>
                    </a:cubicBezTo>
                    <a:cubicBezTo>
                      <a:pt x="8095434" y="7859"/>
                      <a:pt x="8101036" y="4158"/>
                      <a:pt x="8106816" y="0"/>
                    </a:cubicBezTo>
                    <a:close/>
                    <a:moveTo>
                      <a:pt x="6117683" y="0"/>
                    </a:moveTo>
                    <a:lnTo>
                      <a:pt x="6132590" y="0"/>
                    </a:lnTo>
                    <a:lnTo>
                      <a:pt x="6132590" y="222980"/>
                    </a:lnTo>
                    <a:lnTo>
                      <a:pt x="6097302" y="222980"/>
                    </a:lnTo>
                    <a:lnTo>
                      <a:pt x="6097302" y="43197"/>
                    </a:lnTo>
                    <a:cubicBezTo>
                      <a:pt x="6090914" y="47760"/>
                      <a:pt x="6084044" y="51638"/>
                      <a:pt x="6076692" y="54832"/>
                    </a:cubicBezTo>
                    <a:cubicBezTo>
                      <a:pt x="6069341" y="58027"/>
                      <a:pt x="6060950" y="60840"/>
                      <a:pt x="6051520" y="63274"/>
                    </a:cubicBezTo>
                    <a:lnTo>
                      <a:pt x="6051520" y="33158"/>
                    </a:lnTo>
                    <a:cubicBezTo>
                      <a:pt x="6057401" y="31232"/>
                      <a:pt x="6063079" y="29204"/>
                      <a:pt x="6068555" y="27074"/>
                    </a:cubicBezTo>
                    <a:cubicBezTo>
                      <a:pt x="6074031" y="24945"/>
                      <a:pt x="6079430" y="22562"/>
                      <a:pt x="6084754" y="19925"/>
                    </a:cubicBezTo>
                    <a:cubicBezTo>
                      <a:pt x="6090077" y="17289"/>
                      <a:pt x="6095452" y="14348"/>
                      <a:pt x="6100876" y="11104"/>
                    </a:cubicBezTo>
                    <a:cubicBezTo>
                      <a:pt x="6106302" y="7859"/>
                      <a:pt x="6111904" y="4158"/>
                      <a:pt x="6117683" y="0"/>
                    </a:cubicBezTo>
                    <a:close/>
                    <a:moveTo>
                      <a:pt x="5425705" y="0"/>
                    </a:moveTo>
                    <a:lnTo>
                      <a:pt x="5440612" y="0"/>
                    </a:lnTo>
                    <a:lnTo>
                      <a:pt x="5440612" y="222980"/>
                    </a:lnTo>
                    <a:lnTo>
                      <a:pt x="5405324" y="222980"/>
                    </a:lnTo>
                    <a:lnTo>
                      <a:pt x="5405324" y="43197"/>
                    </a:lnTo>
                    <a:cubicBezTo>
                      <a:pt x="5398936" y="47760"/>
                      <a:pt x="5392066" y="51638"/>
                      <a:pt x="5384714" y="54832"/>
                    </a:cubicBezTo>
                    <a:cubicBezTo>
                      <a:pt x="5377363" y="58027"/>
                      <a:pt x="5368972" y="60840"/>
                      <a:pt x="5359542" y="63274"/>
                    </a:cubicBezTo>
                    <a:lnTo>
                      <a:pt x="5359542" y="33158"/>
                    </a:lnTo>
                    <a:cubicBezTo>
                      <a:pt x="5365423" y="31232"/>
                      <a:pt x="5371101" y="29204"/>
                      <a:pt x="5376577" y="27074"/>
                    </a:cubicBezTo>
                    <a:cubicBezTo>
                      <a:pt x="5382053" y="24945"/>
                      <a:pt x="5387452" y="22562"/>
                      <a:pt x="5392776" y="19925"/>
                    </a:cubicBezTo>
                    <a:cubicBezTo>
                      <a:pt x="5398100" y="17289"/>
                      <a:pt x="5403474" y="14348"/>
                      <a:pt x="5408898" y="11104"/>
                    </a:cubicBezTo>
                    <a:cubicBezTo>
                      <a:pt x="5414324" y="7859"/>
                      <a:pt x="5419926" y="4158"/>
                      <a:pt x="5425705" y="0"/>
                    </a:cubicBezTo>
                    <a:close/>
                    <a:moveTo>
                      <a:pt x="3800924" y="0"/>
                    </a:moveTo>
                    <a:lnTo>
                      <a:pt x="3815831" y="0"/>
                    </a:lnTo>
                    <a:lnTo>
                      <a:pt x="3815831" y="222980"/>
                    </a:lnTo>
                    <a:lnTo>
                      <a:pt x="3780543" y="222980"/>
                    </a:lnTo>
                    <a:lnTo>
                      <a:pt x="3780543" y="43197"/>
                    </a:lnTo>
                    <a:cubicBezTo>
                      <a:pt x="3774155" y="47760"/>
                      <a:pt x="3767285" y="51638"/>
                      <a:pt x="3759933" y="54832"/>
                    </a:cubicBezTo>
                    <a:cubicBezTo>
                      <a:pt x="3752582" y="58027"/>
                      <a:pt x="3744191" y="60840"/>
                      <a:pt x="3734761" y="63274"/>
                    </a:cubicBezTo>
                    <a:lnTo>
                      <a:pt x="3734761" y="33158"/>
                    </a:lnTo>
                    <a:cubicBezTo>
                      <a:pt x="3740642" y="31232"/>
                      <a:pt x="3746320" y="29204"/>
                      <a:pt x="3751796" y="27074"/>
                    </a:cubicBezTo>
                    <a:cubicBezTo>
                      <a:pt x="3757272" y="24945"/>
                      <a:pt x="3762671" y="22562"/>
                      <a:pt x="3767995" y="19925"/>
                    </a:cubicBezTo>
                    <a:cubicBezTo>
                      <a:pt x="3773318" y="17289"/>
                      <a:pt x="3778693" y="14348"/>
                      <a:pt x="3784117" y="11104"/>
                    </a:cubicBezTo>
                    <a:cubicBezTo>
                      <a:pt x="3789543" y="7859"/>
                      <a:pt x="3795145" y="4158"/>
                      <a:pt x="3800924" y="0"/>
                    </a:cubicBezTo>
                    <a:close/>
                    <a:moveTo>
                      <a:pt x="2923218" y="0"/>
                    </a:moveTo>
                    <a:lnTo>
                      <a:pt x="2938125" y="0"/>
                    </a:lnTo>
                    <a:lnTo>
                      <a:pt x="2938125" y="222980"/>
                    </a:lnTo>
                    <a:lnTo>
                      <a:pt x="2902837" y="222980"/>
                    </a:lnTo>
                    <a:lnTo>
                      <a:pt x="2902837" y="43197"/>
                    </a:lnTo>
                    <a:cubicBezTo>
                      <a:pt x="2896448" y="47760"/>
                      <a:pt x="2889579" y="51638"/>
                      <a:pt x="2882227" y="54832"/>
                    </a:cubicBezTo>
                    <a:cubicBezTo>
                      <a:pt x="2874875" y="58027"/>
                      <a:pt x="2866485" y="60840"/>
                      <a:pt x="2857054" y="63274"/>
                    </a:cubicBezTo>
                    <a:lnTo>
                      <a:pt x="2857054" y="33158"/>
                    </a:lnTo>
                    <a:cubicBezTo>
                      <a:pt x="2862935" y="31232"/>
                      <a:pt x="2868614" y="29204"/>
                      <a:pt x="2874090" y="27074"/>
                    </a:cubicBezTo>
                    <a:cubicBezTo>
                      <a:pt x="2879565" y="24945"/>
                      <a:pt x="2884965" y="22562"/>
                      <a:pt x="2890289" y="19925"/>
                    </a:cubicBezTo>
                    <a:cubicBezTo>
                      <a:pt x="2895612" y="17289"/>
                      <a:pt x="2900986" y="14348"/>
                      <a:pt x="2906411" y="11104"/>
                    </a:cubicBezTo>
                    <a:cubicBezTo>
                      <a:pt x="2911836" y="7859"/>
                      <a:pt x="2917438" y="4158"/>
                      <a:pt x="2923218" y="0"/>
                    </a:cubicBezTo>
                    <a:close/>
                    <a:moveTo>
                      <a:pt x="2050763" y="0"/>
                    </a:moveTo>
                    <a:lnTo>
                      <a:pt x="2065669" y="0"/>
                    </a:lnTo>
                    <a:lnTo>
                      <a:pt x="2065669" y="222980"/>
                    </a:lnTo>
                    <a:lnTo>
                      <a:pt x="2030381" y="222980"/>
                    </a:lnTo>
                    <a:lnTo>
                      <a:pt x="2030381" y="43197"/>
                    </a:lnTo>
                    <a:cubicBezTo>
                      <a:pt x="2023994" y="47760"/>
                      <a:pt x="2017123" y="51638"/>
                      <a:pt x="2009772" y="54832"/>
                    </a:cubicBezTo>
                    <a:cubicBezTo>
                      <a:pt x="2002420" y="58027"/>
                      <a:pt x="1994030" y="60840"/>
                      <a:pt x="1984599" y="63274"/>
                    </a:cubicBezTo>
                    <a:lnTo>
                      <a:pt x="1984599" y="33158"/>
                    </a:lnTo>
                    <a:cubicBezTo>
                      <a:pt x="1990480" y="31232"/>
                      <a:pt x="1996159" y="29204"/>
                      <a:pt x="2001634" y="27074"/>
                    </a:cubicBezTo>
                    <a:cubicBezTo>
                      <a:pt x="2007110" y="24945"/>
                      <a:pt x="2012510" y="22562"/>
                      <a:pt x="2017833" y="19925"/>
                    </a:cubicBezTo>
                    <a:cubicBezTo>
                      <a:pt x="2023157" y="17289"/>
                      <a:pt x="2028531" y="14348"/>
                      <a:pt x="2033956" y="11104"/>
                    </a:cubicBezTo>
                    <a:cubicBezTo>
                      <a:pt x="2039381" y="7859"/>
                      <a:pt x="2044983" y="4158"/>
                      <a:pt x="2050763" y="0"/>
                    </a:cubicBezTo>
                    <a:close/>
                    <a:moveTo>
                      <a:pt x="66164" y="0"/>
                    </a:moveTo>
                    <a:lnTo>
                      <a:pt x="81070" y="0"/>
                    </a:lnTo>
                    <a:lnTo>
                      <a:pt x="81070" y="222980"/>
                    </a:lnTo>
                    <a:lnTo>
                      <a:pt x="45782" y="222980"/>
                    </a:lnTo>
                    <a:lnTo>
                      <a:pt x="45782" y="43197"/>
                    </a:lnTo>
                    <a:cubicBezTo>
                      <a:pt x="39394" y="47760"/>
                      <a:pt x="32525" y="51638"/>
                      <a:pt x="25173" y="54832"/>
                    </a:cubicBezTo>
                    <a:cubicBezTo>
                      <a:pt x="17821" y="58027"/>
                      <a:pt x="9431" y="60840"/>
                      <a:pt x="0" y="63274"/>
                    </a:cubicBezTo>
                    <a:lnTo>
                      <a:pt x="0" y="33158"/>
                    </a:lnTo>
                    <a:cubicBezTo>
                      <a:pt x="5881" y="31232"/>
                      <a:pt x="11560" y="29204"/>
                      <a:pt x="17035" y="27074"/>
                    </a:cubicBezTo>
                    <a:cubicBezTo>
                      <a:pt x="22511" y="24945"/>
                      <a:pt x="27911" y="22562"/>
                      <a:pt x="33234" y="19925"/>
                    </a:cubicBezTo>
                    <a:cubicBezTo>
                      <a:pt x="38558" y="17289"/>
                      <a:pt x="43932" y="14348"/>
                      <a:pt x="49357" y="11104"/>
                    </a:cubicBezTo>
                    <a:cubicBezTo>
                      <a:pt x="54782" y="7859"/>
                      <a:pt x="60384" y="4158"/>
                      <a:pt x="661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sp>
            <p:nvSpPr>
              <p:cNvPr id="394" name="Freeform 393"/>
              <p:cNvSpPr/>
              <p:nvPr/>
            </p:nvSpPr>
            <p:spPr>
              <a:xfrm>
                <a:off x="37549" y="2881001"/>
                <a:ext cx="11930425" cy="224991"/>
              </a:xfrm>
              <a:custGeom>
                <a:avLst/>
                <a:gdLst>
                  <a:gd name="connsiteX0" fmla="*/ 10087086 w 11930425"/>
                  <a:gd name="connsiteY0" fmla="*/ 29845 h 224991"/>
                  <a:gd name="connsiteX1" fmla="*/ 10047816 w 11930425"/>
                  <a:gd name="connsiteY1" fmla="*/ 116359 h 224991"/>
                  <a:gd name="connsiteX2" fmla="*/ 10086334 w 11930425"/>
                  <a:gd name="connsiteY2" fmla="*/ 197306 h 224991"/>
                  <a:gd name="connsiteX3" fmla="*/ 10124249 w 11930425"/>
                  <a:gd name="connsiteY3" fmla="*/ 115005 h 224991"/>
                  <a:gd name="connsiteX4" fmla="*/ 10087086 w 11930425"/>
                  <a:gd name="connsiteY4" fmla="*/ 29845 h 224991"/>
                  <a:gd name="connsiteX5" fmla="*/ 9866163 w 11930425"/>
                  <a:gd name="connsiteY5" fmla="*/ 29845 h 224991"/>
                  <a:gd name="connsiteX6" fmla="*/ 9826893 w 11930425"/>
                  <a:gd name="connsiteY6" fmla="*/ 116359 h 224991"/>
                  <a:gd name="connsiteX7" fmla="*/ 9865411 w 11930425"/>
                  <a:gd name="connsiteY7" fmla="*/ 197306 h 224991"/>
                  <a:gd name="connsiteX8" fmla="*/ 9903326 w 11930425"/>
                  <a:gd name="connsiteY8" fmla="*/ 115005 h 224991"/>
                  <a:gd name="connsiteX9" fmla="*/ 9866163 w 11930425"/>
                  <a:gd name="connsiteY9" fmla="*/ 29845 h 224991"/>
                  <a:gd name="connsiteX10" fmla="*/ 9204502 w 11930425"/>
                  <a:gd name="connsiteY10" fmla="*/ 29845 h 224991"/>
                  <a:gd name="connsiteX11" fmla="*/ 9165232 w 11930425"/>
                  <a:gd name="connsiteY11" fmla="*/ 116359 h 224991"/>
                  <a:gd name="connsiteX12" fmla="*/ 9203750 w 11930425"/>
                  <a:gd name="connsiteY12" fmla="*/ 197306 h 224991"/>
                  <a:gd name="connsiteX13" fmla="*/ 9241665 w 11930425"/>
                  <a:gd name="connsiteY13" fmla="*/ 115005 h 224991"/>
                  <a:gd name="connsiteX14" fmla="*/ 9204502 w 11930425"/>
                  <a:gd name="connsiteY14" fmla="*/ 29845 h 224991"/>
                  <a:gd name="connsiteX15" fmla="*/ 8983579 w 11930425"/>
                  <a:gd name="connsiteY15" fmla="*/ 29845 h 224991"/>
                  <a:gd name="connsiteX16" fmla="*/ 8944309 w 11930425"/>
                  <a:gd name="connsiteY16" fmla="*/ 116359 h 224991"/>
                  <a:gd name="connsiteX17" fmla="*/ 8982827 w 11930425"/>
                  <a:gd name="connsiteY17" fmla="*/ 197306 h 224991"/>
                  <a:gd name="connsiteX18" fmla="*/ 9020742 w 11930425"/>
                  <a:gd name="connsiteY18" fmla="*/ 115005 h 224991"/>
                  <a:gd name="connsiteX19" fmla="*/ 8983579 w 11930425"/>
                  <a:gd name="connsiteY19" fmla="*/ 29845 h 224991"/>
                  <a:gd name="connsiteX20" fmla="*/ 6134117 w 11930425"/>
                  <a:gd name="connsiteY20" fmla="*/ 29845 h 224991"/>
                  <a:gd name="connsiteX21" fmla="*/ 6094847 w 11930425"/>
                  <a:gd name="connsiteY21" fmla="*/ 116359 h 224991"/>
                  <a:gd name="connsiteX22" fmla="*/ 6133365 w 11930425"/>
                  <a:gd name="connsiteY22" fmla="*/ 197306 h 224991"/>
                  <a:gd name="connsiteX23" fmla="*/ 6171280 w 11930425"/>
                  <a:gd name="connsiteY23" fmla="*/ 115005 h 224991"/>
                  <a:gd name="connsiteX24" fmla="*/ 6134117 w 11930425"/>
                  <a:gd name="connsiteY24" fmla="*/ 29845 h 224991"/>
                  <a:gd name="connsiteX25" fmla="*/ 4031033 w 11930425"/>
                  <a:gd name="connsiteY25" fmla="*/ 29845 h 224991"/>
                  <a:gd name="connsiteX26" fmla="*/ 3991763 w 11930425"/>
                  <a:gd name="connsiteY26" fmla="*/ 116359 h 224991"/>
                  <a:gd name="connsiteX27" fmla="*/ 4030281 w 11930425"/>
                  <a:gd name="connsiteY27" fmla="*/ 197306 h 224991"/>
                  <a:gd name="connsiteX28" fmla="*/ 4068196 w 11930425"/>
                  <a:gd name="connsiteY28" fmla="*/ 115005 h 224991"/>
                  <a:gd name="connsiteX29" fmla="*/ 4031033 w 11930425"/>
                  <a:gd name="connsiteY29" fmla="*/ 29845 h 224991"/>
                  <a:gd name="connsiteX30" fmla="*/ 3810110 w 11930425"/>
                  <a:gd name="connsiteY30" fmla="*/ 29845 h 224991"/>
                  <a:gd name="connsiteX31" fmla="*/ 3770840 w 11930425"/>
                  <a:gd name="connsiteY31" fmla="*/ 116359 h 224991"/>
                  <a:gd name="connsiteX32" fmla="*/ 3809357 w 11930425"/>
                  <a:gd name="connsiteY32" fmla="*/ 197306 h 224991"/>
                  <a:gd name="connsiteX33" fmla="*/ 3847273 w 11930425"/>
                  <a:gd name="connsiteY33" fmla="*/ 115005 h 224991"/>
                  <a:gd name="connsiteX34" fmla="*/ 3810110 w 11930425"/>
                  <a:gd name="connsiteY34" fmla="*/ 29845 h 224991"/>
                  <a:gd name="connsiteX35" fmla="*/ 3148450 w 11930425"/>
                  <a:gd name="connsiteY35" fmla="*/ 29845 h 224991"/>
                  <a:gd name="connsiteX36" fmla="*/ 3109180 w 11930425"/>
                  <a:gd name="connsiteY36" fmla="*/ 116359 h 224991"/>
                  <a:gd name="connsiteX37" fmla="*/ 3147697 w 11930425"/>
                  <a:gd name="connsiteY37" fmla="*/ 197306 h 224991"/>
                  <a:gd name="connsiteX38" fmla="*/ 3185613 w 11930425"/>
                  <a:gd name="connsiteY38" fmla="*/ 115005 h 224991"/>
                  <a:gd name="connsiteX39" fmla="*/ 3148450 w 11930425"/>
                  <a:gd name="connsiteY39" fmla="*/ 29845 h 224991"/>
                  <a:gd name="connsiteX40" fmla="*/ 2927527 w 11930425"/>
                  <a:gd name="connsiteY40" fmla="*/ 29845 h 224991"/>
                  <a:gd name="connsiteX41" fmla="*/ 2888257 w 11930425"/>
                  <a:gd name="connsiteY41" fmla="*/ 116359 h 224991"/>
                  <a:gd name="connsiteX42" fmla="*/ 2926774 w 11930425"/>
                  <a:gd name="connsiteY42" fmla="*/ 197306 h 224991"/>
                  <a:gd name="connsiteX43" fmla="*/ 2964690 w 11930425"/>
                  <a:gd name="connsiteY43" fmla="*/ 115005 h 224991"/>
                  <a:gd name="connsiteX44" fmla="*/ 2927527 w 11930425"/>
                  <a:gd name="connsiteY44" fmla="*/ 29845 h 224991"/>
                  <a:gd name="connsiteX45" fmla="*/ 74929 w 11930425"/>
                  <a:gd name="connsiteY45" fmla="*/ 27835 h 224991"/>
                  <a:gd name="connsiteX46" fmla="*/ 35659 w 11930425"/>
                  <a:gd name="connsiteY46" fmla="*/ 114349 h 224991"/>
                  <a:gd name="connsiteX47" fmla="*/ 74177 w 11930425"/>
                  <a:gd name="connsiteY47" fmla="*/ 195296 h 224991"/>
                  <a:gd name="connsiteX48" fmla="*/ 112092 w 11930425"/>
                  <a:gd name="connsiteY48" fmla="*/ 112995 h 224991"/>
                  <a:gd name="connsiteX49" fmla="*/ 74929 w 11930425"/>
                  <a:gd name="connsiteY49" fmla="*/ 27835 h 224991"/>
                  <a:gd name="connsiteX50" fmla="*/ 11915519 w 11930425"/>
                  <a:gd name="connsiteY50" fmla="*/ 2011 h 224991"/>
                  <a:gd name="connsiteX51" fmla="*/ 11930425 w 11930425"/>
                  <a:gd name="connsiteY51" fmla="*/ 2011 h 224991"/>
                  <a:gd name="connsiteX52" fmla="*/ 11930425 w 11930425"/>
                  <a:gd name="connsiteY52" fmla="*/ 224991 h 224991"/>
                  <a:gd name="connsiteX53" fmla="*/ 11895137 w 11930425"/>
                  <a:gd name="connsiteY53" fmla="*/ 224991 h 224991"/>
                  <a:gd name="connsiteX54" fmla="*/ 11895137 w 11930425"/>
                  <a:gd name="connsiteY54" fmla="*/ 45208 h 224991"/>
                  <a:gd name="connsiteX55" fmla="*/ 11874528 w 11930425"/>
                  <a:gd name="connsiteY55" fmla="*/ 56843 h 224991"/>
                  <a:gd name="connsiteX56" fmla="*/ 11849355 w 11930425"/>
                  <a:gd name="connsiteY56" fmla="*/ 65285 h 224991"/>
                  <a:gd name="connsiteX57" fmla="*/ 11849355 w 11930425"/>
                  <a:gd name="connsiteY57" fmla="*/ 35169 h 224991"/>
                  <a:gd name="connsiteX58" fmla="*/ 11866390 w 11930425"/>
                  <a:gd name="connsiteY58" fmla="*/ 29085 h 224991"/>
                  <a:gd name="connsiteX59" fmla="*/ 11882589 w 11930425"/>
                  <a:gd name="connsiteY59" fmla="*/ 21936 h 224991"/>
                  <a:gd name="connsiteX60" fmla="*/ 11898712 w 11930425"/>
                  <a:gd name="connsiteY60" fmla="*/ 13115 h 224991"/>
                  <a:gd name="connsiteX61" fmla="*/ 11915519 w 11930425"/>
                  <a:gd name="connsiteY61" fmla="*/ 2011 h 224991"/>
                  <a:gd name="connsiteX62" fmla="*/ 11532651 w 11930425"/>
                  <a:gd name="connsiteY62" fmla="*/ 2011 h 224991"/>
                  <a:gd name="connsiteX63" fmla="*/ 11547557 w 11930425"/>
                  <a:gd name="connsiteY63" fmla="*/ 2011 h 224991"/>
                  <a:gd name="connsiteX64" fmla="*/ 11547557 w 11930425"/>
                  <a:gd name="connsiteY64" fmla="*/ 224991 h 224991"/>
                  <a:gd name="connsiteX65" fmla="*/ 11512269 w 11930425"/>
                  <a:gd name="connsiteY65" fmla="*/ 224991 h 224991"/>
                  <a:gd name="connsiteX66" fmla="*/ 11512269 w 11930425"/>
                  <a:gd name="connsiteY66" fmla="*/ 45208 h 224991"/>
                  <a:gd name="connsiteX67" fmla="*/ 11491660 w 11930425"/>
                  <a:gd name="connsiteY67" fmla="*/ 56843 h 224991"/>
                  <a:gd name="connsiteX68" fmla="*/ 11466487 w 11930425"/>
                  <a:gd name="connsiteY68" fmla="*/ 65285 h 224991"/>
                  <a:gd name="connsiteX69" fmla="*/ 11466487 w 11930425"/>
                  <a:gd name="connsiteY69" fmla="*/ 35169 h 224991"/>
                  <a:gd name="connsiteX70" fmla="*/ 11483522 w 11930425"/>
                  <a:gd name="connsiteY70" fmla="*/ 29085 h 224991"/>
                  <a:gd name="connsiteX71" fmla="*/ 11499721 w 11930425"/>
                  <a:gd name="connsiteY71" fmla="*/ 21936 h 224991"/>
                  <a:gd name="connsiteX72" fmla="*/ 11515844 w 11930425"/>
                  <a:gd name="connsiteY72" fmla="*/ 13115 h 224991"/>
                  <a:gd name="connsiteX73" fmla="*/ 11532651 w 11930425"/>
                  <a:gd name="connsiteY73" fmla="*/ 2011 h 224991"/>
                  <a:gd name="connsiteX74" fmla="*/ 11388525 w 11930425"/>
                  <a:gd name="connsiteY74" fmla="*/ 2011 h 224991"/>
                  <a:gd name="connsiteX75" fmla="*/ 11403431 w 11930425"/>
                  <a:gd name="connsiteY75" fmla="*/ 2011 h 224991"/>
                  <a:gd name="connsiteX76" fmla="*/ 11403431 w 11930425"/>
                  <a:gd name="connsiteY76" fmla="*/ 224991 h 224991"/>
                  <a:gd name="connsiteX77" fmla="*/ 11368143 w 11930425"/>
                  <a:gd name="connsiteY77" fmla="*/ 224991 h 224991"/>
                  <a:gd name="connsiteX78" fmla="*/ 11368143 w 11930425"/>
                  <a:gd name="connsiteY78" fmla="*/ 45208 h 224991"/>
                  <a:gd name="connsiteX79" fmla="*/ 11347534 w 11930425"/>
                  <a:gd name="connsiteY79" fmla="*/ 56843 h 224991"/>
                  <a:gd name="connsiteX80" fmla="*/ 11322361 w 11930425"/>
                  <a:gd name="connsiteY80" fmla="*/ 65285 h 224991"/>
                  <a:gd name="connsiteX81" fmla="*/ 11322361 w 11930425"/>
                  <a:gd name="connsiteY81" fmla="*/ 35169 h 224991"/>
                  <a:gd name="connsiteX82" fmla="*/ 11339396 w 11930425"/>
                  <a:gd name="connsiteY82" fmla="*/ 29085 h 224991"/>
                  <a:gd name="connsiteX83" fmla="*/ 11355595 w 11930425"/>
                  <a:gd name="connsiteY83" fmla="*/ 21936 h 224991"/>
                  <a:gd name="connsiteX84" fmla="*/ 11371718 w 11930425"/>
                  <a:gd name="connsiteY84" fmla="*/ 13115 h 224991"/>
                  <a:gd name="connsiteX85" fmla="*/ 11388525 w 11930425"/>
                  <a:gd name="connsiteY85" fmla="*/ 2011 h 224991"/>
                  <a:gd name="connsiteX86" fmla="*/ 11244400 w 11930425"/>
                  <a:gd name="connsiteY86" fmla="*/ 2011 h 224991"/>
                  <a:gd name="connsiteX87" fmla="*/ 11259306 w 11930425"/>
                  <a:gd name="connsiteY87" fmla="*/ 2011 h 224991"/>
                  <a:gd name="connsiteX88" fmla="*/ 11259306 w 11930425"/>
                  <a:gd name="connsiteY88" fmla="*/ 224991 h 224991"/>
                  <a:gd name="connsiteX89" fmla="*/ 11224018 w 11930425"/>
                  <a:gd name="connsiteY89" fmla="*/ 224991 h 224991"/>
                  <a:gd name="connsiteX90" fmla="*/ 11224018 w 11930425"/>
                  <a:gd name="connsiteY90" fmla="*/ 45208 h 224991"/>
                  <a:gd name="connsiteX91" fmla="*/ 11203409 w 11930425"/>
                  <a:gd name="connsiteY91" fmla="*/ 56843 h 224991"/>
                  <a:gd name="connsiteX92" fmla="*/ 11178236 w 11930425"/>
                  <a:gd name="connsiteY92" fmla="*/ 65285 h 224991"/>
                  <a:gd name="connsiteX93" fmla="*/ 11178236 w 11930425"/>
                  <a:gd name="connsiteY93" fmla="*/ 35169 h 224991"/>
                  <a:gd name="connsiteX94" fmla="*/ 11195271 w 11930425"/>
                  <a:gd name="connsiteY94" fmla="*/ 29085 h 224991"/>
                  <a:gd name="connsiteX95" fmla="*/ 11211470 w 11930425"/>
                  <a:gd name="connsiteY95" fmla="*/ 21936 h 224991"/>
                  <a:gd name="connsiteX96" fmla="*/ 11227593 w 11930425"/>
                  <a:gd name="connsiteY96" fmla="*/ 13115 h 224991"/>
                  <a:gd name="connsiteX97" fmla="*/ 11244400 w 11930425"/>
                  <a:gd name="connsiteY97" fmla="*/ 2011 h 224991"/>
                  <a:gd name="connsiteX98" fmla="*/ 11100275 w 11930425"/>
                  <a:gd name="connsiteY98" fmla="*/ 2011 h 224991"/>
                  <a:gd name="connsiteX99" fmla="*/ 11115181 w 11930425"/>
                  <a:gd name="connsiteY99" fmla="*/ 2011 h 224991"/>
                  <a:gd name="connsiteX100" fmla="*/ 11115181 w 11930425"/>
                  <a:gd name="connsiteY100" fmla="*/ 224991 h 224991"/>
                  <a:gd name="connsiteX101" fmla="*/ 11079893 w 11930425"/>
                  <a:gd name="connsiteY101" fmla="*/ 224991 h 224991"/>
                  <a:gd name="connsiteX102" fmla="*/ 11079893 w 11930425"/>
                  <a:gd name="connsiteY102" fmla="*/ 45208 h 224991"/>
                  <a:gd name="connsiteX103" fmla="*/ 11059284 w 11930425"/>
                  <a:gd name="connsiteY103" fmla="*/ 56843 h 224991"/>
                  <a:gd name="connsiteX104" fmla="*/ 11034111 w 11930425"/>
                  <a:gd name="connsiteY104" fmla="*/ 65285 h 224991"/>
                  <a:gd name="connsiteX105" fmla="*/ 11034111 w 11930425"/>
                  <a:gd name="connsiteY105" fmla="*/ 35169 h 224991"/>
                  <a:gd name="connsiteX106" fmla="*/ 11051146 w 11930425"/>
                  <a:gd name="connsiteY106" fmla="*/ 29085 h 224991"/>
                  <a:gd name="connsiteX107" fmla="*/ 11067345 w 11930425"/>
                  <a:gd name="connsiteY107" fmla="*/ 21936 h 224991"/>
                  <a:gd name="connsiteX108" fmla="*/ 11083468 w 11930425"/>
                  <a:gd name="connsiteY108" fmla="*/ 13115 h 224991"/>
                  <a:gd name="connsiteX109" fmla="*/ 11100275 w 11930425"/>
                  <a:gd name="connsiteY109" fmla="*/ 2011 h 224991"/>
                  <a:gd name="connsiteX110" fmla="*/ 10956150 w 11930425"/>
                  <a:gd name="connsiteY110" fmla="*/ 2011 h 224991"/>
                  <a:gd name="connsiteX111" fmla="*/ 10971056 w 11930425"/>
                  <a:gd name="connsiteY111" fmla="*/ 2011 h 224991"/>
                  <a:gd name="connsiteX112" fmla="*/ 10971056 w 11930425"/>
                  <a:gd name="connsiteY112" fmla="*/ 224991 h 224991"/>
                  <a:gd name="connsiteX113" fmla="*/ 10935768 w 11930425"/>
                  <a:gd name="connsiteY113" fmla="*/ 224991 h 224991"/>
                  <a:gd name="connsiteX114" fmla="*/ 10935768 w 11930425"/>
                  <a:gd name="connsiteY114" fmla="*/ 45208 h 224991"/>
                  <a:gd name="connsiteX115" fmla="*/ 10915159 w 11930425"/>
                  <a:gd name="connsiteY115" fmla="*/ 56843 h 224991"/>
                  <a:gd name="connsiteX116" fmla="*/ 10889986 w 11930425"/>
                  <a:gd name="connsiteY116" fmla="*/ 65285 h 224991"/>
                  <a:gd name="connsiteX117" fmla="*/ 10889986 w 11930425"/>
                  <a:gd name="connsiteY117" fmla="*/ 35169 h 224991"/>
                  <a:gd name="connsiteX118" fmla="*/ 10907021 w 11930425"/>
                  <a:gd name="connsiteY118" fmla="*/ 29085 h 224991"/>
                  <a:gd name="connsiteX119" fmla="*/ 10923220 w 11930425"/>
                  <a:gd name="connsiteY119" fmla="*/ 21936 h 224991"/>
                  <a:gd name="connsiteX120" fmla="*/ 10939343 w 11930425"/>
                  <a:gd name="connsiteY120" fmla="*/ 13115 h 224991"/>
                  <a:gd name="connsiteX121" fmla="*/ 10956150 w 11930425"/>
                  <a:gd name="connsiteY121" fmla="*/ 2011 h 224991"/>
                  <a:gd name="connsiteX122" fmla="*/ 10567917 w 11930425"/>
                  <a:gd name="connsiteY122" fmla="*/ 2011 h 224991"/>
                  <a:gd name="connsiteX123" fmla="*/ 10582823 w 11930425"/>
                  <a:gd name="connsiteY123" fmla="*/ 2011 h 224991"/>
                  <a:gd name="connsiteX124" fmla="*/ 10582823 w 11930425"/>
                  <a:gd name="connsiteY124" fmla="*/ 224991 h 224991"/>
                  <a:gd name="connsiteX125" fmla="*/ 10547535 w 11930425"/>
                  <a:gd name="connsiteY125" fmla="*/ 224991 h 224991"/>
                  <a:gd name="connsiteX126" fmla="*/ 10547535 w 11930425"/>
                  <a:gd name="connsiteY126" fmla="*/ 45208 h 224991"/>
                  <a:gd name="connsiteX127" fmla="*/ 10526926 w 11930425"/>
                  <a:gd name="connsiteY127" fmla="*/ 56843 h 224991"/>
                  <a:gd name="connsiteX128" fmla="*/ 10501753 w 11930425"/>
                  <a:gd name="connsiteY128" fmla="*/ 65285 h 224991"/>
                  <a:gd name="connsiteX129" fmla="*/ 10501753 w 11930425"/>
                  <a:gd name="connsiteY129" fmla="*/ 35169 h 224991"/>
                  <a:gd name="connsiteX130" fmla="*/ 10518788 w 11930425"/>
                  <a:gd name="connsiteY130" fmla="*/ 29085 h 224991"/>
                  <a:gd name="connsiteX131" fmla="*/ 10534987 w 11930425"/>
                  <a:gd name="connsiteY131" fmla="*/ 21936 h 224991"/>
                  <a:gd name="connsiteX132" fmla="*/ 10551110 w 11930425"/>
                  <a:gd name="connsiteY132" fmla="*/ 13115 h 224991"/>
                  <a:gd name="connsiteX133" fmla="*/ 10567917 w 11930425"/>
                  <a:gd name="connsiteY133" fmla="*/ 2011 h 224991"/>
                  <a:gd name="connsiteX134" fmla="*/ 10301809 w 11930425"/>
                  <a:gd name="connsiteY134" fmla="*/ 2011 h 224991"/>
                  <a:gd name="connsiteX135" fmla="*/ 10316715 w 11930425"/>
                  <a:gd name="connsiteY135" fmla="*/ 2011 h 224991"/>
                  <a:gd name="connsiteX136" fmla="*/ 10316715 w 11930425"/>
                  <a:gd name="connsiteY136" fmla="*/ 224991 h 224991"/>
                  <a:gd name="connsiteX137" fmla="*/ 10281427 w 11930425"/>
                  <a:gd name="connsiteY137" fmla="*/ 224991 h 224991"/>
                  <a:gd name="connsiteX138" fmla="*/ 10281427 w 11930425"/>
                  <a:gd name="connsiteY138" fmla="*/ 45208 h 224991"/>
                  <a:gd name="connsiteX139" fmla="*/ 10260818 w 11930425"/>
                  <a:gd name="connsiteY139" fmla="*/ 56843 h 224991"/>
                  <a:gd name="connsiteX140" fmla="*/ 10235645 w 11930425"/>
                  <a:gd name="connsiteY140" fmla="*/ 65285 h 224991"/>
                  <a:gd name="connsiteX141" fmla="*/ 10235645 w 11930425"/>
                  <a:gd name="connsiteY141" fmla="*/ 35169 h 224991"/>
                  <a:gd name="connsiteX142" fmla="*/ 10252680 w 11930425"/>
                  <a:gd name="connsiteY142" fmla="*/ 29085 h 224991"/>
                  <a:gd name="connsiteX143" fmla="*/ 10268879 w 11930425"/>
                  <a:gd name="connsiteY143" fmla="*/ 21936 h 224991"/>
                  <a:gd name="connsiteX144" fmla="*/ 10285002 w 11930425"/>
                  <a:gd name="connsiteY144" fmla="*/ 13115 h 224991"/>
                  <a:gd name="connsiteX145" fmla="*/ 10301809 w 11930425"/>
                  <a:gd name="connsiteY145" fmla="*/ 2011 h 224991"/>
                  <a:gd name="connsiteX146" fmla="*/ 9690210 w 11930425"/>
                  <a:gd name="connsiteY146" fmla="*/ 2011 h 224991"/>
                  <a:gd name="connsiteX147" fmla="*/ 9705116 w 11930425"/>
                  <a:gd name="connsiteY147" fmla="*/ 2011 h 224991"/>
                  <a:gd name="connsiteX148" fmla="*/ 9705116 w 11930425"/>
                  <a:gd name="connsiteY148" fmla="*/ 224991 h 224991"/>
                  <a:gd name="connsiteX149" fmla="*/ 9669828 w 11930425"/>
                  <a:gd name="connsiteY149" fmla="*/ 224991 h 224991"/>
                  <a:gd name="connsiteX150" fmla="*/ 9669828 w 11930425"/>
                  <a:gd name="connsiteY150" fmla="*/ 45208 h 224991"/>
                  <a:gd name="connsiteX151" fmla="*/ 9649219 w 11930425"/>
                  <a:gd name="connsiteY151" fmla="*/ 56843 h 224991"/>
                  <a:gd name="connsiteX152" fmla="*/ 9624046 w 11930425"/>
                  <a:gd name="connsiteY152" fmla="*/ 65285 h 224991"/>
                  <a:gd name="connsiteX153" fmla="*/ 9624046 w 11930425"/>
                  <a:gd name="connsiteY153" fmla="*/ 35169 h 224991"/>
                  <a:gd name="connsiteX154" fmla="*/ 9641081 w 11930425"/>
                  <a:gd name="connsiteY154" fmla="*/ 29085 h 224991"/>
                  <a:gd name="connsiteX155" fmla="*/ 9657280 w 11930425"/>
                  <a:gd name="connsiteY155" fmla="*/ 21936 h 224991"/>
                  <a:gd name="connsiteX156" fmla="*/ 9673403 w 11930425"/>
                  <a:gd name="connsiteY156" fmla="*/ 13115 h 224991"/>
                  <a:gd name="connsiteX157" fmla="*/ 9690210 w 11930425"/>
                  <a:gd name="connsiteY157" fmla="*/ 2011 h 224991"/>
                  <a:gd name="connsiteX158" fmla="*/ 9424101 w 11930425"/>
                  <a:gd name="connsiteY158" fmla="*/ 2011 h 224991"/>
                  <a:gd name="connsiteX159" fmla="*/ 9439007 w 11930425"/>
                  <a:gd name="connsiteY159" fmla="*/ 2011 h 224991"/>
                  <a:gd name="connsiteX160" fmla="*/ 9439007 w 11930425"/>
                  <a:gd name="connsiteY160" fmla="*/ 224991 h 224991"/>
                  <a:gd name="connsiteX161" fmla="*/ 9403719 w 11930425"/>
                  <a:gd name="connsiteY161" fmla="*/ 224991 h 224991"/>
                  <a:gd name="connsiteX162" fmla="*/ 9403719 w 11930425"/>
                  <a:gd name="connsiteY162" fmla="*/ 45208 h 224991"/>
                  <a:gd name="connsiteX163" fmla="*/ 9383110 w 11930425"/>
                  <a:gd name="connsiteY163" fmla="*/ 56843 h 224991"/>
                  <a:gd name="connsiteX164" fmla="*/ 9357937 w 11930425"/>
                  <a:gd name="connsiteY164" fmla="*/ 65285 h 224991"/>
                  <a:gd name="connsiteX165" fmla="*/ 9357937 w 11930425"/>
                  <a:gd name="connsiteY165" fmla="*/ 35169 h 224991"/>
                  <a:gd name="connsiteX166" fmla="*/ 9374972 w 11930425"/>
                  <a:gd name="connsiteY166" fmla="*/ 29085 h 224991"/>
                  <a:gd name="connsiteX167" fmla="*/ 9391171 w 11930425"/>
                  <a:gd name="connsiteY167" fmla="*/ 21936 h 224991"/>
                  <a:gd name="connsiteX168" fmla="*/ 9407294 w 11930425"/>
                  <a:gd name="connsiteY168" fmla="*/ 13115 h 224991"/>
                  <a:gd name="connsiteX169" fmla="*/ 9424101 w 11930425"/>
                  <a:gd name="connsiteY169" fmla="*/ 2011 h 224991"/>
                  <a:gd name="connsiteX170" fmla="*/ 8817754 w 11930425"/>
                  <a:gd name="connsiteY170" fmla="*/ 2011 h 224991"/>
                  <a:gd name="connsiteX171" fmla="*/ 8832660 w 11930425"/>
                  <a:gd name="connsiteY171" fmla="*/ 2011 h 224991"/>
                  <a:gd name="connsiteX172" fmla="*/ 8832660 w 11930425"/>
                  <a:gd name="connsiteY172" fmla="*/ 224991 h 224991"/>
                  <a:gd name="connsiteX173" fmla="*/ 8797372 w 11930425"/>
                  <a:gd name="connsiteY173" fmla="*/ 224991 h 224991"/>
                  <a:gd name="connsiteX174" fmla="*/ 8797372 w 11930425"/>
                  <a:gd name="connsiteY174" fmla="*/ 45208 h 224991"/>
                  <a:gd name="connsiteX175" fmla="*/ 8776763 w 11930425"/>
                  <a:gd name="connsiteY175" fmla="*/ 56843 h 224991"/>
                  <a:gd name="connsiteX176" fmla="*/ 8751590 w 11930425"/>
                  <a:gd name="connsiteY176" fmla="*/ 65285 h 224991"/>
                  <a:gd name="connsiteX177" fmla="*/ 8751590 w 11930425"/>
                  <a:gd name="connsiteY177" fmla="*/ 35169 h 224991"/>
                  <a:gd name="connsiteX178" fmla="*/ 8768625 w 11930425"/>
                  <a:gd name="connsiteY178" fmla="*/ 29085 h 224991"/>
                  <a:gd name="connsiteX179" fmla="*/ 8784824 w 11930425"/>
                  <a:gd name="connsiteY179" fmla="*/ 21936 h 224991"/>
                  <a:gd name="connsiteX180" fmla="*/ 8800947 w 11930425"/>
                  <a:gd name="connsiteY180" fmla="*/ 13115 h 224991"/>
                  <a:gd name="connsiteX181" fmla="*/ 8817754 w 11930425"/>
                  <a:gd name="connsiteY181" fmla="*/ 2011 h 224991"/>
                  <a:gd name="connsiteX182" fmla="*/ 8551646 w 11930425"/>
                  <a:gd name="connsiteY182" fmla="*/ 2011 h 224991"/>
                  <a:gd name="connsiteX183" fmla="*/ 8566552 w 11930425"/>
                  <a:gd name="connsiteY183" fmla="*/ 2011 h 224991"/>
                  <a:gd name="connsiteX184" fmla="*/ 8566552 w 11930425"/>
                  <a:gd name="connsiteY184" fmla="*/ 224991 h 224991"/>
                  <a:gd name="connsiteX185" fmla="*/ 8531264 w 11930425"/>
                  <a:gd name="connsiteY185" fmla="*/ 224991 h 224991"/>
                  <a:gd name="connsiteX186" fmla="*/ 8531264 w 11930425"/>
                  <a:gd name="connsiteY186" fmla="*/ 45208 h 224991"/>
                  <a:gd name="connsiteX187" fmla="*/ 8510655 w 11930425"/>
                  <a:gd name="connsiteY187" fmla="*/ 56843 h 224991"/>
                  <a:gd name="connsiteX188" fmla="*/ 8485482 w 11930425"/>
                  <a:gd name="connsiteY188" fmla="*/ 65285 h 224991"/>
                  <a:gd name="connsiteX189" fmla="*/ 8485482 w 11930425"/>
                  <a:gd name="connsiteY189" fmla="*/ 35169 h 224991"/>
                  <a:gd name="connsiteX190" fmla="*/ 8502517 w 11930425"/>
                  <a:gd name="connsiteY190" fmla="*/ 29085 h 224991"/>
                  <a:gd name="connsiteX191" fmla="*/ 8518716 w 11930425"/>
                  <a:gd name="connsiteY191" fmla="*/ 21936 h 224991"/>
                  <a:gd name="connsiteX192" fmla="*/ 8534839 w 11930425"/>
                  <a:gd name="connsiteY192" fmla="*/ 13115 h 224991"/>
                  <a:gd name="connsiteX193" fmla="*/ 8551646 w 11930425"/>
                  <a:gd name="connsiteY193" fmla="*/ 2011 h 224991"/>
                  <a:gd name="connsiteX194" fmla="*/ 8139878 w 11930425"/>
                  <a:gd name="connsiteY194" fmla="*/ 2011 h 224991"/>
                  <a:gd name="connsiteX195" fmla="*/ 8154785 w 11930425"/>
                  <a:gd name="connsiteY195" fmla="*/ 2011 h 224991"/>
                  <a:gd name="connsiteX196" fmla="*/ 8154785 w 11930425"/>
                  <a:gd name="connsiteY196" fmla="*/ 224991 h 224991"/>
                  <a:gd name="connsiteX197" fmla="*/ 8119497 w 11930425"/>
                  <a:gd name="connsiteY197" fmla="*/ 224991 h 224991"/>
                  <a:gd name="connsiteX198" fmla="*/ 8119497 w 11930425"/>
                  <a:gd name="connsiteY198" fmla="*/ 45208 h 224991"/>
                  <a:gd name="connsiteX199" fmla="*/ 8098887 w 11930425"/>
                  <a:gd name="connsiteY199" fmla="*/ 56843 h 224991"/>
                  <a:gd name="connsiteX200" fmla="*/ 8073715 w 11930425"/>
                  <a:gd name="connsiteY200" fmla="*/ 65285 h 224991"/>
                  <a:gd name="connsiteX201" fmla="*/ 8073715 w 11930425"/>
                  <a:gd name="connsiteY201" fmla="*/ 35169 h 224991"/>
                  <a:gd name="connsiteX202" fmla="*/ 8090750 w 11930425"/>
                  <a:gd name="connsiteY202" fmla="*/ 29085 h 224991"/>
                  <a:gd name="connsiteX203" fmla="*/ 8106949 w 11930425"/>
                  <a:gd name="connsiteY203" fmla="*/ 21936 h 224991"/>
                  <a:gd name="connsiteX204" fmla="*/ 8123071 w 11930425"/>
                  <a:gd name="connsiteY204" fmla="*/ 13115 h 224991"/>
                  <a:gd name="connsiteX205" fmla="*/ 8139878 w 11930425"/>
                  <a:gd name="connsiteY205" fmla="*/ 2011 h 224991"/>
                  <a:gd name="connsiteX206" fmla="*/ 8006824 w 11930425"/>
                  <a:gd name="connsiteY206" fmla="*/ 2011 h 224991"/>
                  <a:gd name="connsiteX207" fmla="*/ 8021731 w 11930425"/>
                  <a:gd name="connsiteY207" fmla="*/ 2011 h 224991"/>
                  <a:gd name="connsiteX208" fmla="*/ 8021731 w 11930425"/>
                  <a:gd name="connsiteY208" fmla="*/ 224991 h 224991"/>
                  <a:gd name="connsiteX209" fmla="*/ 7986443 w 11930425"/>
                  <a:gd name="connsiteY209" fmla="*/ 224991 h 224991"/>
                  <a:gd name="connsiteX210" fmla="*/ 7986443 w 11930425"/>
                  <a:gd name="connsiteY210" fmla="*/ 45208 h 224991"/>
                  <a:gd name="connsiteX211" fmla="*/ 7965833 w 11930425"/>
                  <a:gd name="connsiteY211" fmla="*/ 56843 h 224991"/>
                  <a:gd name="connsiteX212" fmla="*/ 7940661 w 11930425"/>
                  <a:gd name="connsiteY212" fmla="*/ 65285 h 224991"/>
                  <a:gd name="connsiteX213" fmla="*/ 7940661 w 11930425"/>
                  <a:gd name="connsiteY213" fmla="*/ 35169 h 224991"/>
                  <a:gd name="connsiteX214" fmla="*/ 7957696 w 11930425"/>
                  <a:gd name="connsiteY214" fmla="*/ 29085 h 224991"/>
                  <a:gd name="connsiteX215" fmla="*/ 7973895 w 11930425"/>
                  <a:gd name="connsiteY215" fmla="*/ 21936 h 224991"/>
                  <a:gd name="connsiteX216" fmla="*/ 7990017 w 11930425"/>
                  <a:gd name="connsiteY216" fmla="*/ 13115 h 224991"/>
                  <a:gd name="connsiteX217" fmla="*/ 8006824 w 11930425"/>
                  <a:gd name="connsiteY217" fmla="*/ 2011 h 224991"/>
                  <a:gd name="connsiteX218" fmla="*/ 7873770 w 11930425"/>
                  <a:gd name="connsiteY218" fmla="*/ 2011 h 224991"/>
                  <a:gd name="connsiteX219" fmla="*/ 7888677 w 11930425"/>
                  <a:gd name="connsiteY219" fmla="*/ 2011 h 224991"/>
                  <a:gd name="connsiteX220" fmla="*/ 7888677 w 11930425"/>
                  <a:gd name="connsiteY220" fmla="*/ 224991 h 224991"/>
                  <a:gd name="connsiteX221" fmla="*/ 7853389 w 11930425"/>
                  <a:gd name="connsiteY221" fmla="*/ 224991 h 224991"/>
                  <a:gd name="connsiteX222" fmla="*/ 7853389 w 11930425"/>
                  <a:gd name="connsiteY222" fmla="*/ 45208 h 224991"/>
                  <a:gd name="connsiteX223" fmla="*/ 7832779 w 11930425"/>
                  <a:gd name="connsiteY223" fmla="*/ 56843 h 224991"/>
                  <a:gd name="connsiteX224" fmla="*/ 7807607 w 11930425"/>
                  <a:gd name="connsiteY224" fmla="*/ 65285 h 224991"/>
                  <a:gd name="connsiteX225" fmla="*/ 7807607 w 11930425"/>
                  <a:gd name="connsiteY225" fmla="*/ 35169 h 224991"/>
                  <a:gd name="connsiteX226" fmla="*/ 7824642 w 11930425"/>
                  <a:gd name="connsiteY226" fmla="*/ 29085 h 224991"/>
                  <a:gd name="connsiteX227" fmla="*/ 7840841 w 11930425"/>
                  <a:gd name="connsiteY227" fmla="*/ 21936 h 224991"/>
                  <a:gd name="connsiteX228" fmla="*/ 7856963 w 11930425"/>
                  <a:gd name="connsiteY228" fmla="*/ 13115 h 224991"/>
                  <a:gd name="connsiteX229" fmla="*/ 7873770 w 11930425"/>
                  <a:gd name="connsiteY229" fmla="*/ 2011 h 224991"/>
                  <a:gd name="connsiteX230" fmla="*/ 7731158 w 11930425"/>
                  <a:gd name="connsiteY230" fmla="*/ 2011 h 224991"/>
                  <a:gd name="connsiteX231" fmla="*/ 7746065 w 11930425"/>
                  <a:gd name="connsiteY231" fmla="*/ 2011 h 224991"/>
                  <a:gd name="connsiteX232" fmla="*/ 7746065 w 11930425"/>
                  <a:gd name="connsiteY232" fmla="*/ 224991 h 224991"/>
                  <a:gd name="connsiteX233" fmla="*/ 7710777 w 11930425"/>
                  <a:gd name="connsiteY233" fmla="*/ 224991 h 224991"/>
                  <a:gd name="connsiteX234" fmla="*/ 7710777 w 11930425"/>
                  <a:gd name="connsiteY234" fmla="*/ 45208 h 224991"/>
                  <a:gd name="connsiteX235" fmla="*/ 7690167 w 11930425"/>
                  <a:gd name="connsiteY235" fmla="*/ 56843 h 224991"/>
                  <a:gd name="connsiteX236" fmla="*/ 7664995 w 11930425"/>
                  <a:gd name="connsiteY236" fmla="*/ 65285 h 224991"/>
                  <a:gd name="connsiteX237" fmla="*/ 7664995 w 11930425"/>
                  <a:gd name="connsiteY237" fmla="*/ 35169 h 224991"/>
                  <a:gd name="connsiteX238" fmla="*/ 7682030 w 11930425"/>
                  <a:gd name="connsiteY238" fmla="*/ 29085 h 224991"/>
                  <a:gd name="connsiteX239" fmla="*/ 7698229 w 11930425"/>
                  <a:gd name="connsiteY239" fmla="*/ 21936 h 224991"/>
                  <a:gd name="connsiteX240" fmla="*/ 7714351 w 11930425"/>
                  <a:gd name="connsiteY240" fmla="*/ 13115 h 224991"/>
                  <a:gd name="connsiteX241" fmla="*/ 7731158 w 11930425"/>
                  <a:gd name="connsiteY241" fmla="*/ 2011 h 224991"/>
                  <a:gd name="connsiteX242" fmla="*/ 6983820 w 11930425"/>
                  <a:gd name="connsiteY242" fmla="*/ 2011 h 224991"/>
                  <a:gd name="connsiteX243" fmla="*/ 6998726 w 11930425"/>
                  <a:gd name="connsiteY243" fmla="*/ 2011 h 224991"/>
                  <a:gd name="connsiteX244" fmla="*/ 6998726 w 11930425"/>
                  <a:gd name="connsiteY244" fmla="*/ 224991 h 224991"/>
                  <a:gd name="connsiteX245" fmla="*/ 6963438 w 11930425"/>
                  <a:gd name="connsiteY245" fmla="*/ 224991 h 224991"/>
                  <a:gd name="connsiteX246" fmla="*/ 6963438 w 11930425"/>
                  <a:gd name="connsiteY246" fmla="*/ 45208 h 224991"/>
                  <a:gd name="connsiteX247" fmla="*/ 6942829 w 11930425"/>
                  <a:gd name="connsiteY247" fmla="*/ 56843 h 224991"/>
                  <a:gd name="connsiteX248" fmla="*/ 6917656 w 11930425"/>
                  <a:gd name="connsiteY248" fmla="*/ 65285 h 224991"/>
                  <a:gd name="connsiteX249" fmla="*/ 6917656 w 11930425"/>
                  <a:gd name="connsiteY249" fmla="*/ 35169 h 224991"/>
                  <a:gd name="connsiteX250" fmla="*/ 6934691 w 11930425"/>
                  <a:gd name="connsiteY250" fmla="*/ 29085 h 224991"/>
                  <a:gd name="connsiteX251" fmla="*/ 6950890 w 11930425"/>
                  <a:gd name="connsiteY251" fmla="*/ 21936 h 224991"/>
                  <a:gd name="connsiteX252" fmla="*/ 6967013 w 11930425"/>
                  <a:gd name="connsiteY252" fmla="*/ 13115 h 224991"/>
                  <a:gd name="connsiteX253" fmla="*/ 6983820 w 11930425"/>
                  <a:gd name="connsiteY253" fmla="*/ 2011 h 224991"/>
                  <a:gd name="connsiteX254" fmla="*/ 6839694 w 11930425"/>
                  <a:gd name="connsiteY254" fmla="*/ 2011 h 224991"/>
                  <a:gd name="connsiteX255" fmla="*/ 6854600 w 11930425"/>
                  <a:gd name="connsiteY255" fmla="*/ 2011 h 224991"/>
                  <a:gd name="connsiteX256" fmla="*/ 6854600 w 11930425"/>
                  <a:gd name="connsiteY256" fmla="*/ 224991 h 224991"/>
                  <a:gd name="connsiteX257" fmla="*/ 6819312 w 11930425"/>
                  <a:gd name="connsiteY257" fmla="*/ 224991 h 224991"/>
                  <a:gd name="connsiteX258" fmla="*/ 6819312 w 11930425"/>
                  <a:gd name="connsiteY258" fmla="*/ 45208 h 224991"/>
                  <a:gd name="connsiteX259" fmla="*/ 6798703 w 11930425"/>
                  <a:gd name="connsiteY259" fmla="*/ 56843 h 224991"/>
                  <a:gd name="connsiteX260" fmla="*/ 6773530 w 11930425"/>
                  <a:gd name="connsiteY260" fmla="*/ 65285 h 224991"/>
                  <a:gd name="connsiteX261" fmla="*/ 6773530 w 11930425"/>
                  <a:gd name="connsiteY261" fmla="*/ 35169 h 224991"/>
                  <a:gd name="connsiteX262" fmla="*/ 6790565 w 11930425"/>
                  <a:gd name="connsiteY262" fmla="*/ 29085 h 224991"/>
                  <a:gd name="connsiteX263" fmla="*/ 6806764 w 11930425"/>
                  <a:gd name="connsiteY263" fmla="*/ 21936 h 224991"/>
                  <a:gd name="connsiteX264" fmla="*/ 6822887 w 11930425"/>
                  <a:gd name="connsiteY264" fmla="*/ 13115 h 224991"/>
                  <a:gd name="connsiteX265" fmla="*/ 6839694 w 11930425"/>
                  <a:gd name="connsiteY265" fmla="*/ 2011 h 224991"/>
                  <a:gd name="connsiteX266" fmla="*/ 5859465 w 11930425"/>
                  <a:gd name="connsiteY266" fmla="*/ 2011 h 224991"/>
                  <a:gd name="connsiteX267" fmla="*/ 5874372 w 11930425"/>
                  <a:gd name="connsiteY267" fmla="*/ 2011 h 224991"/>
                  <a:gd name="connsiteX268" fmla="*/ 5874372 w 11930425"/>
                  <a:gd name="connsiteY268" fmla="*/ 224991 h 224991"/>
                  <a:gd name="connsiteX269" fmla="*/ 5839084 w 11930425"/>
                  <a:gd name="connsiteY269" fmla="*/ 224991 h 224991"/>
                  <a:gd name="connsiteX270" fmla="*/ 5839084 w 11930425"/>
                  <a:gd name="connsiteY270" fmla="*/ 45208 h 224991"/>
                  <a:gd name="connsiteX271" fmla="*/ 5818474 w 11930425"/>
                  <a:gd name="connsiteY271" fmla="*/ 56843 h 224991"/>
                  <a:gd name="connsiteX272" fmla="*/ 5793302 w 11930425"/>
                  <a:gd name="connsiteY272" fmla="*/ 65285 h 224991"/>
                  <a:gd name="connsiteX273" fmla="*/ 5793302 w 11930425"/>
                  <a:gd name="connsiteY273" fmla="*/ 35169 h 224991"/>
                  <a:gd name="connsiteX274" fmla="*/ 5810337 w 11930425"/>
                  <a:gd name="connsiteY274" fmla="*/ 29085 h 224991"/>
                  <a:gd name="connsiteX275" fmla="*/ 5826536 w 11930425"/>
                  <a:gd name="connsiteY275" fmla="*/ 21936 h 224991"/>
                  <a:gd name="connsiteX276" fmla="*/ 5842658 w 11930425"/>
                  <a:gd name="connsiteY276" fmla="*/ 13115 h 224991"/>
                  <a:gd name="connsiteX277" fmla="*/ 5859465 w 11930425"/>
                  <a:gd name="connsiteY277" fmla="*/ 2011 h 224991"/>
                  <a:gd name="connsiteX278" fmla="*/ 5476597 w 11930425"/>
                  <a:gd name="connsiteY278" fmla="*/ 2011 h 224991"/>
                  <a:gd name="connsiteX279" fmla="*/ 5491504 w 11930425"/>
                  <a:gd name="connsiteY279" fmla="*/ 2011 h 224991"/>
                  <a:gd name="connsiteX280" fmla="*/ 5491504 w 11930425"/>
                  <a:gd name="connsiteY280" fmla="*/ 224991 h 224991"/>
                  <a:gd name="connsiteX281" fmla="*/ 5456216 w 11930425"/>
                  <a:gd name="connsiteY281" fmla="*/ 224991 h 224991"/>
                  <a:gd name="connsiteX282" fmla="*/ 5456216 w 11930425"/>
                  <a:gd name="connsiteY282" fmla="*/ 45208 h 224991"/>
                  <a:gd name="connsiteX283" fmla="*/ 5435606 w 11930425"/>
                  <a:gd name="connsiteY283" fmla="*/ 56843 h 224991"/>
                  <a:gd name="connsiteX284" fmla="*/ 5410434 w 11930425"/>
                  <a:gd name="connsiteY284" fmla="*/ 65285 h 224991"/>
                  <a:gd name="connsiteX285" fmla="*/ 5410434 w 11930425"/>
                  <a:gd name="connsiteY285" fmla="*/ 35169 h 224991"/>
                  <a:gd name="connsiteX286" fmla="*/ 5427470 w 11930425"/>
                  <a:gd name="connsiteY286" fmla="*/ 29085 h 224991"/>
                  <a:gd name="connsiteX287" fmla="*/ 5443668 w 11930425"/>
                  <a:gd name="connsiteY287" fmla="*/ 21936 h 224991"/>
                  <a:gd name="connsiteX288" fmla="*/ 5459790 w 11930425"/>
                  <a:gd name="connsiteY288" fmla="*/ 13115 h 224991"/>
                  <a:gd name="connsiteX289" fmla="*/ 5476597 w 11930425"/>
                  <a:gd name="connsiteY289" fmla="*/ 2011 h 224991"/>
                  <a:gd name="connsiteX290" fmla="*/ 5332471 w 11930425"/>
                  <a:gd name="connsiteY290" fmla="*/ 2011 h 224991"/>
                  <a:gd name="connsiteX291" fmla="*/ 5347378 w 11930425"/>
                  <a:gd name="connsiteY291" fmla="*/ 2011 h 224991"/>
                  <a:gd name="connsiteX292" fmla="*/ 5347378 w 11930425"/>
                  <a:gd name="connsiteY292" fmla="*/ 224991 h 224991"/>
                  <a:gd name="connsiteX293" fmla="*/ 5312091 w 11930425"/>
                  <a:gd name="connsiteY293" fmla="*/ 224991 h 224991"/>
                  <a:gd name="connsiteX294" fmla="*/ 5312091 w 11930425"/>
                  <a:gd name="connsiteY294" fmla="*/ 45208 h 224991"/>
                  <a:gd name="connsiteX295" fmla="*/ 5291480 w 11930425"/>
                  <a:gd name="connsiteY295" fmla="*/ 56843 h 224991"/>
                  <a:gd name="connsiteX296" fmla="*/ 5266308 w 11930425"/>
                  <a:gd name="connsiteY296" fmla="*/ 65285 h 224991"/>
                  <a:gd name="connsiteX297" fmla="*/ 5266308 w 11930425"/>
                  <a:gd name="connsiteY297" fmla="*/ 35169 h 224991"/>
                  <a:gd name="connsiteX298" fmla="*/ 5283343 w 11930425"/>
                  <a:gd name="connsiteY298" fmla="*/ 29085 h 224991"/>
                  <a:gd name="connsiteX299" fmla="*/ 5299542 w 11930425"/>
                  <a:gd name="connsiteY299" fmla="*/ 21936 h 224991"/>
                  <a:gd name="connsiteX300" fmla="*/ 5315664 w 11930425"/>
                  <a:gd name="connsiteY300" fmla="*/ 13115 h 224991"/>
                  <a:gd name="connsiteX301" fmla="*/ 5332471 w 11930425"/>
                  <a:gd name="connsiteY301" fmla="*/ 2011 h 224991"/>
                  <a:gd name="connsiteX302" fmla="*/ 5188346 w 11930425"/>
                  <a:gd name="connsiteY302" fmla="*/ 2011 h 224991"/>
                  <a:gd name="connsiteX303" fmla="*/ 5203253 w 11930425"/>
                  <a:gd name="connsiteY303" fmla="*/ 2011 h 224991"/>
                  <a:gd name="connsiteX304" fmla="*/ 5203253 w 11930425"/>
                  <a:gd name="connsiteY304" fmla="*/ 224991 h 224991"/>
                  <a:gd name="connsiteX305" fmla="*/ 5167965 w 11930425"/>
                  <a:gd name="connsiteY305" fmla="*/ 224991 h 224991"/>
                  <a:gd name="connsiteX306" fmla="*/ 5167965 w 11930425"/>
                  <a:gd name="connsiteY306" fmla="*/ 45208 h 224991"/>
                  <a:gd name="connsiteX307" fmla="*/ 5147355 w 11930425"/>
                  <a:gd name="connsiteY307" fmla="*/ 56843 h 224991"/>
                  <a:gd name="connsiteX308" fmla="*/ 5122183 w 11930425"/>
                  <a:gd name="connsiteY308" fmla="*/ 65285 h 224991"/>
                  <a:gd name="connsiteX309" fmla="*/ 5122183 w 11930425"/>
                  <a:gd name="connsiteY309" fmla="*/ 35169 h 224991"/>
                  <a:gd name="connsiteX310" fmla="*/ 5139218 w 11930425"/>
                  <a:gd name="connsiteY310" fmla="*/ 29085 h 224991"/>
                  <a:gd name="connsiteX311" fmla="*/ 5155417 w 11930425"/>
                  <a:gd name="connsiteY311" fmla="*/ 21936 h 224991"/>
                  <a:gd name="connsiteX312" fmla="*/ 5171540 w 11930425"/>
                  <a:gd name="connsiteY312" fmla="*/ 13115 h 224991"/>
                  <a:gd name="connsiteX313" fmla="*/ 5188346 w 11930425"/>
                  <a:gd name="connsiteY313" fmla="*/ 2011 h 224991"/>
                  <a:gd name="connsiteX314" fmla="*/ 5044221 w 11930425"/>
                  <a:gd name="connsiteY314" fmla="*/ 2011 h 224991"/>
                  <a:gd name="connsiteX315" fmla="*/ 5059129 w 11930425"/>
                  <a:gd name="connsiteY315" fmla="*/ 2011 h 224991"/>
                  <a:gd name="connsiteX316" fmla="*/ 5059129 w 11930425"/>
                  <a:gd name="connsiteY316" fmla="*/ 224991 h 224991"/>
                  <a:gd name="connsiteX317" fmla="*/ 5023840 w 11930425"/>
                  <a:gd name="connsiteY317" fmla="*/ 224991 h 224991"/>
                  <a:gd name="connsiteX318" fmla="*/ 5023840 w 11930425"/>
                  <a:gd name="connsiteY318" fmla="*/ 45208 h 224991"/>
                  <a:gd name="connsiteX319" fmla="*/ 5003230 w 11930425"/>
                  <a:gd name="connsiteY319" fmla="*/ 56843 h 224991"/>
                  <a:gd name="connsiteX320" fmla="*/ 4978058 w 11930425"/>
                  <a:gd name="connsiteY320" fmla="*/ 65285 h 224991"/>
                  <a:gd name="connsiteX321" fmla="*/ 4978058 w 11930425"/>
                  <a:gd name="connsiteY321" fmla="*/ 35169 h 224991"/>
                  <a:gd name="connsiteX322" fmla="*/ 4995093 w 11930425"/>
                  <a:gd name="connsiteY322" fmla="*/ 29085 h 224991"/>
                  <a:gd name="connsiteX323" fmla="*/ 5011292 w 11930425"/>
                  <a:gd name="connsiteY323" fmla="*/ 21936 h 224991"/>
                  <a:gd name="connsiteX324" fmla="*/ 5027414 w 11930425"/>
                  <a:gd name="connsiteY324" fmla="*/ 13115 h 224991"/>
                  <a:gd name="connsiteX325" fmla="*/ 5044221 w 11930425"/>
                  <a:gd name="connsiteY325" fmla="*/ 2011 h 224991"/>
                  <a:gd name="connsiteX326" fmla="*/ 4900097 w 11930425"/>
                  <a:gd name="connsiteY326" fmla="*/ 2011 h 224991"/>
                  <a:gd name="connsiteX327" fmla="*/ 4915003 w 11930425"/>
                  <a:gd name="connsiteY327" fmla="*/ 2011 h 224991"/>
                  <a:gd name="connsiteX328" fmla="*/ 4915003 w 11930425"/>
                  <a:gd name="connsiteY328" fmla="*/ 224991 h 224991"/>
                  <a:gd name="connsiteX329" fmla="*/ 4879715 w 11930425"/>
                  <a:gd name="connsiteY329" fmla="*/ 224991 h 224991"/>
                  <a:gd name="connsiteX330" fmla="*/ 4879715 w 11930425"/>
                  <a:gd name="connsiteY330" fmla="*/ 45208 h 224991"/>
                  <a:gd name="connsiteX331" fmla="*/ 4859105 w 11930425"/>
                  <a:gd name="connsiteY331" fmla="*/ 56843 h 224991"/>
                  <a:gd name="connsiteX332" fmla="*/ 4833933 w 11930425"/>
                  <a:gd name="connsiteY332" fmla="*/ 65285 h 224991"/>
                  <a:gd name="connsiteX333" fmla="*/ 4833933 w 11930425"/>
                  <a:gd name="connsiteY333" fmla="*/ 35169 h 224991"/>
                  <a:gd name="connsiteX334" fmla="*/ 4850968 w 11930425"/>
                  <a:gd name="connsiteY334" fmla="*/ 29085 h 224991"/>
                  <a:gd name="connsiteX335" fmla="*/ 4867167 w 11930425"/>
                  <a:gd name="connsiteY335" fmla="*/ 21936 h 224991"/>
                  <a:gd name="connsiteX336" fmla="*/ 4883289 w 11930425"/>
                  <a:gd name="connsiteY336" fmla="*/ 13115 h 224991"/>
                  <a:gd name="connsiteX337" fmla="*/ 4900097 w 11930425"/>
                  <a:gd name="connsiteY337" fmla="*/ 2011 h 224991"/>
                  <a:gd name="connsiteX338" fmla="*/ 4511864 w 11930425"/>
                  <a:gd name="connsiteY338" fmla="*/ 2011 h 224991"/>
                  <a:gd name="connsiteX339" fmla="*/ 4526770 w 11930425"/>
                  <a:gd name="connsiteY339" fmla="*/ 2011 h 224991"/>
                  <a:gd name="connsiteX340" fmla="*/ 4526770 w 11930425"/>
                  <a:gd name="connsiteY340" fmla="*/ 224991 h 224991"/>
                  <a:gd name="connsiteX341" fmla="*/ 4491482 w 11930425"/>
                  <a:gd name="connsiteY341" fmla="*/ 224991 h 224991"/>
                  <a:gd name="connsiteX342" fmla="*/ 4491482 w 11930425"/>
                  <a:gd name="connsiteY342" fmla="*/ 45208 h 224991"/>
                  <a:gd name="connsiteX343" fmla="*/ 4470873 w 11930425"/>
                  <a:gd name="connsiteY343" fmla="*/ 56843 h 224991"/>
                  <a:gd name="connsiteX344" fmla="*/ 4445700 w 11930425"/>
                  <a:gd name="connsiteY344" fmla="*/ 65285 h 224991"/>
                  <a:gd name="connsiteX345" fmla="*/ 4445700 w 11930425"/>
                  <a:gd name="connsiteY345" fmla="*/ 35169 h 224991"/>
                  <a:gd name="connsiteX346" fmla="*/ 4462735 w 11930425"/>
                  <a:gd name="connsiteY346" fmla="*/ 29085 h 224991"/>
                  <a:gd name="connsiteX347" fmla="*/ 4478934 w 11930425"/>
                  <a:gd name="connsiteY347" fmla="*/ 21936 h 224991"/>
                  <a:gd name="connsiteX348" fmla="*/ 4495057 w 11930425"/>
                  <a:gd name="connsiteY348" fmla="*/ 13115 h 224991"/>
                  <a:gd name="connsiteX349" fmla="*/ 4511864 w 11930425"/>
                  <a:gd name="connsiteY349" fmla="*/ 2011 h 224991"/>
                  <a:gd name="connsiteX350" fmla="*/ 4245756 w 11930425"/>
                  <a:gd name="connsiteY350" fmla="*/ 2011 h 224991"/>
                  <a:gd name="connsiteX351" fmla="*/ 4260662 w 11930425"/>
                  <a:gd name="connsiteY351" fmla="*/ 2011 h 224991"/>
                  <a:gd name="connsiteX352" fmla="*/ 4260662 w 11930425"/>
                  <a:gd name="connsiteY352" fmla="*/ 224991 h 224991"/>
                  <a:gd name="connsiteX353" fmla="*/ 4225374 w 11930425"/>
                  <a:gd name="connsiteY353" fmla="*/ 224991 h 224991"/>
                  <a:gd name="connsiteX354" fmla="*/ 4225374 w 11930425"/>
                  <a:gd name="connsiteY354" fmla="*/ 45208 h 224991"/>
                  <a:gd name="connsiteX355" fmla="*/ 4204765 w 11930425"/>
                  <a:gd name="connsiteY355" fmla="*/ 56843 h 224991"/>
                  <a:gd name="connsiteX356" fmla="*/ 4179592 w 11930425"/>
                  <a:gd name="connsiteY356" fmla="*/ 65285 h 224991"/>
                  <a:gd name="connsiteX357" fmla="*/ 4179592 w 11930425"/>
                  <a:gd name="connsiteY357" fmla="*/ 35169 h 224991"/>
                  <a:gd name="connsiteX358" fmla="*/ 4196627 w 11930425"/>
                  <a:gd name="connsiteY358" fmla="*/ 29085 h 224991"/>
                  <a:gd name="connsiteX359" fmla="*/ 4212826 w 11930425"/>
                  <a:gd name="connsiteY359" fmla="*/ 21936 h 224991"/>
                  <a:gd name="connsiteX360" fmla="*/ 4228949 w 11930425"/>
                  <a:gd name="connsiteY360" fmla="*/ 13115 h 224991"/>
                  <a:gd name="connsiteX361" fmla="*/ 4245756 w 11930425"/>
                  <a:gd name="connsiteY361" fmla="*/ 2011 h 224991"/>
                  <a:gd name="connsiteX362" fmla="*/ 3634157 w 11930425"/>
                  <a:gd name="connsiteY362" fmla="*/ 2011 h 224991"/>
                  <a:gd name="connsiteX363" fmla="*/ 3649063 w 11930425"/>
                  <a:gd name="connsiteY363" fmla="*/ 2011 h 224991"/>
                  <a:gd name="connsiteX364" fmla="*/ 3649063 w 11930425"/>
                  <a:gd name="connsiteY364" fmla="*/ 224991 h 224991"/>
                  <a:gd name="connsiteX365" fmla="*/ 3613775 w 11930425"/>
                  <a:gd name="connsiteY365" fmla="*/ 224991 h 224991"/>
                  <a:gd name="connsiteX366" fmla="*/ 3613775 w 11930425"/>
                  <a:gd name="connsiteY366" fmla="*/ 45208 h 224991"/>
                  <a:gd name="connsiteX367" fmla="*/ 3593166 w 11930425"/>
                  <a:gd name="connsiteY367" fmla="*/ 56843 h 224991"/>
                  <a:gd name="connsiteX368" fmla="*/ 3567993 w 11930425"/>
                  <a:gd name="connsiteY368" fmla="*/ 65285 h 224991"/>
                  <a:gd name="connsiteX369" fmla="*/ 3567993 w 11930425"/>
                  <a:gd name="connsiteY369" fmla="*/ 35169 h 224991"/>
                  <a:gd name="connsiteX370" fmla="*/ 3585028 w 11930425"/>
                  <a:gd name="connsiteY370" fmla="*/ 29085 h 224991"/>
                  <a:gd name="connsiteX371" fmla="*/ 3601227 w 11930425"/>
                  <a:gd name="connsiteY371" fmla="*/ 21936 h 224991"/>
                  <a:gd name="connsiteX372" fmla="*/ 3617349 w 11930425"/>
                  <a:gd name="connsiteY372" fmla="*/ 13115 h 224991"/>
                  <a:gd name="connsiteX373" fmla="*/ 3634157 w 11930425"/>
                  <a:gd name="connsiteY373" fmla="*/ 2011 h 224991"/>
                  <a:gd name="connsiteX374" fmla="*/ 3368049 w 11930425"/>
                  <a:gd name="connsiteY374" fmla="*/ 2011 h 224991"/>
                  <a:gd name="connsiteX375" fmla="*/ 3382955 w 11930425"/>
                  <a:gd name="connsiteY375" fmla="*/ 2011 h 224991"/>
                  <a:gd name="connsiteX376" fmla="*/ 3382955 w 11930425"/>
                  <a:gd name="connsiteY376" fmla="*/ 224991 h 224991"/>
                  <a:gd name="connsiteX377" fmla="*/ 3347667 w 11930425"/>
                  <a:gd name="connsiteY377" fmla="*/ 224991 h 224991"/>
                  <a:gd name="connsiteX378" fmla="*/ 3347667 w 11930425"/>
                  <a:gd name="connsiteY378" fmla="*/ 45208 h 224991"/>
                  <a:gd name="connsiteX379" fmla="*/ 3327058 w 11930425"/>
                  <a:gd name="connsiteY379" fmla="*/ 56843 h 224991"/>
                  <a:gd name="connsiteX380" fmla="*/ 3301885 w 11930425"/>
                  <a:gd name="connsiteY380" fmla="*/ 65285 h 224991"/>
                  <a:gd name="connsiteX381" fmla="*/ 3301885 w 11930425"/>
                  <a:gd name="connsiteY381" fmla="*/ 35169 h 224991"/>
                  <a:gd name="connsiteX382" fmla="*/ 3318920 w 11930425"/>
                  <a:gd name="connsiteY382" fmla="*/ 29085 h 224991"/>
                  <a:gd name="connsiteX383" fmla="*/ 3335119 w 11930425"/>
                  <a:gd name="connsiteY383" fmla="*/ 21936 h 224991"/>
                  <a:gd name="connsiteX384" fmla="*/ 3351241 w 11930425"/>
                  <a:gd name="connsiteY384" fmla="*/ 13115 h 224991"/>
                  <a:gd name="connsiteX385" fmla="*/ 3368049 w 11930425"/>
                  <a:gd name="connsiteY385" fmla="*/ 2011 h 224991"/>
                  <a:gd name="connsiteX386" fmla="*/ 2761702 w 11930425"/>
                  <a:gd name="connsiteY386" fmla="*/ 2011 h 224991"/>
                  <a:gd name="connsiteX387" fmla="*/ 2776608 w 11930425"/>
                  <a:gd name="connsiteY387" fmla="*/ 2011 h 224991"/>
                  <a:gd name="connsiteX388" fmla="*/ 2776608 w 11930425"/>
                  <a:gd name="connsiteY388" fmla="*/ 224991 h 224991"/>
                  <a:gd name="connsiteX389" fmla="*/ 2741320 w 11930425"/>
                  <a:gd name="connsiteY389" fmla="*/ 224991 h 224991"/>
                  <a:gd name="connsiteX390" fmla="*/ 2741320 w 11930425"/>
                  <a:gd name="connsiteY390" fmla="*/ 45208 h 224991"/>
                  <a:gd name="connsiteX391" fmla="*/ 2720711 w 11930425"/>
                  <a:gd name="connsiteY391" fmla="*/ 56843 h 224991"/>
                  <a:gd name="connsiteX392" fmla="*/ 2695538 w 11930425"/>
                  <a:gd name="connsiteY392" fmla="*/ 65285 h 224991"/>
                  <a:gd name="connsiteX393" fmla="*/ 2695538 w 11930425"/>
                  <a:gd name="connsiteY393" fmla="*/ 35169 h 224991"/>
                  <a:gd name="connsiteX394" fmla="*/ 2712573 w 11930425"/>
                  <a:gd name="connsiteY394" fmla="*/ 29085 h 224991"/>
                  <a:gd name="connsiteX395" fmla="*/ 2728772 w 11930425"/>
                  <a:gd name="connsiteY395" fmla="*/ 21936 h 224991"/>
                  <a:gd name="connsiteX396" fmla="*/ 2744894 w 11930425"/>
                  <a:gd name="connsiteY396" fmla="*/ 13115 h 224991"/>
                  <a:gd name="connsiteX397" fmla="*/ 2761702 w 11930425"/>
                  <a:gd name="connsiteY397" fmla="*/ 2011 h 224991"/>
                  <a:gd name="connsiteX398" fmla="*/ 2495594 w 11930425"/>
                  <a:gd name="connsiteY398" fmla="*/ 2011 h 224991"/>
                  <a:gd name="connsiteX399" fmla="*/ 2510500 w 11930425"/>
                  <a:gd name="connsiteY399" fmla="*/ 2011 h 224991"/>
                  <a:gd name="connsiteX400" fmla="*/ 2510500 w 11930425"/>
                  <a:gd name="connsiteY400" fmla="*/ 224991 h 224991"/>
                  <a:gd name="connsiteX401" fmla="*/ 2475212 w 11930425"/>
                  <a:gd name="connsiteY401" fmla="*/ 224991 h 224991"/>
                  <a:gd name="connsiteX402" fmla="*/ 2475212 w 11930425"/>
                  <a:gd name="connsiteY402" fmla="*/ 45208 h 224991"/>
                  <a:gd name="connsiteX403" fmla="*/ 2454603 w 11930425"/>
                  <a:gd name="connsiteY403" fmla="*/ 56843 h 224991"/>
                  <a:gd name="connsiteX404" fmla="*/ 2429430 w 11930425"/>
                  <a:gd name="connsiteY404" fmla="*/ 65285 h 224991"/>
                  <a:gd name="connsiteX405" fmla="*/ 2429430 w 11930425"/>
                  <a:gd name="connsiteY405" fmla="*/ 35169 h 224991"/>
                  <a:gd name="connsiteX406" fmla="*/ 2446465 w 11930425"/>
                  <a:gd name="connsiteY406" fmla="*/ 29085 h 224991"/>
                  <a:gd name="connsiteX407" fmla="*/ 2462664 w 11930425"/>
                  <a:gd name="connsiteY407" fmla="*/ 21936 h 224991"/>
                  <a:gd name="connsiteX408" fmla="*/ 2478786 w 11930425"/>
                  <a:gd name="connsiteY408" fmla="*/ 13115 h 224991"/>
                  <a:gd name="connsiteX409" fmla="*/ 2495594 w 11930425"/>
                  <a:gd name="connsiteY409" fmla="*/ 2011 h 224991"/>
                  <a:gd name="connsiteX410" fmla="*/ 2083827 w 11930425"/>
                  <a:gd name="connsiteY410" fmla="*/ 2011 h 224991"/>
                  <a:gd name="connsiteX411" fmla="*/ 2098733 w 11930425"/>
                  <a:gd name="connsiteY411" fmla="*/ 2011 h 224991"/>
                  <a:gd name="connsiteX412" fmla="*/ 2098733 w 11930425"/>
                  <a:gd name="connsiteY412" fmla="*/ 224991 h 224991"/>
                  <a:gd name="connsiteX413" fmla="*/ 2063445 w 11930425"/>
                  <a:gd name="connsiteY413" fmla="*/ 224991 h 224991"/>
                  <a:gd name="connsiteX414" fmla="*/ 2063445 w 11930425"/>
                  <a:gd name="connsiteY414" fmla="*/ 45208 h 224991"/>
                  <a:gd name="connsiteX415" fmla="*/ 2042836 w 11930425"/>
                  <a:gd name="connsiteY415" fmla="*/ 56843 h 224991"/>
                  <a:gd name="connsiteX416" fmla="*/ 2017663 w 11930425"/>
                  <a:gd name="connsiteY416" fmla="*/ 65285 h 224991"/>
                  <a:gd name="connsiteX417" fmla="*/ 2017663 w 11930425"/>
                  <a:gd name="connsiteY417" fmla="*/ 35169 h 224991"/>
                  <a:gd name="connsiteX418" fmla="*/ 2034698 w 11930425"/>
                  <a:gd name="connsiteY418" fmla="*/ 29085 h 224991"/>
                  <a:gd name="connsiteX419" fmla="*/ 2050897 w 11930425"/>
                  <a:gd name="connsiteY419" fmla="*/ 21936 h 224991"/>
                  <a:gd name="connsiteX420" fmla="*/ 2067019 w 11930425"/>
                  <a:gd name="connsiteY420" fmla="*/ 13115 h 224991"/>
                  <a:gd name="connsiteX421" fmla="*/ 2083827 w 11930425"/>
                  <a:gd name="connsiteY421" fmla="*/ 2011 h 224991"/>
                  <a:gd name="connsiteX422" fmla="*/ 1950773 w 11930425"/>
                  <a:gd name="connsiteY422" fmla="*/ 2011 h 224991"/>
                  <a:gd name="connsiteX423" fmla="*/ 1965679 w 11930425"/>
                  <a:gd name="connsiteY423" fmla="*/ 2011 h 224991"/>
                  <a:gd name="connsiteX424" fmla="*/ 1965679 w 11930425"/>
                  <a:gd name="connsiteY424" fmla="*/ 224991 h 224991"/>
                  <a:gd name="connsiteX425" fmla="*/ 1930391 w 11930425"/>
                  <a:gd name="connsiteY425" fmla="*/ 224991 h 224991"/>
                  <a:gd name="connsiteX426" fmla="*/ 1930391 w 11930425"/>
                  <a:gd name="connsiteY426" fmla="*/ 45208 h 224991"/>
                  <a:gd name="connsiteX427" fmla="*/ 1909782 w 11930425"/>
                  <a:gd name="connsiteY427" fmla="*/ 56843 h 224991"/>
                  <a:gd name="connsiteX428" fmla="*/ 1884609 w 11930425"/>
                  <a:gd name="connsiteY428" fmla="*/ 65285 h 224991"/>
                  <a:gd name="connsiteX429" fmla="*/ 1884609 w 11930425"/>
                  <a:gd name="connsiteY429" fmla="*/ 35169 h 224991"/>
                  <a:gd name="connsiteX430" fmla="*/ 1901644 w 11930425"/>
                  <a:gd name="connsiteY430" fmla="*/ 29085 h 224991"/>
                  <a:gd name="connsiteX431" fmla="*/ 1917843 w 11930425"/>
                  <a:gd name="connsiteY431" fmla="*/ 21936 h 224991"/>
                  <a:gd name="connsiteX432" fmla="*/ 1933966 w 11930425"/>
                  <a:gd name="connsiteY432" fmla="*/ 13115 h 224991"/>
                  <a:gd name="connsiteX433" fmla="*/ 1950773 w 11930425"/>
                  <a:gd name="connsiteY433" fmla="*/ 2011 h 224991"/>
                  <a:gd name="connsiteX434" fmla="*/ 1817719 w 11930425"/>
                  <a:gd name="connsiteY434" fmla="*/ 2011 h 224991"/>
                  <a:gd name="connsiteX435" fmla="*/ 1832625 w 11930425"/>
                  <a:gd name="connsiteY435" fmla="*/ 2011 h 224991"/>
                  <a:gd name="connsiteX436" fmla="*/ 1832625 w 11930425"/>
                  <a:gd name="connsiteY436" fmla="*/ 224991 h 224991"/>
                  <a:gd name="connsiteX437" fmla="*/ 1797337 w 11930425"/>
                  <a:gd name="connsiteY437" fmla="*/ 224991 h 224991"/>
                  <a:gd name="connsiteX438" fmla="*/ 1797337 w 11930425"/>
                  <a:gd name="connsiteY438" fmla="*/ 45208 h 224991"/>
                  <a:gd name="connsiteX439" fmla="*/ 1776728 w 11930425"/>
                  <a:gd name="connsiteY439" fmla="*/ 56843 h 224991"/>
                  <a:gd name="connsiteX440" fmla="*/ 1751555 w 11930425"/>
                  <a:gd name="connsiteY440" fmla="*/ 65285 h 224991"/>
                  <a:gd name="connsiteX441" fmla="*/ 1751555 w 11930425"/>
                  <a:gd name="connsiteY441" fmla="*/ 35169 h 224991"/>
                  <a:gd name="connsiteX442" fmla="*/ 1768590 w 11930425"/>
                  <a:gd name="connsiteY442" fmla="*/ 29085 h 224991"/>
                  <a:gd name="connsiteX443" fmla="*/ 1784789 w 11930425"/>
                  <a:gd name="connsiteY443" fmla="*/ 21936 h 224991"/>
                  <a:gd name="connsiteX444" fmla="*/ 1800912 w 11930425"/>
                  <a:gd name="connsiteY444" fmla="*/ 13115 h 224991"/>
                  <a:gd name="connsiteX445" fmla="*/ 1817719 w 11930425"/>
                  <a:gd name="connsiteY445" fmla="*/ 2011 h 224991"/>
                  <a:gd name="connsiteX446" fmla="*/ 1675107 w 11930425"/>
                  <a:gd name="connsiteY446" fmla="*/ 2011 h 224991"/>
                  <a:gd name="connsiteX447" fmla="*/ 1690013 w 11930425"/>
                  <a:gd name="connsiteY447" fmla="*/ 2011 h 224991"/>
                  <a:gd name="connsiteX448" fmla="*/ 1690013 w 11930425"/>
                  <a:gd name="connsiteY448" fmla="*/ 224991 h 224991"/>
                  <a:gd name="connsiteX449" fmla="*/ 1654725 w 11930425"/>
                  <a:gd name="connsiteY449" fmla="*/ 224991 h 224991"/>
                  <a:gd name="connsiteX450" fmla="*/ 1654725 w 11930425"/>
                  <a:gd name="connsiteY450" fmla="*/ 45208 h 224991"/>
                  <a:gd name="connsiteX451" fmla="*/ 1634116 w 11930425"/>
                  <a:gd name="connsiteY451" fmla="*/ 56843 h 224991"/>
                  <a:gd name="connsiteX452" fmla="*/ 1608943 w 11930425"/>
                  <a:gd name="connsiteY452" fmla="*/ 65285 h 224991"/>
                  <a:gd name="connsiteX453" fmla="*/ 1608943 w 11930425"/>
                  <a:gd name="connsiteY453" fmla="*/ 35169 h 224991"/>
                  <a:gd name="connsiteX454" fmla="*/ 1625978 w 11930425"/>
                  <a:gd name="connsiteY454" fmla="*/ 29085 h 224991"/>
                  <a:gd name="connsiteX455" fmla="*/ 1642177 w 11930425"/>
                  <a:gd name="connsiteY455" fmla="*/ 21936 h 224991"/>
                  <a:gd name="connsiteX456" fmla="*/ 1658300 w 11930425"/>
                  <a:gd name="connsiteY456" fmla="*/ 13115 h 224991"/>
                  <a:gd name="connsiteX457" fmla="*/ 1675107 w 11930425"/>
                  <a:gd name="connsiteY457" fmla="*/ 2011 h 224991"/>
                  <a:gd name="connsiteX458" fmla="*/ 919715 w 11930425"/>
                  <a:gd name="connsiteY458" fmla="*/ 2011 h 224991"/>
                  <a:gd name="connsiteX459" fmla="*/ 934621 w 11930425"/>
                  <a:gd name="connsiteY459" fmla="*/ 2011 h 224991"/>
                  <a:gd name="connsiteX460" fmla="*/ 934621 w 11930425"/>
                  <a:gd name="connsiteY460" fmla="*/ 224991 h 224991"/>
                  <a:gd name="connsiteX461" fmla="*/ 899333 w 11930425"/>
                  <a:gd name="connsiteY461" fmla="*/ 224991 h 224991"/>
                  <a:gd name="connsiteX462" fmla="*/ 899333 w 11930425"/>
                  <a:gd name="connsiteY462" fmla="*/ 45208 h 224991"/>
                  <a:gd name="connsiteX463" fmla="*/ 878724 w 11930425"/>
                  <a:gd name="connsiteY463" fmla="*/ 56843 h 224991"/>
                  <a:gd name="connsiteX464" fmla="*/ 853551 w 11930425"/>
                  <a:gd name="connsiteY464" fmla="*/ 65285 h 224991"/>
                  <a:gd name="connsiteX465" fmla="*/ 853551 w 11930425"/>
                  <a:gd name="connsiteY465" fmla="*/ 35169 h 224991"/>
                  <a:gd name="connsiteX466" fmla="*/ 870586 w 11930425"/>
                  <a:gd name="connsiteY466" fmla="*/ 29085 h 224991"/>
                  <a:gd name="connsiteX467" fmla="*/ 886785 w 11930425"/>
                  <a:gd name="connsiteY467" fmla="*/ 21936 h 224991"/>
                  <a:gd name="connsiteX468" fmla="*/ 902908 w 11930425"/>
                  <a:gd name="connsiteY468" fmla="*/ 13115 h 224991"/>
                  <a:gd name="connsiteX469" fmla="*/ 919715 w 11930425"/>
                  <a:gd name="connsiteY469" fmla="*/ 2011 h 224991"/>
                  <a:gd name="connsiteX470" fmla="*/ 786661 w 11930425"/>
                  <a:gd name="connsiteY470" fmla="*/ 2011 h 224991"/>
                  <a:gd name="connsiteX471" fmla="*/ 801567 w 11930425"/>
                  <a:gd name="connsiteY471" fmla="*/ 2011 h 224991"/>
                  <a:gd name="connsiteX472" fmla="*/ 801567 w 11930425"/>
                  <a:gd name="connsiteY472" fmla="*/ 224991 h 224991"/>
                  <a:gd name="connsiteX473" fmla="*/ 766279 w 11930425"/>
                  <a:gd name="connsiteY473" fmla="*/ 224991 h 224991"/>
                  <a:gd name="connsiteX474" fmla="*/ 766279 w 11930425"/>
                  <a:gd name="connsiteY474" fmla="*/ 45208 h 224991"/>
                  <a:gd name="connsiteX475" fmla="*/ 745670 w 11930425"/>
                  <a:gd name="connsiteY475" fmla="*/ 56843 h 224991"/>
                  <a:gd name="connsiteX476" fmla="*/ 720497 w 11930425"/>
                  <a:gd name="connsiteY476" fmla="*/ 65285 h 224991"/>
                  <a:gd name="connsiteX477" fmla="*/ 720497 w 11930425"/>
                  <a:gd name="connsiteY477" fmla="*/ 35169 h 224991"/>
                  <a:gd name="connsiteX478" fmla="*/ 737532 w 11930425"/>
                  <a:gd name="connsiteY478" fmla="*/ 29085 h 224991"/>
                  <a:gd name="connsiteX479" fmla="*/ 753731 w 11930425"/>
                  <a:gd name="connsiteY479" fmla="*/ 21936 h 224991"/>
                  <a:gd name="connsiteX480" fmla="*/ 769854 w 11930425"/>
                  <a:gd name="connsiteY480" fmla="*/ 13115 h 224991"/>
                  <a:gd name="connsiteX481" fmla="*/ 786661 w 11930425"/>
                  <a:gd name="connsiteY481" fmla="*/ 2011 h 224991"/>
                  <a:gd name="connsiteX482" fmla="*/ 10088741 w 11930425"/>
                  <a:gd name="connsiteY482" fmla="*/ 2010 h 224991"/>
                  <a:gd name="connsiteX483" fmla="*/ 10159908 w 11930425"/>
                  <a:gd name="connsiteY483" fmla="*/ 112598 h 224991"/>
                  <a:gd name="connsiteX484" fmla="*/ 10139822 w 11930425"/>
                  <a:gd name="connsiteY484" fmla="*/ 196177 h 224991"/>
                  <a:gd name="connsiteX485" fmla="*/ 10083625 w 11930425"/>
                  <a:gd name="connsiteY485" fmla="*/ 224990 h 224991"/>
                  <a:gd name="connsiteX486" fmla="*/ 10031040 w 11930425"/>
                  <a:gd name="connsiteY486" fmla="*/ 197456 h 224991"/>
                  <a:gd name="connsiteX487" fmla="*/ 10012157 w 11930425"/>
                  <a:gd name="connsiteY487" fmla="*/ 117864 h 224991"/>
                  <a:gd name="connsiteX488" fmla="*/ 10031867 w 11930425"/>
                  <a:gd name="connsiteY488" fmla="*/ 31350 h 224991"/>
                  <a:gd name="connsiteX489" fmla="*/ 10088741 w 11930425"/>
                  <a:gd name="connsiteY489" fmla="*/ 2010 h 224991"/>
                  <a:gd name="connsiteX490" fmla="*/ 9867818 w 11930425"/>
                  <a:gd name="connsiteY490" fmla="*/ 2010 h 224991"/>
                  <a:gd name="connsiteX491" fmla="*/ 9938985 w 11930425"/>
                  <a:gd name="connsiteY491" fmla="*/ 112598 h 224991"/>
                  <a:gd name="connsiteX492" fmla="*/ 9918899 w 11930425"/>
                  <a:gd name="connsiteY492" fmla="*/ 196177 h 224991"/>
                  <a:gd name="connsiteX493" fmla="*/ 9862702 w 11930425"/>
                  <a:gd name="connsiteY493" fmla="*/ 224990 h 224991"/>
                  <a:gd name="connsiteX494" fmla="*/ 9810117 w 11930425"/>
                  <a:gd name="connsiteY494" fmla="*/ 197456 h 224991"/>
                  <a:gd name="connsiteX495" fmla="*/ 9791234 w 11930425"/>
                  <a:gd name="connsiteY495" fmla="*/ 117864 h 224991"/>
                  <a:gd name="connsiteX496" fmla="*/ 9810944 w 11930425"/>
                  <a:gd name="connsiteY496" fmla="*/ 31350 h 224991"/>
                  <a:gd name="connsiteX497" fmla="*/ 9867818 w 11930425"/>
                  <a:gd name="connsiteY497" fmla="*/ 2010 h 224991"/>
                  <a:gd name="connsiteX498" fmla="*/ 9206157 w 11930425"/>
                  <a:gd name="connsiteY498" fmla="*/ 2010 h 224991"/>
                  <a:gd name="connsiteX499" fmla="*/ 9277324 w 11930425"/>
                  <a:gd name="connsiteY499" fmla="*/ 112598 h 224991"/>
                  <a:gd name="connsiteX500" fmla="*/ 9257238 w 11930425"/>
                  <a:gd name="connsiteY500" fmla="*/ 196177 h 224991"/>
                  <a:gd name="connsiteX501" fmla="*/ 9201041 w 11930425"/>
                  <a:gd name="connsiteY501" fmla="*/ 224990 h 224991"/>
                  <a:gd name="connsiteX502" fmla="*/ 9148456 w 11930425"/>
                  <a:gd name="connsiteY502" fmla="*/ 197456 h 224991"/>
                  <a:gd name="connsiteX503" fmla="*/ 9129573 w 11930425"/>
                  <a:gd name="connsiteY503" fmla="*/ 117864 h 224991"/>
                  <a:gd name="connsiteX504" fmla="*/ 9149283 w 11930425"/>
                  <a:gd name="connsiteY504" fmla="*/ 31350 h 224991"/>
                  <a:gd name="connsiteX505" fmla="*/ 9206157 w 11930425"/>
                  <a:gd name="connsiteY505" fmla="*/ 2010 h 224991"/>
                  <a:gd name="connsiteX506" fmla="*/ 8985234 w 11930425"/>
                  <a:gd name="connsiteY506" fmla="*/ 2010 h 224991"/>
                  <a:gd name="connsiteX507" fmla="*/ 9056401 w 11930425"/>
                  <a:gd name="connsiteY507" fmla="*/ 112598 h 224991"/>
                  <a:gd name="connsiteX508" fmla="*/ 9036315 w 11930425"/>
                  <a:gd name="connsiteY508" fmla="*/ 196177 h 224991"/>
                  <a:gd name="connsiteX509" fmla="*/ 8980118 w 11930425"/>
                  <a:gd name="connsiteY509" fmla="*/ 224990 h 224991"/>
                  <a:gd name="connsiteX510" fmla="*/ 8927533 w 11930425"/>
                  <a:gd name="connsiteY510" fmla="*/ 197456 h 224991"/>
                  <a:gd name="connsiteX511" fmla="*/ 8908650 w 11930425"/>
                  <a:gd name="connsiteY511" fmla="*/ 117864 h 224991"/>
                  <a:gd name="connsiteX512" fmla="*/ 8928360 w 11930425"/>
                  <a:gd name="connsiteY512" fmla="*/ 31350 h 224991"/>
                  <a:gd name="connsiteX513" fmla="*/ 8985234 w 11930425"/>
                  <a:gd name="connsiteY513" fmla="*/ 2010 h 224991"/>
                  <a:gd name="connsiteX514" fmla="*/ 6135772 w 11930425"/>
                  <a:gd name="connsiteY514" fmla="*/ 2010 h 224991"/>
                  <a:gd name="connsiteX515" fmla="*/ 6206939 w 11930425"/>
                  <a:gd name="connsiteY515" fmla="*/ 112598 h 224991"/>
                  <a:gd name="connsiteX516" fmla="*/ 6186853 w 11930425"/>
                  <a:gd name="connsiteY516" fmla="*/ 196177 h 224991"/>
                  <a:gd name="connsiteX517" fmla="*/ 6130656 w 11930425"/>
                  <a:gd name="connsiteY517" fmla="*/ 224990 h 224991"/>
                  <a:gd name="connsiteX518" fmla="*/ 6078071 w 11930425"/>
                  <a:gd name="connsiteY518" fmla="*/ 197456 h 224991"/>
                  <a:gd name="connsiteX519" fmla="*/ 6059188 w 11930425"/>
                  <a:gd name="connsiteY519" fmla="*/ 117864 h 224991"/>
                  <a:gd name="connsiteX520" fmla="*/ 6078898 w 11930425"/>
                  <a:gd name="connsiteY520" fmla="*/ 31350 h 224991"/>
                  <a:gd name="connsiteX521" fmla="*/ 6135772 w 11930425"/>
                  <a:gd name="connsiteY521" fmla="*/ 2010 h 224991"/>
                  <a:gd name="connsiteX522" fmla="*/ 4032688 w 11930425"/>
                  <a:gd name="connsiteY522" fmla="*/ 2010 h 224991"/>
                  <a:gd name="connsiteX523" fmla="*/ 4103855 w 11930425"/>
                  <a:gd name="connsiteY523" fmla="*/ 112598 h 224991"/>
                  <a:gd name="connsiteX524" fmla="*/ 4083769 w 11930425"/>
                  <a:gd name="connsiteY524" fmla="*/ 196177 h 224991"/>
                  <a:gd name="connsiteX525" fmla="*/ 4027572 w 11930425"/>
                  <a:gd name="connsiteY525" fmla="*/ 224990 h 224991"/>
                  <a:gd name="connsiteX526" fmla="*/ 3974987 w 11930425"/>
                  <a:gd name="connsiteY526" fmla="*/ 197456 h 224991"/>
                  <a:gd name="connsiteX527" fmla="*/ 3956104 w 11930425"/>
                  <a:gd name="connsiteY527" fmla="*/ 117864 h 224991"/>
                  <a:gd name="connsiteX528" fmla="*/ 3975814 w 11930425"/>
                  <a:gd name="connsiteY528" fmla="*/ 31350 h 224991"/>
                  <a:gd name="connsiteX529" fmla="*/ 4032688 w 11930425"/>
                  <a:gd name="connsiteY529" fmla="*/ 2010 h 224991"/>
                  <a:gd name="connsiteX530" fmla="*/ 3811764 w 11930425"/>
                  <a:gd name="connsiteY530" fmla="*/ 2010 h 224991"/>
                  <a:gd name="connsiteX531" fmla="*/ 3882932 w 11930425"/>
                  <a:gd name="connsiteY531" fmla="*/ 112598 h 224991"/>
                  <a:gd name="connsiteX532" fmla="*/ 3862846 w 11930425"/>
                  <a:gd name="connsiteY532" fmla="*/ 196177 h 224991"/>
                  <a:gd name="connsiteX533" fmla="*/ 3806649 w 11930425"/>
                  <a:gd name="connsiteY533" fmla="*/ 224990 h 224991"/>
                  <a:gd name="connsiteX534" fmla="*/ 3754064 w 11930425"/>
                  <a:gd name="connsiteY534" fmla="*/ 197456 h 224991"/>
                  <a:gd name="connsiteX535" fmla="*/ 3735181 w 11930425"/>
                  <a:gd name="connsiteY535" fmla="*/ 117864 h 224991"/>
                  <a:gd name="connsiteX536" fmla="*/ 3754891 w 11930425"/>
                  <a:gd name="connsiteY536" fmla="*/ 31350 h 224991"/>
                  <a:gd name="connsiteX537" fmla="*/ 3811764 w 11930425"/>
                  <a:gd name="connsiteY537" fmla="*/ 2010 h 224991"/>
                  <a:gd name="connsiteX538" fmla="*/ 3150104 w 11930425"/>
                  <a:gd name="connsiteY538" fmla="*/ 2010 h 224991"/>
                  <a:gd name="connsiteX539" fmla="*/ 3221272 w 11930425"/>
                  <a:gd name="connsiteY539" fmla="*/ 112598 h 224991"/>
                  <a:gd name="connsiteX540" fmla="*/ 3201186 w 11930425"/>
                  <a:gd name="connsiteY540" fmla="*/ 196177 h 224991"/>
                  <a:gd name="connsiteX541" fmla="*/ 3144989 w 11930425"/>
                  <a:gd name="connsiteY541" fmla="*/ 224990 h 224991"/>
                  <a:gd name="connsiteX542" fmla="*/ 3092404 w 11930425"/>
                  <a:gd name="connsiteY542" fmla="*/ 197456 h 224991"/>
                  <a:gd name="connsiteX543" fmla="*/ 3073521 w 11930425"/>
                  <a:gd name="connsiteY543" fmla="*/ 117864 h 224991"/>
                  <a:gd name="connsiteX544" fmla="*/ 3093231 w 11930425"/>
                  <a:gd name="connsiteY544" fmla="*/ 31350 h 224991"/>
                  <a:gd name="connsiteX545" fmla="*/ 3150104 w 11930425"/>
                  <a:gd name="connsiteY545" fmla="*/ 2010 h 224991"/>
                  <a:gd name="connsiteX546" fmla="*/ 2929181 w 11930425"/>
                  <a:gd name="connsiteY546" fmla="*/ 2010 h 224991"/>
                  <a:gd name="connsiteX547" fmla="*/ 3000349 w 11930425"/>
                  <a:gd name="connsiteY547" fmla="*/ 112598 h 224991"/>
                  <a:gd name="connsiteX548" fmla="*/ 2980263 w 11930425"/>
                  <a:gd name="connsiteY548" fmla="*/ 196177 h 224991"/>
                  <a:gd name="connsiteX549" fmla="*/ 2924066 w 11930425"/>
                  <a:gd name="connsiteY549" fmla="*/ 224990 h 224991"/>
                  <a:gd name="connsiteX550" fmla="*/ 2871481 w 11930425"/>
                  <a:gd name="connsiteY550" fmla="*/ 197456 h 224991"/>
                  <a:gd name="connsiteX551" fmla="*/ 2852598 w 11930425"/>
                  <a:gd name="connsiteY551" fmla="*/ 117864 h 224991"/>
                  <a:gd name="connsiteX552" fmla="*/ 2872308 w 11930425"/>
                  <a:gd name="connsiteY552" fmla="*/ 31350 h 224991"/>
                  <a:gd name="connsiteX553" fmla="*/ 2929181 w 11930425"/>
                  <a:gd name="connsiteY553" fmla="*/ 2010 h 224991"/>
                  <a:gd name="connsiteX554" fmla="*/ 76584 w 11930425"/>
                  <a:gd name="connsiteY554" fmla="*/ 0 h 224991"/>
                  <a:gd name="connsiteX555" fmla="*/ 147751 w 11930425"/>
                  <a:gd name="connsiteY555" fmla="*/ 110588 h 224991"/>
                  <a:gd name="connsiteX556" fmla="*/ 127665 w 11930425"/>
                  <a:gd name="connsiteY556" fmla="*/ 194167 h 224991"/>
                  <a:gd name="connsiteX557" fmla="*/ 71468 w 11930425"/>
                  <a:gd name="connsiteY557" fmla="*/ 222980 h 224991"/>
                  <a:gd name="connsiteX558" fmla="*/ 18883 w 11930425"/>
                  <a:gd name="connsiteY558" fmla="*/ 195446 h 224991"/>
                  <a:gd name="connsiteX559" fmla="*/ 0 w 11930425"/>
                  <a:gd name="connsiteY559" fmla="*/ 115854 h 224991"/>
                  <a:gd name="connsiteX560" fmla="*/ 19710 w 11930425"/>
                  <a:gd name="connsiteY560" fmla="*/ 29340 h 224991"/>
                  <a:gd name="connsiteX561" fmla="*/ 76584 w 11930425"/>
                  <a:gd name="connsiteY561" fmla="*/ 0 h 2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11930425" h="224991">
                    <a:moveTo>
                      <a:pt x="10087086" y="29845"/>
                    </a:moveTo>
                    <a:cubicBezTo>
                      <a:pt x="10060906" y="29845"/>
                      <a:pt x="10047816" y="58683"/>
                      <a:pt x="10047816" y="116359"/>
                    </a:cubicBezTo>
                    <a:cubicBezTo>
                      <a:pt x="10047816" y="170323"/>
                      <a:pt x="10060655" y="197306"/>
                      <a:pt x="10086334" y="197306"/>
                    </a:cubicBezTo>
                    <a:cubicBezTo>
                      <a:pt x="10111610" y="197306"/>
                      <a:pt x="10124249" y="169872"/>
                      <a:pt x="10124249" y="115005"/>
                    </a:cubicBezTo>
                    <a:cubicBezTo>
                      <a:pt x="10124249" y="58231"/>
                      <a:pt x="10111861" y="29845"/>
                      <a:pt x="10087086" y="29845"/>
                    </a:cubicBezTo>
                    <a:close/>
                    <a:moveTo>
                      <a:pt x="9866163" y="29845"/>
                    </a:moveTo>
                    <a:cubicBezTo>
                      <a:pt x="9839983" y="29845"/>
                      <a:pt x="9826893" y="58683"/>
                      <a:pt x="9826893" y="116359"/>
                    </a:cubicBezTo>
                    <a:cubicBezTo>
                      <a:pt x="9826893" y="170323"/>
                      <a:pt x="9839732" y="197306"/>
                      <a:pt x="9865411" y="197306"/>
                    </a:cubicBezTo>
                    <a:cubicBezTo>
                      <a:pt x="9890687" y="197306"/>
                      <a:pt x="9903326" y="169872"/>
                      <a:pt x="9903326" y="115005"/>
                    </a:cubicBezTo>
                    <a:cubicBezTo>
                      <a:pt x="9903326" y="58231"/>
                      <a:pt x="9890938" y="29845"/>
                      <a:pt x="9866163" y="29845"/>
                    </a:cubicBezTo>
                    <a:close/>
                    <a:moveTo>
                      <a:pt x="9204502" y="29845"/>
                    </a:moveTo>
                    <a:cubicBezTo>
                      <a:pt x="9178322" y="29845"/>
                      <a:pt x="9165232" y="58683"/>
                      <a:pt x="9165232" y="116359"/>
                    </a:cubicBezTo>
                    <a:cubicBezTo>
                      <a:pt x="9165232" y="170323"/>
                      <a:pt x="9178071" y="197306"/>
                      <a:pt x="9203750" y="197306"/>
                    </a:cubicBezTo>
                    <a:cubicBezTo>
                      <a:pt x="9229026" y="197306"/>
                      <a:pt x="9241665" y="169872"/>
                      <a:pt x="9241665" y="115005"/>
                    </a:cubicBezTo>
                    <a:cubicBezTo>
                      <a:pt x="9241665" y="58231"/>
                      <a:pt x="9229277" y="29845"/>
                      <a:pt x="9204502" y="29845"/>
                    </a:cubicBezTo>
                    <a:close/>
                    <a:moveTo>
                      <a:pt x="8983579" y="29845"/>
                    </a:moveTo>
                    <a:cubicBezTo>
                      <a:pt x="8957399" y="29845"/>
                      <a:pt x="8944309" y="58683"/>
                      <a:pt x="8944309" y="116359"/>
                    </a:cubicBezTo>
                    <a:cubicBezTo>
                      <a:pt x="8944309" y="170323"/>
                      <a:pt x="8957148" y="197306"/>
                      <a:pt x="8982827" y="197306"/>
                    </a:cubicBezTo>
                    <a:cubicBezTo>
                      <a:pt x="9008103" y="197306"/>
                      <a:pt x="9020742" y="169872"/>
                      <a:pt x="9020742" y="115005"/>
                    </a:cubicBezTo>
                    <a:cubicBezTo>
                      <a:pt x="9020742" y="58231"/>
                      <a:pt x="9008354" y="29845"/>
                      <a:pt x="8983579" y="29845"/>
                    </a:cubicBezTo>
                    <a:close/>
                    <a:moveTo>
                      <a:pt x="6134117" y="29845"/>
                    </a:moveTo>
                    <a:cubicBezTo>
                      <a:pt x="6107937" y="29845"/>
                      <a:pt x="6094847" y="58683"/>
                      <a:pt x="6094847" y="116359"/>
                    </a:cubicBezTo>
                    <a:cubicBezTo>
                      <a:pt x="6094847" y="170323"/>
                      <a:pt x="6107686" y="197306"/>
                      <a:pt x="6133365" y="197306"/>
                    </a:cubicBezTo>
                    <a:cubicBezTo>
                      <a:pt x="6158642" y="197306"/>
                      <a:pt x="6171280" y="169872"/>
                      <a:pt x="6171280" y="115005"/>
                    </a:cubicBezTo>
                    <a:cubicBezTo>
                      <a:pt x="6171280" y="58231"/>
                      <a:pt x="6158892" y="29845"/>
                      <a:pt x="6134117" y="29845"/>
                    </a:cubicBezTo>
                    <a:close/>
                    <a:moveTo>
                      <a:pt x="4031033" y="29845"/>
                    </a:moveTo>
                    <a:cubicBezTo>
                      <a:pt x="4004853" y="29845"/>
                      <a:pt x="3991763" y="58683"/>
                      <a:pt x="3991763" y="116359"/>
                    </a:cubicBezTo>
                    <a:cubicBezTo>
                      <a:pt x="3991763" y="170323"/>
                      <a:pt x="4004602" y="197306"/>
                      <a:pt x="4030281" y="197306"/>
                    </a:cubicBezTo>
                    <a:cubicBezTo>
                      <a:pt x="4055558" y="197306"/>
                      <a:pt x="4068196" y="169872"/>
                      <a:pt x="4068196" y="115005"/>
                    </a:cubicBezTo>
                    <a:cubicBezTo>
                      <a:pt x="4068196" y="58231"/>
                      <a:pt x="4055808" y="29845"/>
                      <a:pt x="4031033" y="29845"/>
                    </a:cubicBezTo>
                    <a:close/>
                    <a:moveTo>
                      <a:pt x="3810110" y="29845"/>
                    </a:moveTo>
                    <a:cubicBezTo>
                      <a:pt x="3783930" y="29845"/>
                      <a:pt x="3770840" y="58683"/>
                      <a:pt x="3770840" y="116359"/>
                    </a:cubicBezTo>
                    <a:cubicBezTo>
                      <a:pt x="3770840" y="170323"/>
                      <a:pt x="3783679" y="197306"/>
                      <a:pt x="3809357" y="197306"/>
                    </a:cubicBezTo>
                    <a:cubicBezTo>
                      <a:pt x="3834634" y="197306"/>
                      <a:pt x="3847273" y="169872"/>
                      <a:pt x="3847273" y="115005"/>
                    </a:cubicBezTo>
                    <a:cubicBezTo>
                      <a:pt x="3847273" y="58231"/>
                      <a:pt x="3834885" y="29845"/>
                      <a:pt x="3810110" y="29845"/>
                    </a:cubicBezTo>
                    <a:close/>
                    <a:moveTo>
                      <a:pt x="3148450" y="29845"/>
                    </a:moveTo>
                    <a:cubicBezTo>
                      <a:pt x="3122270" y="29845"/>
                      <a:pt x="3109180" y="58683"/>
                      <a:pt x="3109180" y="116359"/>
                    </a:cubicBezTo>
                    <a:cubicBezTo>
                      <a:pt x="3109180" y="170323"/>
                      <a:pt x="3122019" y="197306"/>
                      <a:pt x="3147697" y="197306"/>
                    </a:cubicBezTo>
                    <a:cubicBezTo>
                      <a:pt x="3172974" y="197306"/>
                      <a:pt x="3185613" y="169872"/>
                      <a:pt x="3185613" y="115005"/>
                    </a:cubicBezTo>
                    <a:cubicBezTo>
                      <a:pt x="3185613" y="58231"/>
                      <a:pt x="3173225" y="29845"/>
                      <a:pt x="3148450" y="29845"/>
                    </a:cubicBezTo>
                    <a:close/>
                    <a:moveTo>
                      <a:pt x="2927527" y="29845"/>
                    </a:moveTo>
                    <a:cubicBezTo>
                      <a:pt x="2901347" y="29845"/>
                      <a:pt x="2888257" y="58683"/>
                      <a:pt x="2888257" y="116359"/>
                    </a:cubicBezTo>
                    <a:cubicBezTo>
                      <a:pt x="2888257" y="170323"/>
                      <a:pt x="2901096" y="197306"/>
                      <a:pt x="2926774" y="197306"/>
                    </a:cubicBezTo>
                    <a:cubicBezTo>
                      <a:pt x="2952051" y="197306"/>
                      <a:pt x="2964690" y="169872"/>
                      <a:pt x="2964690" y="115005"/>
                    </a:cubicBezTo>
                    <a:cubicBezTo>
                      <a:pt x="2964690" y="58231"/>
                      <a:pt x="2952302" y="29845"/>
                      <a:pt x="2927527" y="29845"/>
                    </a:cubicBezTo>
                    <a:close/>
                    <a:moveTo>
                      <a:pt x="74929" y="27835"/>
                    </a:moveTo>
                    <a:cubicBezTo>
                      <a:pt x="48749" y="27835"/>
                      <a:pt x="35659" y="56673"/>
                      <a:pt x="35659" y="114349"/>
                    </a:cubicBezTo>
                    <a:cubicBezTo>
                      <a:pt x="35659" y="168313"/>
                      <a:pt x="48498" y="195296"/>
                      <a:pt x="74177" y="195296"/>
                    </a:cubicBezTo>
                    <a:cubicBezTo>
                      <a:pt x="99454" y="195296"/>
                      <a:pt x="112092" y="167862"/>
                      <a:pt x="112092" y="112995"/>
                    </a:cubicBezTo>
                    <a:cubicBezTo>
                      <a:pt x="112092" y="56221"/>
                      <a:pt x="99704" y="27835"/>
                      <a:pt x="74929" y="27835"/>
                    </a:cubicBezTo>
                    <a:close/>
                    <a:moveTo>
                      <a:pt x="11915519" y="2011"/>
                    </a:moveTo>
                    <a:lnTo>
                      <a:pt x="11930425" y="2011"/>
                    </a:lnTo>
                    <a:lnTo>
                      <a:pt x="11930425" y="224991"/>
                    </a:lnTo>
                    <a:lnTo>
                      <a:pt x="11895137" y="224991"/>
                    </a:lnTo>
                    <a:lnTo>
                      <a:pt x="11895137" y="45208"/>
                    </a:lnTo>
                    <a:cubicBezTo>
                      <a:pt x="11888749" y="49771"/>
                      <a:pt x="11881879" y="53649"/>
                      <a:pt x="11874528" y="56843"/>
                    </a:cubicBezTo>
                    <a:cubicBezTo>
                      <a:pt x="11867176" y="60038"/>
                      <a:pt x="11858785" y="62851"/>
                      <a:pt x="11849355" y="65285"/>
                    </a:cubicBezTo>
                    <a:lnTo>
                      <a:pt x="11849355" y="35169"/>
                    </a:lnTo>
                    <a:cubicBezTo>
                      <a:pt x="11855236" y="33243"/>
                      <a:pt x="11860915" y="31215"/>
                      <a:pt x="11866390" y="29085"/>
                    </a:cubicBezTo>
                    <a:cubicBezTo>
                      <a:pt x="11871866" y="26956"/>
                      <a:pt x="11877266" y="24573"/>
                      <a:pt x="11882589" y="21936"/>
                    </a:cubicBezTo>
                    <a:cubicBezTo>
                      <a:pt x="11887913" y="19300"/>
                      <a:pt x="11893287" y="16359"/>
                      <a:pt x="11898712" y="13115"/>
                    </a:cubicBezTo>
                    <a:cubicBezTo>
                      <a:pt x="11904137" y="9870"/>
                      <a:pt x="11909739" y="6169"/>
                      <a:pt x="11915519" y="2011"/>
                    </a:cubicBezTo>
                    <a:close/>
                    <a:moveTo>
                      <a:pt x="11532651" y="2011"/>
                    </a:moveTo>
                    <a:lnTo>
                      <a:pt x="11547557" y="2011"/>
                    </a:lnTo>
                    <a:lnTo>
                      <a:pt x="11547557" y="224991"/>
                    </a:lnTo>
                    <a:lnTo>
                      <a:pt x="11512269" y="224991"/>
                    </a:lnTo>
                    <a:lnTo>
                      <a:pt x="11512269" y="45208"/>
                    </a:lnTo>
                    <a:cubicBezTo>
                      <a:pt x="11505881" y="49771"/>
                      <a:pt x="11499011" y="53649"/>
                      <a:pt x="11491660" y="56843"/>
                    </a:cubicBezTo>
                    <a:cubicBezTo>
                      <a:pt x="11484308" y="60038"/>
                      <a:pt x="11475917" y="62851"/>
                      <a:pt x="11466487" y="65285"/>
                    </a:cubicBezTo>
                    <a:lnTo>
                      <a:pt x="11466487" y="35169"/>
                    </a:lnTo>
                    <a:cubicBezTo>
                      <a:pt x="11472368" y="33243"/>
                      <a:pt x="11478047" y="31215"/>
                      <a:pt x="11483522" y="29085"/>
                    </a:cubicBezTo>
                    <a:cubicBezTo>
                      <a:pt x="11488998" y="26956"/>
                      <a:pt x="11494398" y="24573"/>
                      <a:pt x="11499721" y="21936"/>
                    </a:cubicBezTo>
                    <a:cubicBezTo>
                      <a:pt x="11505045" y="19300"/>
                      <a:pt x="11510419" y="16359"/>
                      <a:pt x="11515844" y="13115"/>
                    </a:cubicBezTo>
                    <a:cubicBezTo>
                      <a:pt x="11521269" y="9870"/>
                      <a:pt x="11526871" y="6169"/>
                      <a:pt x="11532651" y="2011"/>
                    </a:cubicBezTo>
                    <a:close/>
                    <a:moveTo>
                      <a:pt x="11388525" y="2011"/>
                    </a:moveTo>
                    <a:lnTo>
                      <a:pt x="11403431" y="2011"/>
                    </a:lnTo>
                    <a:lnTo>
                      <a:pt x="11403431" y="224991"/>
                    </a:lnTo>
                    <a:lnTo>
                      <a:pt x="11368143" y="224991"/>
                    </a:lnTo>
                    <a:lnTo>
                      <a:pt x="11368143" y="45208"/>
                    </a:lnTo>
                    <a:cubicBezTo>
                      <a:pt x="11361755" y="49771"/>
                      <a:pt x="11354885" y="53649"/>
                      <a:pt x="11347534" y="56843"/>
                    </a:cubicBezTo>
                    <a:cubicBezTo>
                      <a:pt x="11340182" y="60038"/>
                      <a:pt x="11331791" y="62851"/>
                      <a:pt x="11322361" y="65285"/>
                    </a:cubicBezTo>
                    <a:lnTo>
                      <a:pt x="11322361" y="35169"/>
                    </a:lnTo>
                    <a:cubicBezTo>
                      <a:pt x="11328242" y="33243"/>
                      <a:pt x="11333921" y="31215"/>
                      <a:pt x="11339396" y="29085"/>
                    </a:cubicBezTo>
                    <a:cubicBezTo>
                      <a:pt x="11344872" y="26956"/>
                      <a:pt x="11350272" y="24573"/>
                      <a:pt x="11355595" y="21936"/>
                    </a:cubicBezTo>
                    <a:cubicBezTo>
                      <a:pt x="11360919" y="19300"/>
                      <a:pt x="11366293" y="16359"/>
                      <a:pt x="11371718" y="13115"/>
                    </a:cubicBezTo>
                    <a:cubicBezTo>
                      <a:pt x="11377143" y="9870"/>
                      <a:pt x="11382745" y="6169"/>
                      <a:pt x="11388525" y="2011"/>
                    </a:cubicBezTo>
                    <a:close/>
                    <a:moveTo>
                      <a:pt x="11244400" y="2011"/>
                    </a:moveTo>
                    <a:lnTo>
                      <a:pt x="11259306" y="2011"/>
                    </a:lnTo>
                    <a:lnTo>
                      <a:pt x="11259306" y="224991"/>
                    </a:lnTo>
                    <a:lnTo>
                      <a:pt x="11224018" y="224991"/>
                    </a:lnTo>
                    <a:lnTo>
                      <a:pt x="11224018" y="45208"/>
                    </a:lnTo>
                    <a:cubicBezTo>
                      <a:pt x="11217630" y="49771"/>
                      <a:pt x="11210760" y="53649"/>
                      <a:pt x="11203409" y="56843"/>
                    </a:cubicBezTo>
                    <a:cubicBezTo>
                      <a:pt x="11196057" y="60038"/>
                      <a:pt x="11187666" y="62851"/>
                      <a:pt x="11178236" y="65285"/>
                    </a:cubicBezTo>
                    <a:lnTo>
                      <a:pt x="11178236" y="35169"/>
                    </a:lnTo>
                    <a:cubicBezTo>
                      <a:pt x="11184117" y="33243"/>
                      <a:pt x="11189796" y="31215"/>
                      <a:pt x="11195271" y="29085"/>
                    </a:cubicBezTo>
                    <a:cubicBezTo>
                      <a:pt x="11200747" y="26956"/>
                      <a:pt x="11206147" y="24573"/>
                      <a:pt x="11211470" y="21936"/>
                    </a:cubicBezTo>
                    <a:cubicBezTo>
                      <a:pt x="11216794" y="19300"/>
                      <a:pt x="11222168" y="16359"/>
                      <a:pt x="11227593" y="13115"/>
                    </a:cubicBezTo>
                    <a:cubicBezTo>
                      <a:pt x="11233018" y="9870"/>
                      <a:pt x="11238620" y="6169"/>
                      <a:pt x="11244400" y="2011"/>
                    </a:cubicBezTo>
                    <a:close/>
                    <a:moveTo>
                      <a:pt x="11100275" y="2011"/>
                    </a:moveTo>
                    <a:lnTo>
                      <a:pt x="11115181" y="2011"/>
                    </a:lnTo>
                    <a:lnTo>
                      <a:pt x="11115181" y="224991"/>
                    </a:lnTo>
                    <a:lnTo>
                      <a:pt x="11079893" y="224991"/>
                    </a:lnTo>
                    <a:lnTo>
                      <a:pt x="11079893" y="45208"/>
                    </a:lnTo>
                    <a:cubicBezTo>
                      <a:pt x="11073505" y="49771"/>
                      <a:pt x="11066635" y="53649"/>
                      <a:pt x="11059284" y="56843"/>
                    </a:cubicBezTo>
                    <a:cubicBezTo>
                      <a:pt x="11051932" y="60038"/>
                      <a:pt x="11043541" y="62851"/>
                      <a:pt x="11034111" y="65285"/>
                    </a:cubicBezTo>
                    <a:lnTo>
                      <a:pt x="11034111" y="35169"/>
                    </a:lnTo>
                    <a:cubicBezTo>
                      <a:pt x="11039992" y="33243"/>
                      <a:pt x="11045671" y="31215"/>
                      <a:pt x="11051146" y="29085"/>
                    </a:cubicBezTo>
                    <a:cubicBezTo>
                      <a:pt x="11056622" y="26956"/>
                      <a:pt x="11062022" y="24573"/>
                      <a:pt x="11067345" y="21936"/>
                    </a:cubicBezTo>
                    <a:cubicBezTo>
                      <a:pt x="11072669" y="19300"/>
                      <a:pt x="11078043" y="16359"/>
                      <a:pt x="11083468" y="13115"/>
                    </a:cubicBezTo>
                    <a:cubicBezTo>
                      <a:pt x="11088893" y="9870"/>
                      <a:pt x="11094495" y="6169"/>
                      <a:pt x="11100275" y="2011"/>
                    </a:cubicBezTo>
                    <a:close/>
                    <a:moveTo>
                      <a:pt x="10956150" y="2011"/>
                    </a:moveTo>
                    <a:lnTo>
                      <a:pt x="10971056" y="2011"/>
                    </a:lnTo>
                    <a:lnTo>
                      <a:pt x="10971056" y="224991"/>
                    </a:lnTo>
                    <a:lnTo>
                      <a:pt x="10935768" y="224991"/>
                    </a:lnTo>
                    <a:lnTo>
                      <a:pt x="10935768" y="45208"/>
                    </a:lnTo>
                    <a:cubicBezTo>
                      <a:pt x="10929380" y="49771"/>
                      <a:pt x="10922510" y="53649"/>
                      <a:pt x="10915159" y="56843"/>
                    </a:cubicBezTo>
                    <a:cubicBezTo>
                      <a:pt x="10907807" y="60038"/>
                      <a:pt x="10899416" y="62851"/>
                      <a:pt x="10889986" y="65285"/>
                    </a:cubicBezTo>
                    <a:lnTo>
                      <a:pt x="10889986" y="35169"/>
                    </a:lnTo>
                    <a:cubicBezTo>
                      <a:pt x="10895867" y="33243"/>
                      <a:pt x="10901546" y="31215"/>
                      <a:pt x="10907021" y="29085"/>
                    </a:cubicBezTo>
                    <a:cubicBezTo>
                      <a:pt x="10912497" y="26956"/>
                      <a:pt x="10917897" y="24573"/>
                      <a:pt x="10923220" y="21936"/>
                    </a:cubicBezTo>
                    <a:cubicBezTo>
                      <a:pt x="10928544" y="19300"/>
                      <a:pt x="10933918" y="16359"/>
                      <a:pt x="10939343" y="13115"/>
                    </a:cubicBezTo>
                    <a:cubicBezTo>
                      <a:pt x="10944768" y="9870"/>
                      <a:pt x="10950370" y="6169"/>
                      <a:pt x="10956150" y="2011"/>
                    </a:cubicBezTo>
                    <a:close/>
                    <a:moveTo>
                      <a:pt x="10567917" y="2011"/>
                    </a:moveTo>
                    <a:lnTo>
                      <a:pt x="10582823" y="2011"/>
                    </a:lnTo>
                    <a:lnTo>
                      <a:pt x="10582823" y="224991"/>
                    </a:lnTo>
                    <a:lnTo>
                      <a:pt x="10547535" y="224991"/>
                    </a:lnTo>
                    <a:lnTo>
                      <a:pt x="10547535" y="45208"/>
                    </a:lnTo>
                    <a:cubicBezTo>
                      <a:pt x="10541147" y="49771"/>
                      <a:pt x="10534277" y="53649"/>
                      <a:pt x="10526926" y="56843"/>
                    </a:cubicBezTo>
                    <a:cubicBezTo>
                      <a:pt x="10519574" y="60038"/>
                      <a:pt x="10511183" y="62851"/>
                      <a:pt x="10501753" y="65285"/>
                    </a:cubicBezTo>
                    <a:lnTo>
                      <a:pt x="10501753" y="35169"/>
                    </a:lnTo>
                    <a:cubicBezTo>
                      <a:pt x="10507634" y="33243"/>
                      <a:pt x="10513313" y="31215"/>
                      <a:pt x="10518788" y="29085"/>
                    </a:cubicBezTo>
                    <a:cubicBezTo>
                      <a:pt x="10524264" y="26956"/>
                      <a:pt x="10529664" y="24573"/>
                      <a:pt x="10534987" y="21936"/>
                    </a:cubicBezTo>
                    <a:cubicBezTo>
                      <a:pt x="10540311" y="19300"/>
                      <a:pt x="10545685" y="16359"/>
                      <a:pt x="10551110" y="13115"/>
                    </a:cubicBezTo>
                    <a:cubicBezTo>
                      <a:pt x="10556535" y="9870"/>
                      <a:pt x="10562137" y="6169"/>
                      <a:pt x="10567917" y="2011"/>
                    </a:cubicBezTo>
                    <a:close/>
                    <a:moveTo>
                      <a:pt x="10301809" y="2011"/>
                    </a:moveTo>
                    <a:lnTo>
                      <a:pt x="10316715" y="2011"/>
                    </a:lnTo>
                    <a:lnTo>
                      <a:pt x="10316715" y="224991"/>
                    </a:lnTo>
                    <a:lnTo>
                      <a:pt x="10281427" y="224991"/>
                    </a:lnTo>
                    <a:lnTo>
                      <a:pt x="10281427" y="45208"/>
                    </a:lnTo>
                    <a:cubicBezTo>
                      <a:pt x="10275039" y="49771"/>
                      <a:pt x="10268169" y="53649"/>
                      <a:pt x="10260818" y="56843"/>
                    </a:cubicBezTo>
                    <a:cubicBezTo>
                      <a:pt x="10253466" y="60038"/>
                      <a:pt x="10245075" y="62851"/>
                      <a:pt x="10235645" y="65285"/>
                    </a:cubicBezTo>
                    <a:lnTo>
                      <a:pt x="10235645" y="35169"/>
                    </a:lnTo>
                    <a:cubicBezTo>
                      <a:pt x="10241526" y="33243"/>
                      <a:pt x="10247205" y="31215"/>
                      <a:pt x="10252680" y="29085"/>
                    </a:cubicBezTo>
                    <a:cubicBezTo>
                      <a:pt x="10258156" y="26956"/>
                      <a:pt x="10263556" y="24573"/>
                      <a:pt x="10268879" y="21936"/>
                    </a:cubicBezTo>
                    <a:cubicBezTo>
                      <a:pt x="10274203" y="19300"/>
                      <a:pt x="10279577" y="16359"/>
                      <a:pt x="10285002" y="13115"/>
                    </a:cubicBezTo>
                    <a:cubicBezTo>
                      <a:pt x="10290427" y="9870"/>
                      <a:pt x="10296029" y="6169"/>
                      <a:pt x="10301809" y="2011"/>
                    </a:cubicBezTo>
                    <a:close/>
                    <a:moveTo>
                      <a:pt x="9690210" y="2011"/>
                    </a:moveTo>
                    <a:lnTo>
                      <a:pt x="9705116" y="2011"/>
                    </a:lnTo>
                    <a:lnTo>
                      <a:pt x="9705116" y="224991"/>
                    </a:lnTo>
                    <a:lnTo>
                      <a:pt x="9669828" y="224991"/>
                    </a:lnTo>
                    <a:lnTo>
                      <a:pt x="9669828" y="45208"/>
                    </a:lnTo>
                    <a:cubicBezTo>
                      <a:pt x="9663440" y="49771"/>
                      <a:pt x="9656570" y="53649"/>
                      <a:pt x="9649219" y="56843"/>
                    </a:cubicBezTo>
                    <a:cubicBezTo>
                      <a:pt x="9641867" y="60038"/>
                      <a:pt x="9633476" y="62851"/>
                      <a:pt x="9624046" y="65285"/>
                    </a:cubicBezTo>
                    <a:lnTo>
                      <a:pt x="9624046" y="35169"/>
                    </a:lnTo>
                    <a:cubicBezTo>
                      <a:pt x="9629927" y="33243"/>
                      <a:pt x="9635606" y="31215"/>
                      <a:pt x="9641081" y="29085"/>
                    </a:cubicBezTo>
                    <a:cubicBezTo>
                      <a:pt x="9646557" y="26956"/>
                      <a:pt x="9651957" y="24573"/>
                      <a:pt x="9657280" y="21936"/>
                    </a:cubicBezTo>
                    <a:cubicBezTo>
                      <a:pt x="9662604" y="19300"/>
                      <a:pt x="9667978" y="16359"/>
                      <a:pt x="9673403" y="13115"/>
                    </a:cubicBezTo>
                    <a:cubicBezTo>
                      <a:pt x="9678828" y="9870"/>
                      <a:pt x="9684430" y="6169"/>
                      <a:pt x="9690210" y="2011"/>
                    </a:cubicBezTo>
                    <a:close/>
                    <a:moveTo>
                      <a:pt x="9424101" y="2011"/>
                    </a:moveTo>
                    <a:lnTo>
                      <a:pt x="9439007" y="2011"/>
                    </a:lnTo>
                    <a:lnTo>
                      <a:pt x="9439007" y="224991"/>
                    </a:lnTo>
                    <a:lnTo>
                      <a:pt x="9403719" y="224991"/>
                    </a:lnTo>
                    <a:lnTo>
                      <a:pt x="9403719" y="45208"/>
                    </a:lnTo>
                    <a:cubicBezTo>
                      <a:pt x="9397331" y="49771"/>
                      <a:pt x="9390461" y="53649"/>
                      <a:pt x="9383110" y="56843"/>
                    </a:cubicBezTo>
                    <a:cubicBezTo>
                      <a:pt x="9375758" y="60038"/>
                      <a:pt x="9367367" y="62851"/>
                      <a:pt x="9357937" y="65285"/>
                    </a:cubicBezTo>
                    <a:lnTo>
                      <a:pt x="9357937" y="35169"/>
                    </a:lnTo>
                    <a:cubicBezTo>
                      <a:pt x="9363818" y="33243"/>
                      <a:pt x="9369497" y="31215"/>
                      <a:pt x="9374972" y="29085"/>
                    </a:cubicBezTo>
                    <a:cubicBezTo>
                      <a:pt x="9380448" y="26956"/>
                      <a:pt x="9385848" y="24573"/>
                      <a:pt x="9391171" y="21936"/>
                    </a:cubicBezTo>
                    <a:cubicBezTo>
                      <a:pt x="9396495" y="19300"/>
                      <a:pt x="9401869" y="16359"/>
                      <a:pt x="9407294" y="13115"/>
                    </a:cubicBezTo>
                    <a:cubicBezTo>
                      <a:pt x="9412719" y="9870"/>
                      <a:pt x="9418321" y="6169"/>
                      <a:pt x="9424101" y="2011"/>
                    </a:cubicBezTo>
                    <a:close/>
                    <a:moveTo>
                      <a:pt x="8817754" y="2011"/>
                    </a:moveTo>
                    <a:lnTo>
                      <a:pt x="8832660" y="2011"/>
                    </a:lnTo>
                    <a:lnTo>
                      <a:pt x="8832660" y="224991"/>
                    </a:lnTo>
                    <a:lnTo>
                      <a:pt x="8797372" y="224991"/>
                    </a:lnTo>
                    <a:lnTo>
                      <a:pt x="8797372" y="45208"/>
                    </a:lnTo>
                    <a:cubicBezTo>
                      <a:pt x="8790984" y="49771"/>
                      <a:pt x="8784114" y="53649"/>
                      <a:pt x="8776763" y="56843"/>
                    </a:cubicBezTo>
                    <a:cubicBezTo>
                      <a:pt x="8769411" y="60038"/>
                      <a:pt x="8761020" y="62851"/>
                      <a:pt x="8751590" y="65285"/>
                    </a:cubicBezTo>
                    <a:lnTo>
                      <a:pt x="8751590" y="35169"/>
                    </a:lnTo>
                    <a:cubicBezTo>
                      <a:pt x="8757471" y="33243"/>
                      <a:pt x="8763150" y="31215"/>
                      <a:pt x="8768625" y="29085"/>
                    </a:cubicBezTo>
                    <a:cubicBezTo>
                      <a:pt x="8774101" y="26956"/>
                      <a:pt x="8779501" y="24573"/>
                      <a:pt x="8784824" y="21936"/>
                    </a:cubicBezTo>
                    <a:cubicBezTo>
                      <a:pt x="8790148" y="19300"/>
                      <a:pt x="8795522" y="16359"/>
                      <a:pt x="8800947" y="13115"/>
                    </a:cubicBezTo>
                    <a:cubicBezTo>
                      <a:pt x="8806372" y="9870"/>
                      <a:pt x="8811974" y="6169"/>
                      <a:pt x="8817754" y="2011"/>
                    </a:cubicBezTo>
                    <a:close/>
                    <a:moveTo>
                      <a:pt x="8551646" y="2011"/>
                    </a:moveTo>
                    <a:lnTo>
                      <a:pt x="8566552" y="2011"/>
                    </a:lnTo>
                    <a:lnTo>
                      <a:pt x="8566552" y="224991"/>
                    </a:lnTo>
                    <a:lnTo>
                      <a:pt x="8531264" y="224991"/>
                    </a:lnTo>
                    <a:lnTo>
                      <a:pt x="8531264" y="45208"/>
                    </a:lnTo>
                    <a:cubicBezTo>
                      <a:pt x="8524876" y="49771"/>
                      <a:pt x="8518006" y="53649"/>
                      <a:pt x="8510655" y="56843"/>
                    </a:cubicBezTo>
                    <a:cubicBezTo>
                      <a:pt x="8503303" y="60038"/>
                      <a:pt x="8494912" y="62851"/>
                      <a:pt x="8485482" y="65285"/>
                    </a:cubicBezTo>
                    <a:lnTo>
                      <a:pt x="8485482" y="35169"/>
                    </a:lnTo>
                    <a:cubicBezTo>
                      <a:pt x="8491363" y="33243"/>
                      <a:pt x="8497042" y="31215"/>
                      <a:pt x="8502517" y="29085"/>
                    </a:cubicBezTo>
                    <a:cubicBezTo>
                      <a:pt x="8507993" y="26956"/>
                      <a:pt x="8513393" y="24573"/>
                      <a:pt x="8518716" y="21936"/>
                    </a:cubicBezTo>
                    <a:cubicBezTo>
                      <a:pt x="8524040" y="19300"/>
                      <a:pt x="8529414" y="16359"/>
                      <a:pt x="8534839" y="13115"/>
                    </a:cubicBezTo>
                    <a:cubicBezTo>
                      <a:pt x="8540264" y="9870"/>
                      <a:pt x="8545866" y="6169"/>
                      <a:pt x="8551646" y="2011"/>
                    </a:cubicBezTo>
                    <a:close/>
                    <a:moveTo>
                      <a:pt x="8139878" y="2011"/>
                    </a:moveTo>
                    <a:lnTo>
                      <a:pt x="8154785" y="2011"/>
                    </a:lnTo>
                    <a:lnTo>
                      <a:pt x="8154785" y="224991"/>
                    </a:lnTo>
                    <a:lnTo>
                      <a:pt x="8119497" y="224991"/>
                    </a:lnTo>
                    <a:lnTo>
                      <a:pt x="8119497" y="45208"/>
                    </a:lnTo>
                    <a:cubicBezTo>
                      <a:pt x="8113109" y="49771"/>
                      <a:pt x="8106239" y="53649"/>
                      <a:pt x="8098887" y="56843"/>
                    </a:cubicBezTo>
                    <a:cubicBezTo>
                      <a:pt x="8091536" y="60038"/>
                      <a:pt x="8083145" y="62851"/>
                      <a:pt x="8073715" y="65285"/>
                    </a:cubicBezTo>
                    <a:lnTo>
                      <a:pt x="8073715" y="35169"/>
                    </a:lnTo>
                    <a:cubicBezTo>
                      <a:pt x="8079596" y="33243"/>
                      <a:pt x="8085274" y="31215"/>
                      <a:pt x="8090750" y="29085"/>
                    </a:cubicBezTo>
                    <a:cubicBezTo>
                      <a:pt x="8096226" y="26956"/>
                      <a:pt x="8101625" y="24573"/>
                      <a:pt x="8106949" y="21936"/>
                    </a:cubicBezTo>
                    <a:cubicBezTo>
                      <a:pt x="8112272" y="19300"/>
                      <a:pt x="8117647" y="16359"/>
                      <a:pt x="8123071" y="13115"/>
                    </a:cubicBezTo>
                    <a:cubicBezTo>
                      <a:pt x="8128497" y="9870"/>
                      <a:pt x="8134099" y="6169"/>
                      <a:pt x="8139878" y="2011"/>
                    </a:cubicBezTo>
                    <a:close/>
                    <a:moveTo>
                      <a:pt x="8006824" y="2011"/>
                    </a:moveTo>
                    <a:lnTo>
                      <a:pt x="8021731" y="2011"/>
                    </a:lnTo>
                    <a:lnTo>
                      <a:pt x="8021731" y="224991"/>
                    </a:lnTo>
                    <a:lnTo>
                      <a:pt x="7986443" y="224991"/>
                    </a:lnTo>
                    <a:lnTo>
                      <a:pt x="7986443" y="45208"/>
                    </a:lnTo>
                    <a:cubicBezTo>
                      <a:pt x="7980055" y="49771"/>
                      <a:pt x="7973185" y="53649"/>
                      <a:pt x="7965833" y="56843"/>
                    </a:cubicBezTo>
                    <a:cubicBezTo>
                      <a:pt x="7958482" y="60038"/>
                      <a:pt x="7950091" y="62851"/>
                      <a:pt x="7940661" y="65285"/>
                    </a:cubicBezTo>
                    <a:lnTo>
                      <a:pt x="7940661" y="35169"/>
                    </a:lnTo>
                    <a:cubicBezTo>
                      <a:pt x="7946542" y="33243"/>
                      <a:pt x="7952220" y="31215"/>
                      <a:pt x="7957696" y="29085"/>
                    </a:cubicBezTo>
                    <a:cubicBezTo>
                      <a:pt x="7963172" y="26956"/>
                      <a:pt x="7968571" y="24573"/>
                      <a:pt x="7973895" y="21936"/>
                    </a:cubicBezTo>
                    <a:cubicBezTo>
                      <a:pt x="7979218" y="19300"/>
                      <a:pt x="7984593" y="16359"/>
                      <a:pt x="7990017" y="13115"/>
                    </a:cubicBezTo>
                    <a:cubicBezTo>
                      <a:pt x="7995443" y="9870"/>
                      <a:pt x="8001045" y="6169"/>
                      <a:pt x="8006824" y="2011"/>
                    </a:cubicBezTo>
                    <a:close/>
                    <a:moveTo>
                      <a:pt x="7873770" y="2011"/>
                    </a:moveTo>
                    <a:lnTo>
                      <a:pt x="7888677" y="2011"/>
                    </a:lnTo>
                    <a:lnTo>
                      <a:pt x="7888677" y="224991"/>
                    </a:lnTo>
                    <a:lnTo>
                      <a:pt x="7853389" y="224991"/>
                    </a:lnTo>
                    <a:lnTo>
                      <a:pt x="7853389" y="45208"/>
                    </a:lnTo>
                    <a:cubicBezTo>
                      <a:pt x="7847001" y="49771"/>
                      <a:pt x="7840131" y="53649"/>
                      <a:pt x="7832779" y="56843"/>
                    </a:cubicBezTo>
                    <a:cubicBezTo>
                      <a:pt x="7825428" y="60038"/>
                      <a:pt x="7817037" y="62851"/>
                      <a:pt x="7807607" y="65285"/>
                    </a:cubicBezTo>
                    <a:lnTo>
                      <a:pt x="7807607" y="35169"/>
                    </a:lnTo>
                    <a:cubicBezTo>
                      <a:pt x="7813488" y="33243"/>
                      <a:pt x="7819166" y="31215"/>
                      <a:pt x="7824642" y="29085"/>
                    </a:cubicBezTo>
                    <a:cubicBezTo>
                      <a:pt x="7830118" y="26956"/>
                      <a:pt x="7835517" y="24573"/>
                      <a:pt x="7840841" y="21936"/>
                    </a:cubicBezTo>
                    <a:cubicBezTo>
                      <a:pt x="7846164" y="19300"/>
                      <a:pt x="7851539" y="16359"/>
                      <a:pt x="7856963" y="13115"/>
                    </a:cubicBezTo>
                    <a:cubicBezTo>
                      <a:pt x="7862389" y="9870"/>
                      <a:pt x="7867991" y="6169"/>
                      <a:pt x="7873770" y="2011"/>
                    </a:cubicBezTo>
                    <a:close/>
                    <a:moveTo>
                      <a:pt x="7731158" y="2011"/>
                    </a:moveTo>
                    <a:lnTo>
                      <a:pt x="7746065" y="2011"/>
                    </a:lnTo>
                    <a:lnTo>
                      <a:pt x="7746065" y="224991"/>
                    </a:lnTo>
                    <a:lnTo>
                      <a:pt x="7710777" y="224991"/>
                    </a:lnTo>
                    <a:lnTo>
                      <a:pt x="7710777" y="45208"/>
                    </a:lnTo>
                    <a:cubicBezTo>
                      <a:pt x="7704389" y="49771"/>
                      <a:pt x="7697519" y="53649"/>
                      <a:pt x="7690167" y="56843"/>
                    </a:cubicBezTo>
                    <a:cubicBezTo>
                      <a:pt x="7682816" y="60038"/>
                      <a:pt x="7674425" y="62851"/>
                      <a:pt x="7664995" y="65285"/>
                    </a:cubicBezTo>
                    <a:lnTo>
                      <a:pt x="7664995" y="35169"/>
                    </a:lnTo>
                    <a:cubicBezTo>
                      <a:pt x="7670876" y="33243"/>
                      <a:pt x="7676554" y="31215"/>
                      <a:pt x="7682030" y="29085"/>
                    </a:cubicBezTo>
                    <a:cubicBezTo>
                      <a:pt x="7687506" y="26956"/>
                      <a:pt x="7692905" y="24573"/>
                      <a:pt x="7698229" y="21936"/>
                    </a:cubicBezTo>
                    <a:cubicBezTo>
                      <a:pt x="7703552" y="19300"/>
                      <a:pt x="7708927" y="16359"/>
                      <a:pt x="7714351" y="13115"/>
                    </a:cubicBezTo>
                    <a:cubicBezTo>
                      <a:pt x="7719777" y="9870"/>
                      <a:pt x="7725379" y="6169"/>
                      <a:pt x="7731158" y="2011"/>
                    </a:cubicBezTo>
                    <a:close/>
                    <a:moveTo>
                      <a:pt x="6983820" y="2011"/>
                    </a:moveTo>
                    <a:lnTo>
                      <a:pt x="6998726" y="2011"/>
                    </a:lnTo>
                    <a:lnTo>
                      <a:pt x="6998726" y="224991"/>
                    </a:lnTo>
                    <a:lnTo>
                      <a:pt x="6963438" y="224991"/>
                    </a:lnTo>
                    <a:lnTo>
                      <a:pt x="6963438" y="45208"/>
                    </a:lnTo>
                    <a:cubicBezTo>
                      <a:pt x="6957050" y="49771"/>
                      <a:pt x="6950181" y="53649"/>
                      <a:pt x="6942829" y="56843"/>
                    </a:cubicBezTo>
                    <a:cubicBezTo>
                      <a:pt x="6935477" y="60038"/>
                      <a:pt x="6927087" y="62851"/>
                      <a:pt x="6917656" y="65285"/>
                    </a:cubicBezTo>
                    <a:lnTo>
                      <a:pt x="6917656" y="35169"/>
                    </a:lnTo>
                    <a:cubicBezTo>
                      <a:pt x="6923537" y="33243"/>
                      <a:pt x="6929216" y="31215"/>
                      <a:pt x="6934691" y="29085"/>
                    </a:cubicBezTo>
                    <a:cubicBezTo>
                      <a:pt x="6940167" y="26956"/>
                      <a:pt x="6945567" y="24573"/>
                      <a:pt x="6950890" y="21936"/>
                    </a:cubicBezTo>
                    <a:cubicBezTo>
                      <a:pt x="6956214" y="19300"/>
                      <a:pt x="6961588" y="16359"/>
                      <a:pt x="6967013" y="13115"/>
                    </a:cubicBezTo>
                    <a:cubicBezTo>
                      <a:pt x="6972438" y="9870"/>
                      <a:pt x="6978040" y="6169"/>
                      <a:pt x="6983820" y="2011"/>
                    </a:cubicBezTo>
                    <a:close/>
                    <a:moveTo>
                      <a:pt x="6839694" y="2011"/>
                    </a:moveTo>
                    <a:lnTo>
                      <a:pt x="6854600" y="2011"/>
                    </a:lnTo>
                    <a:lnTo>
                      <a:pt x="6854600" y="224991"/>
                    </a:lnTo>
                    <a:lnTo>
                      <a:pt x="6819312" y="224991"/>
                    </a:lnTo>
                    <a:lnTo>
                      <a:pt x="6819312" y="45208"/>
                    </a:lnTo>
                    <a:cubicBezTo>
                      <a:pt x="6812924" y="49771"/>
                      <a:pt x="6806055" y="53649"/>
                      <a:pt x="6798703" y="56843"/>
                    </a:cubicBezTo>
                    <a:cubicBezTo>
                      <a:pt x="6791351" y="60038"/>
                      <a:pt x="6782961" y="62851"/>
                      <a:pt x="6773530" y="65285"/>
                    </a:cubicBezTo>
                    <a:lnTo>
                      <a:pt x="6773530" y="35169"/>
                    </a:lnTo>
                    <a:cubicBezTo>
                      <a:pt x="6779411" y="33243"/>
                      <a:pt x="6785090" y="31215"/>
                      <a:pt x="6790565" y="29085"/>
                    </a:cubicBezTo>
                    <a:cubicBezTo>
                      <a:pt x="6796041" y="26956"/>
                      <a:pt x="6801441" y="24573"/>
                      <a:pt x="6806764" y="21936"/>
                    </a:cubicBezTo>
                    <a:cubicBezTo>
                      <a:pt x="6812088" y="19300"/>
                      <a:pt x="6817462" y="16359"/>
                      <a:pt x="6822887" y="13115"/>
                    </a:cubicBezTo>
                    <a:cubicBezTo>
                      <a:pt x="6828312" y="9870"/>
                      <a:pt x="6833914" y="6169"/>
                      <a:pt x="6839694" y="2011"/>
                    </a:cubicBezTo>
                    <a:close/>
                    <a:moveTo>
                      <a:pt x="5859465" y="2011"/>
                    </a:moveTo>
                    <a:lnTo>
                      <a:pt x="5874372" y="2011"/>
                    </a:lnTo>
                    <a:lnTo>
                      <a:pt x="5874372" y="224991"/>
                    </a:lnTo>
                    <a:lnTo>
                      <a:pt x="5839084" y="224991"/>
                    </a:lnTo>
                    <a:lnTo>
                      <a:pt x="5839084" y="45208"/>
                    </a:lnTo>
                    <a:cubicBezTo>
                      <a:pt x="5832696" y="49771"/>
                      <a:pt x="5825826" y="53649"/>
                      <a:pt x="5818474" y="56843"/>
                    </a:cubicBezTo>
                    <a:cubicBezTo>
                      <a:pt x="5811124" y="60038"/>
                      <a:pt x="5802732" y="62851"/>
                      <a:pt x="5793302" y="65285"/>
                    </a:cubicBezTo>
                    <a:lnTo>
                      <a:pt x="5793302" y="35169"/>
                    </a:lnTo>
                    <a:cubicBezTo>
                      <a:pt x="5799183" y="33243"/>
                      <a:pt x="5804861" y="31215"/>
                      <a:pt x="5810337" y="29085"/>
                    </a:cubicBezTo>
                    <a:cubicBezTo>
                      <a:pt x="5815813" y="26956"/>
                      <a:pt x="5821212" y="24573"/>
                      <a:pt x="5826536" y="21936"/>
                    </a:cubicBezTo>
                    <a:cubicBezTo>
                      <a:pt x="5831859" y="19300"/>
                      <a:pt x="5837234" y="16359"/>
                      <a:pt x="5842658" y="13115"/>
                    </a:cubicBezTo>
                    <a:cubicBezTo>
                      <a:pt x="5848084" y="9870"/>
                      <a:pt x="5853686" y="6169"/>
                      <a:pt x="5859465" y="2011"/>
                    </a:cubicBezTo>
                    <a:close/>
                    <a:moveTo>
                      <a:pt x="5476597" y="2011"/>
                    </a:moveTo>
                    <a:lnTo>
                      <a:pt x="5491504" y="2011"/>
                    </a:lnTo>
                    <a:lnTo>
                      <a:pt x="5491504" y="224991"/>
                    </a:lnTo>
                    <a:lnTo>
                      <a:pt x="5456216" y="224991"/>
                    </a:lnTo>
                    <a:lnTo>
                      <a:pt x="5456216" y="45208"/>
                    </a:lnTo>
                    <a:cubicBezTo>
                      <a:pt x="5449828" y="49771"/>
                      <a:pt x="5442958" y="53649"/>
                      <a:pt x="5435606" y="56843"/>
                    </a:cubicBezTo>
                    <a:cubicBezTo>
                      <a:pt x="5428255" y="60038"/>
                      <a:pt x="5419864" y="62851"/>
                      <a:pt x="5410434" y="65285"/>
                    </a:cubicBezTo>
                    <a:lnTo>
                      <a:pt x="5410434" y="35169"/>
                    </a:lnTo>
                    <a:cubicBezTo>
                      <a:pt x="5416315" y="33243"/>
                      <a:pt x="5421993" y="31215"/>
                      <a:pt x="5427470" y="29085"/>
                    </a:cubicBezTo>
                    <a:cubicBezTo>
                      <a:pt x="5432945" y="26956"/>
                      <a:pt x="5438344" y="24573"/>
                      <a:pt x="5443668" y="21936"/>
                    </a:cubicBezTo>
                    <a:cubicBezTo>
                      <a:pt x="5448991" y="19300"/>
                      <a:pt x="5454366" y="16359"/>
                      <a:pt x="5459790" y="13115"/>
                    </a:cubicBezTo>
                    <a:cubicBezTo>
                      <a:pt x="5465216" y="9870"/>
                      <a:pt x="5470819" y="6169"/>
                      <a:pt x="5476597" y="2011"/>
                    </a:cubicBezTo>
                    <a:close/>
                    <a:moveTo>
                      <a:pt x="5332471" y="2011"/>
                    </a:moveTo>
                    <a:lnTo>
                      <a:pt x="5347378" y="2011"/>
                    </a:lnTo>
                    <a:lnTo>
                      <a:pt x="5347378" y="224991"/>
                    </a:lnTo>
                    <a:lnTo>
                      <a:pt x="5312091" y="224991"/>
                    </a:lnTo>
                    <a:lnTo>
                      <a:pt x="5312091" y="45208"/>
                    </a:lnTo>
                    <a:cubicBezTo>
                      <a:pt x="5305702" y="49771"/>
                      <a:pt x="5298832" y="53649"/>
                      <a:pt x="5291480" y="56843"/>
                    </a:cubicBezTo>
                    <a:cubicBezTo>
                      <a:pt x="5284129" y="60038"/>
                      <a:pt x="5275738" y="62851"/>
                      <a:pt x="5266308" y="65285"/>
                    </a:cubicBezTo>
                    <a:lnTo>
                      <a:pt x="5266308" y="35169"/>
                    </a:lnTo>
                    <a:cubicBezTo>
                      <a:pt x="5272189" y="33243"/>
                      <a:pt x="5277868" y="31215"/>
                      <a:pt x="5283343" y="29085"/>
                    </a:cubicBezTo>
                    <a:cubicBezTo>
                      <a:pt x="5288819" y="26956"/>
                      <a:pt x="5294218" y="24573"/>
                      <a:pt x="5299542" y="21936"/>
                    </a:cubicBezTo>
                    <a:cubicBezTo>
                      <a:pt x="5304865" y="19300"/>
                      <a:pt x="5310240" y="16359"/>
                      <a:pt x="5315664" y="13115"/>
                    </a:cubicBezTo>
                    <a:cubicBezTo>
                      <a:pt x="5321090" y="9870"/>
                      <a:pt x="5326692" y="6169"/>
                      <a:pt x="5332471" y="2011"/>
                    </a:cubicBezTo>
                    <a:close/>
                    <a:moveTo>
                      <a:pt x="5188346" y="2011"/>
                    </a:moveTo>
                    <a:lnTo>
                      <a:pt x="5203253" y="2011"/>
                    </a:lnTo>
                    <a:lnTo>
                      <a:pt x="5203253" y="224991"/>
                    </a:lnTo>
                    <a:lnTo>
                      <a:pt x="5167965" y="224991"/>
                    </a:lnTo>
                    <a:lnTo>
                      <a:pt x="5167965" y="45208"/>
                    </a:lnTo>
                    <a:cubicBezTo>
                      <a:pt x="5161577" y="49771"/>
                      <a:pt x="5154707" y="53649"/>
                      <a:pt x="5147355" y="56843"/>
                    </a:cubicBezTo>
                    <a:cubicBezTo>
                      <a:pt x="5140005" y="60038"/>
                      <a:pt x="5131613" y="62851"/>
                      <a:pt x="5122183" y="65285"/>
                    </a:cubicBezTo>
                    <a:lnTo>
                      <a:pt x="5122183" y="35169"/>
                    </a:lnTo>
                    <a:cubicBezTo>
                      <a:pt x="5128064" y="33243"/>
                      <a:pt x="5133742" y="31215"/>
                      <a:pt x="5139218" y="29085"/>
                    </a:cubicBezTo>
                    <a:cubicBezTo>
                      <a:pt x="5144694" y="26956"/>
                      <a:pt x="5150093" y="24573"/>
                      <a:pt x="5155417" y="21936"/>
                    </a:cubicBezTo>
                    <a:cubicBezTo>
                      <a:pt x="5160740" y="19300"/>
                      <a:pt x="5166115" y="16359"/>
                      <a:pt x="5171540" y="13115"/>
                    </a:cubicBezTo>
                    <a:cubicBezTo>
                      <a:pt x="5176965" y="9870"/>
                      <a:pt x="5182567" y="6169"/>
                      <a:pt x="5188346" y="2011"/>
                    </a:cubicBezTo>
                    <a:close/>
                    <a:moveTo>
                      <a:pt x="5044221" y="2011"/>
                    </a:moveTo>
                    <a:lnTo>
                      <a:pt x="5059129" y="2011"/>
                    </a:lnTo>
                    <a:lnTo>
                      <a:pt x="5059129" y="224991"/>
                    </a:lnTo>
                    <a:lnTo>
                      <a:pt x="5023840" y="224991"/>
                    </a:lnTo>
                    <a:lnTo>
                      <a:pt x="5023840" y="45208"/>
                    </a:lnTo>
                    <a:cubicBezTo>
                      <a:pt x="5017452" y="49771"/>
                      <a:pt x="5010582" y="53649"/>
                      <a:pt x="5003230" y="56843"/>
                    </a:cubicBezTo>
                    <a:cubicBezTo>
                      <a:pt x="4995879" y="60038"/>
                      <a:pt x="4987488" y="62851"/>
                      <a:pt x="4978058" y="65285"/>
                    </a:cubicBezTo>
                    <a:lnTo>
                      <a:pt x="4978058" y="35169"/>
                    </a:lnTo>
                    <a:cubicBezTo>
                      <a:pt x="4983939" y="33243"/>
                      <a:pt x="4989617" y="31215"/>
                      <a:pt x="4995093" y="29085"/>
                    </a:cubicBezTo>
                    <a:cubicBezTo>
                      <a:pt x="5000569" y="26956"/>
                      <a:pt x="5005969" y="24573"/>
                      <a:pt x="5011292" y="21936"/>
                    </a:cubicBezTo>
                    <a:cubicBezTo>
                      <a:pt x="5016615" y="19300"/>
                      <a:pt x="5021990" y="16359"/>
                      <a:pt x="5027414" y="13115"/>
                    </a:cubicBezTo>
                    <a:cubicBezTo>
                      <a:pt x="5032840" y="9870"/>
                      <a:pt x="5038442" y="6169"/>
                      <a:pt x="5044221" y="2011"/>
                    </a:cubicBezTo>
                    <a:close/>
                    <a:moveTo>
                      <a:pt x="4900097" y="2011"/>
                    </a:moveTo>
                    <a:lnTo>
                      <a:pt x="4915003" y="2011"/>
                    </a:lnTo>
                    <a:lnTo>
                      <a:pt x="4915003" y="224991"/>
                    </a:lnTo>
                    <a:lnTo>
                      <a:pt x="4879715" y="224991"/>
                    </a:lnTo>
                    <a:lnTo>
                      <a:pt x="4879715" y="45208"/>
                    </a:lnTo>
                    <a:cubicBezTo>
                      <a:pt x="4873327" y="49771"/>
                      <a:pt x="4866458" y="53649"/>
                      <a:pt x="4859105" y="56843"/>
                    </a:cubicBezTo>
                    <a:cubicBezTo>
                      <a:pt x="4851754" y="60038"/>
                      <a:pt x="4843363" y="62851"/>
                      <a:pt x="4833933" y="65285"/>
                    </a:cubicBezTo>
                    <a:lnTo>
                      <a:pt x="4833933" y="35169"/>
                    </a:lnTo>
                    <a:cubicBezTo>
                      <a:pt x="4839814" y="33243"/>
                      <a:pt x="4845492" y="31215"/>
                      <a:pt x="4850968" y="29085"/>
                    </a:cubicBezTo>
                    <a:cubicBezTo>
                      <a:pt x="4856444" y="26956"/>
                      <a:pt x="4861843" y="24573"/>
                      <a:pt x="4867167" y="21936"/>
                    </a:cubicBezTo>
                    <a:cubicBezTo>
                      <a:pt x="4872490" y="19300"/>
                      <a:pt x="4877865" y="16359"/>
                      <a:pt x="4883289" y="13115"/>
                    </a:cubicBezTo>
                    <a:cubicBezTo>
                      <a:pt x="4888715" y="9870"/>
                      <a:pt x="4894318" y="6169"/>
                      <a:pt x="4900097" y="2011"/>
                    </a:cubicBezTo>
                    <a:close/>
                    <a:moveTo>
                      <a:pt x="4511864" y="2011"/>
                    </a:moveTo>
                    <a:lnTo>
                      <a:pt x="4526770" y="2011"/>
                    </a:lnTo>
                    <a:lnTo>
                      <a:pt x="4526770" y="224991"/>
                    </a:lnTo>
                    <a:lnTo>
                      <a:pt x="4491482" y="224991"/>
                    </a:lnTo>
                    <a:lnTo>
                      <a:pt x="4491482" y="45208"/>
                    </a:lnTo>
                    <a:cubicBezTo>
                      <a:pt x="4485094" y="49771"/>
                      <a:pt x="4478225" y="53649"/>
                      <a:pt x="4470873" y="56843"/>
                    </a:cubicBezTo>
                    <a:cubicBezTo>
                      <a:pt x="4463521" y="60038"/>
                      <a:pt x="4455131" y="62851"/>
                      <a:pt x="4445700" y="65285"/>
                    </a:cubicBezTo>
                    <a:lnTo>
                      <a:pt x="4445700" y="35169"/>
                    </a:lnTo>
                    <a:cubicBezTo>
                      <a:pt x="4451581" y="33243"/>
                      <a:pt x="4457260" y="31215"/>
                      <a:pt x="4462735" y="29085"/>
                    </a:cubicBezTo>
                    <a:cubicBezTo>
                      <a:pt x="4468211" y="26956"/>
                      <a:pt x="4473611" y="24573"/>
                      <a:pt x="4478934" y="21936"/>
                    </a:cubicBezTo>
                    <a:cubicBezTo>
                      <a:pt x="4484258" y="19300"/>
                      <a:pt x="4489632" y="16359"/>
                      <a:pt x="4495057" y="13115"/>
                    </a:cubicBezTo>
                    <a:cubicBezTo>
                      <a:pt x="4500482" y="9870"/>
                      <a:pt x="4506084" y="6169"/>
                      <a:pt x="4511864" y="2011"/>
                    </a:cubicBezTo>
                    <a:close/>
                    <a:moveTo>
                      <a:pt x="4245756" y="2011"/>
                    </a:moveTo>
                    <a:lnTo>
                      <a:pt x="4260662" y="2011"/>
                    </a:lnTo>
                    <a:lnTo>
                      <a:pt x="4260662" y="224991"/>
                    </a:lnTo>
                    <a:lnTo>
                      <a:pt x="4225374" y="224991"/>
                    </a:lnTo>
                    <a:lnTo>
                      <a:pt x="4225374" y="45208"/>
                    </a:lnTo>
                    <a:cubicBezTo>
                      <a:pt x="4218986" y="49771"/>
                      <a:pt x="4212117" y="53649"/>
                      <a:pt x="4204765" y="56843"/>
                    </a:cubicBezTo>
                    <a:cubicBezTo>
                      <a:pt x="4197413" y="60038"/>
                      <a:pt x="4189023" y="62851"/>
                      <a:pt x="4179592" y="65285"/>
                    </a:cubicBezTo>
                    <a:lnTo>
                      <a:pt x="4179592" y="35169"/>
                    </a:lnTo>
                    <a:cubicBezTo>
                      <a:pt x="4185473" y="33243"/>
                      <a:pt x="4191152" y="31215"/>
                      <a:pt x="4196627" y="29085"/>
                    </a:cubicBezTo>
                    <a:cubicBezTo>
                      <a:pt x="4202103" y="26956"/>
                      <a:pt x="4207503" y="24573"/>
                      <a:pt x="4212826" y="21936"/>
                    </a:cubicBezTo>
                    <a:cubicBezTo>
                      <a:pt x="4218150" y="19300"/>
                      <a:pt x="4223524" y="16359"/>
                      <a:pt x="4228949" y="13115"/>
                    </a:cubicBezTo>
                    <a:cubicBezTo>
                      <a:pt x="4234374" y="9870"/>
                      <a:pt x="4239976" y="6169"/>
                      <a:pt x="4245756" y="2011"/>
                    </a:cubicBezTo>
                    <a:close/>
                    <a:moveTo>
                      <a:pt x="3634157" y="2011"/>
                    </a:moveTo>
                    <a:lnTo>
                      <a:pt x="3649063" y="2011"/>
                    </a:lnTo>
                    <a:lnTo>
                      <a:pt x="3649063" y="224991"/>
                    </a:lnTo>
                    <a:lnTo>
                      <a:pt x="3613775" y="224991"/>
                    </a:lnTo>
                    <a:lnTo>
                      <a:pt x="3613775" y="45208"/>
                    </a:lnTo>
                    <a:cubicBezTo>
                      <a:pt x="3607387" y="49771"/>
                      <a:pt x="3600517" y="53649"/>
                      <a:pt x="3593166" y="56843"/>
                    </a:cubicBezTo>
                    <a:cubicBezTo>
                      <a:pt x="3585814" y="60038"/>
                      <a:pt x="3577423" y="62851"/>
                      <a:pt x="3567993" y="65285"/>
                    </a:cubicBezTo>
                    <a:lnTo>
                      <a:pt x="3567993" y="35169"/>
                    </a:lnTo>
                    <a:cubicBezTo>
                      <a:pt x="3573874" y="33243"/>
                      <a:pt x="3579553" y="31215"/>
                      <a:pt x="3585028" y="29085"/>
                    </a:cubicBezTo>
                    <a:cubicBezTo>
                      <a:pt x="3590504" y="26956"/>
                      <a:pt x="3595903" y="24573"/>
                      <a:pt x="3601227" y="21936"/>
                    </a:cubicBezTo>
                    <a:cubicBezTo>
                      <a:pt x="3606551" y="19300"/>
                      <a:pt x="3611925" y="16359"/>
                      <a:pt x="3617349" y="13115"/>
                    </a:cubicBezTo>
                    <a:cubicBezTo>
                      <a:pt x="3622775" y="9870"/>
                      <a:pt x="3628377" y="6169"/>
                      <a:pt x="3634157" y="2011"/>
                    </a:cubicBezTo>
                    <a:close/>
                    <a:moveTo>
                      <a:pt x="3368049" y="2011"/>
                    </a:moveTo>
                    <a:lnTo>
                      <a:pt x="3382955" y="2011"/>
                    </a:lnTo>
                    <a:lnTo>
                      <a:pt x="3382955" y="224991"/>
                    </a:lnTo>
                    <a:lnTo>
                      <a:pt x="3347667" y="224991"/>
                    </a:lnTo>
                    <a:lnTo>
                      <a:pt x="3347667" y="45208"/>
                    </a:lnTo>
                    <a:cubicBezTo>
                      <a:pt x="3341279" y="49771"/>
                      <a:pt x="3334409" y="53649"/>
                      <a:pt x="3327058" y="56843"/>
                    </a:cubicBezTo>
                    <a:cubicBezTo>
                      <a:pt x="3319706" y="60038"/>
                      <a:pt x="3311315" y="62851"/>
                      <a:pt x="3301885" y="65285"/>
                    </a:cubicBezTo>
                    <a:lnTo>
                      <a:pt x="3301885" y="35169"/>
                    </a:lnTo>
                    <a:cubicBezTo>
                      <a:pt x="3307766" y="33243"/>
                      <a:pt x="3313445" y="31215"/>
                      <a:pt x="3318920" y="29085"/>
                    </a:cubicBezTo>
                    <a:cubicBezTo>
                      <a:pt x="3324396" y="26956"/>
                      <a:pt x="3329795" y="24573"/>
                      <a:pt x="3335119" y="21936"/>
                    </a:cubicBezTo>
                    <a:cubicBezTo>
                      <a:pt x="3340443" y="19300"/>
                      <a:pt x="3345817" y="16359"/>
                      <a:pt x="3351241" y="13115"/>
                    </a:cubicBezTo>
                    <a:cubicBezTo>
                      <a:pt x="3356667" y="9870"/>
                      <a:pt x="3362269" y="6169"/>
                      <a:pt x="3368049" y="2011"/>
                    </a:cubicBezTo>
                    <a:close/>
                    <a:moveTo>
                      <a:pt x="2761702" y="2011"/>
                    </a:moveTo>
                    <a:lnTo>
                      <a:pt x="2776608" y="2011"/>
                    </a:lnTo>
                    <a:lnTo>
                      <a:pt x="2776608" y="224991"/>
                    </a:lnTo>
                    <a:lnTo>
                      <a:pt x="2741320" y="224991"/>
                    </a:lnTo>
                    <a:lnTo>
                      <a:pt x="2741320" y="45208"/>
                    </a:lnTo>
                    <a:cubicBezTo>
                      <a:pt x="2734932" y="49771"/>
                      <a:pt x="2728062" y="53649"/>
                      <a:pt x="2720711" y="56843"/>
                    </a:cubicBezTo>
                    <a:cubicBezTo>
                      <a:pt x="2713359" y="60038"/>
                      <a:pt x="2704968" y="62851"/>
                      <a:pt x="2695538" y="65285"/>
                    </a:cubicBezTo>
                    <a:lnTo>
                      <a:pt x="2695538" y="35169"/>
                    </a:lnTo>
                    <a:cubicBezTo>
                      <a:pt x="2701419" y="33243"/>
                      <a:pt x="2707098" y="31215"/>
                      <a:pt x="2712573" y="29085"/>
                    </a:cubicBezTo>
                    <a:cubicBezTo>
                      <a:pt x="2718049" y="26956"/>
                      <a:pt x="2723448" y="24573"/>
                      <a:pt x="2728772" y="21936"/>
                    </a:cubicBezTo>
                    <a:cubicBezTo>
                      <a:pt x="2734096" y="19300"/>
                      <a:pt x="2739470" y="16359"/>
                      <a:pt x="2744894" y="13115"/>
                    </a:cubicBezTo>
                    <a:cubicBezTo>
                      <a:pt x="2750320" y="9870"/>
                      <a:pt x="2755922" y="6169"/>
                      <a:pt x="2761702" y="2011"/>
                    </a:cubicBezTo>
                    <a:close/>
                    <a:moveTo>
                      <a:pt x="2495594" y="2011"/>
                    </a:moveTo>
                    <a:lnTo>
                      <a:pt x="2510500" y="2011"/>
                    </a:lnTo>
                    <a:lnTo>
                      <a:pt x="2510500" y="224991"/>
                    </a:lnTo>
                    <a:lnTo>
                      <a:pt x="2475212" y="224991"/>
                    </a:lnTo>
                    <a:lnTo>
                      <a:pt x="2475212" y="45208"/>
                    </a:lnTo>
                    <a:cubicBezTo>
                      <a:pt x="2468824" y="49771"/>
                      <a:pt x="2461954" y="53649"/>
                      <a:pt x="2454603" y="56843"/>
                    </a:cubicBezTo>
                    <a:cubicBezTo>
                      <a:pt x="2447251" y="60038"/>
                      <a:pt x="2438860" y="62851"/>
                      <a:pt x="2429430" y="65285"/>
                    </a:cubicBezTo>
                    <a:lnTo>
                      <a:pt x="2429430" y="35169"/>
                    </a:lnTo>
                    <a:cubicBezTo>
                      <a:pt x="2435311" y="33243"/>
                      <a:pt x="2440990" y="31215"/>
                      <a:pt x="2446465" y="29085"/>
                    </a:cubicBezTo>
                    <a:cubicBezTo>
                      <a:pt x="2451941" y="26956"/>
                      <a:pt x="2457340" y="24573"/>
                      <a:pt x="2462664" y="21936"/>
                    </a:cubicBezTo>
                    <a:cubicBezTo>
                      <a:pt x="2467988" y="19300"/>
                      <a:pt x="2473362" y="16359"/>
                      <a:pt x="2478786" y="13115"/>
                    </a:cubicBezTo>
                    <a:cubicBezTo>
                      <a:pt x="2484212" y="9870"/>
                      <a:pt x="2489814" y="6169"/>
                      <a:pt x="2495594" y="2011"/>
                    </a:cubicBezTo>
                    <a:close/>
                    <a:moveTo>
                      <a:pt x="2083827" y="2011"/>
                    </a:moveTo>
                    <a:lnTo>
                      <a:pt x="2098733" y="2011"/>
                    </a:lnTo>
                    <a:lnTo>
                      <a:pt x="2098733" y="224991"/>
                    </a:lnTo>
                    <a:lnTo>
                      <a:pt x="2063445" y="224991"/>
                    </a:lnTo>
                    <a:lnTo>
                      <a:pt x="2063445" y="45208"/>
                    </a:lnTo>
                    <a:cubicBezTo>
                      <a:pt x="2057057" y="49771"/>
                      <a:pt x="2050187" y="53649"/>
                      <a:pt x="2042836" y="56843"/>
                    </a:cubicBezTo>
                    <a:cubicBezTo>
                      <a:pt x="2035484" y="60038"/>
                      <a:pt x="2027093" y="62851"/>
                      <a:pt x="2017663" y="65285"/>
                    </a:cubicBezTo>
                    <a:lnTo>
                      <a:pt x="2017663" y="35169"/>
                    </a:lnTo>
                    <a:cubicBezTo>
                      <a:pt x="2023544" y="33243"/>
                      <a:pt x="2029223" y="31215"/>
                      <a:pt x="2034698" y="29085"/>
                    </a:cubicBezTo>
                    <a:cubicBezTo>
                      <a:pt x="2040174" y="26956"/>
                      <a:pt x="2045574" y="24573"/>
                      <a:pt x="2050897" y="21936"/>
                    </a:cubicBezTo>
                    <a:cubicBezTo>
                      <a:pt x="2056221" y="19300"/>
                      <a:pt x="2061595" y="16359"/>
                      <a:pt x="2067019" y="13115"/>
                    </a:cubicBezTo>
                    <a:cubicBezTo>
                      <a:pt x="2072445" y="9870"/>
                      <a:pt x="2078047" y="6169"/>
                      <a:pt x="2083827" y="2011"/>
                    </a:cubicBezTo>
                    <a:close/>
                    <a:moveTo>
                      <a:pt x="1950773" y="2011"/>
                    </a:moveTo>
                    <a:lnTo>
                      <a:pt x="1965679" y="2011"/>
                    </a:lnTo>
                    <a:lnTo>
                      <a:pt x="1965679" y="224991"/>
                    </a:lnTo>
                    <a:lnTo>
                      <a:pt x="1930391" y="224991"/>
                    </a:lnTo>
                    <a:lnTo>
                      <a:pt x="1930391" y="45208"/>
                    </a:lnTo>
                    <a:cubicBezTo>
                      <a:pt x="1924003" y="49771"/>
                      <a:pt x="1917133" y="53649"/>
                      <a:pt x="1909782" y="56843"/>
                    </a:cubicBezTo>
                    <a:cubicBezTo>
                      <a:pt x="1902430" y="60038"/>
                      <a:pt x="1894039" y="62851"/>
                      <a:pt x="1884609" y="65285"/>
                    </a:cubicBezTo>
                    <a:lnTo>
                      <a:pt x="1884609" y="35169"/>
                    </a:lnTo>
                    <a:cubicBezTo>
                      <a:pt x="1890490" y="33243"/>
                      <a:pt x="1896169" y="31215"/>
                      <a:pt x="1901644" y="29085"/>
                    </a:cubicBezTo>
                    <a:cubicBezTo>
                      <a:pt x="1907120" y="26956"/>
                      <a:pt x="1912520" y="24573"/>
                      <a:pt x="1917843" y="21936"/>
                    </a:cubicBezTo>
                    <a:cubicBezTo>
                      <a:pt x="1923167" y="19300"/>
                      <a:pt x="1928541" y="16359"/>
                      <a:pt x="1933966" y="13115"/>
                    </a:cubicBezTo>
                    <a:cubicBezTo>
                      <a:pt x="1939391" y="9870"/>
                      <a:pt x="1944993" y="6169"/>
                      <a:pt x="1950773" y="2011"/>
                    </a:cubicBezTo>
                    <a:close/>
                    <a:moveTo>
                      <a:pt x="1817719" y="2011"/>
                    </a:moveTo>
                    <a:lnTo>
                      <a:pt x="1832625" y="2011"/>
                    </a:lnTo>
                    <a:lnTo>
                      <a:pt x="1832625" y="224991"/>
                    </a:lnTo>
                    <a:lnTo>
                      <a:pt x="1797337" y="224991"/>
                    </a:lnTo>
                    <a:lnTo>
                      <a:pt x="1797337" y="45208"/>
                    </a:lnTo>
                    <a:cubicBezTo>
                      <a:pt x="1790949" y="49771"/>
                      <a:pt x="1784079" y="53649"/>
                      <a:pt x="1776728" y="56843"/>
                    </a:cubicBezTo>
                    <a:cubicBezTo>
                      <a:pt x="1769376" y="60038"/>
                      <a:pt x="1760985" y="62851"/>
                      <a:pt x="1751555" y="65285"/>
                    </a:cubicBezTo>
                    <a:lnTo>
                      <a:pt x="1751555" y="35169"/>
                    </a:lnTo>
                    <a:cubicBezTo>
                      <a:pt x="1757436" y="33243"/>
                      <a:pt x="1763115" y="31215"/>
                      <a:pt x="1768590" y="29085"/>
                    </a:cubicBezTo>
                    <a:cubicBezTo>
                      <a:pt x="1774066" y="26956"/>
                      <a:pt x="1779466" y="24573"/>
                      <a:pt x="1784789" y="21936"/>
                    </a:cubicBezTo>
                    <a:cubicBezTo>
                      <a:pt x="1790113" y="19300"/>
                      <a:pt x="1795487" y="16359"/>
                      <a:pt x="1800912" y="13115"/>
                    </a:cubicBezTo>
                    <a:cubicBezTo>
                      <a:pt x="1806337" y="9870"/>
                      <a:pt x="1811939" y="6169"/>
                      <a:pt x="1817719" y="2011"/>
                    </a:cubicBezTo>
                    <a:close/>
                    <a:moveTo>
                      <a:pt x="1675107" y="2011"/>
                    </a:moveTo>
                    <a:lnTo>
                      <a:pt x="1690013" y="2011"/>
                    </a:lnTo>
                    <a:lnTo>
                      <a:pt x="1690013" y="224991"/>
                    </a:lnTo>
                    <a:lnTo>
                      <a:pt x="1654725" y="224991"/>
                    </a:lnTo>
                    <a:lnTo>
                      <a:pt x="1654725" y="45208"/>
                    </a:lnTo>
                    <a:cubicBezTo>
                      <a:pt x="1648337" y="49771"/>
                      <a:pt x="1641467" y="53649"/>
                      <a:pt x="1634116" y="56843"/>
                    </a:cubicBezTo>
                    <a:cubicBezTo>
                      <a:pt x="1626764" y="60038"/>
                      <a:pt x="1618373" y="62851"/>
                      <a:pt x="1608943" y="65285"/>
                    </a:cubicBezTo>
                    <a:lnTo>
                      <a:pt x="1608943" y="35169"/>
                    </a:lnTo>
                    <a:cubicBezTo>
                      <a:pt x="1614824" y="33243"/>
                      <a:pt x="1620503" y="31215"/>
                      <a:pt x="1625978" y="29085"/>
                    </a:cubicBezTo>
                    <a:cubicBezTo>
                      <a:pt x="1631454" y="26956"/>
                      <a:pt x="1636854" y="24573"/>
                      <a:pt x="1642177" y="21936"/>
                    </a:cubicBezTo>
                    <a:cubicBezTo>
                      <a:pt x="1647501" y="19300"/>
                      <a:pt x="1652875" y="16359"/>
                      <a:pt x="1658300" y="13115"/>
                    </a:cubicBezTo>
                    <a:cubicBezTo>
                      <a:pt x="1663725" y="9870"/>
                      <a:pt x="1669327" y="6169"/>
                      <a:pt x="1675107" y="2011"/>
                    </a:cubicBezTo>
                    <a:close/>
                    <a:moveTo>
                      <a:pt x="919715" y="2011"/>
                    </a:moveTo>
                    <a:lnTo>
                      <a:pt x="934621" y="2011"/>
                    </a:lnTo>
                    <a:lnTo>
                      <a:pt x="934621" y="224991"/>
                    </a:lnTo>
                    <a:lnTo>
                      <a:pt x="899333" y="224991"/>
                    </a:lnTo>
                    <a:lnTo>
                      <a:pt x="899333" y="45208"/>
                    </a:lnTo>
                    <a:cubicBezTo>
                      <a:pt x="892945" y="49771"/>
                      <a:pt x="886075" y="53649"/>
                      <a:pt x="878724" y="56843"/>
                    </a:cubicBezTo>
                    <a:cubicBezTo>
                      <a:pt x="871372" y="60038"/>
                      <a:pt x="862981" y="62851"/>
                      <a:pt x="853551" y="65285"/>
                    </a:cubicBezTo>
                    <a:lnTo>
                      <a:pt x="853551" y="35169"/>
                    </a:lnTo>
                    <a:cubicBezTo>
                      <a:pt x="859432" y="33243"/>
                      <a:pt x="865111" y="31215"/>
                      <a:pt x="870586" y="29085"/>
                    </a:cubicBezTo>
                    <a:cubicBezTo>
                      <a:pt x="876062" y="26956"/>
                      <a:pt x="881462" y="24573"/>
                      <a:pt x="886785" y="21936"/>
                    </a:cubicBezTo>
                    <a:cubicBezTo>
                      <a:pt x="892109" y="19300"/>
                      <a:pt x="897483" y="16359"/>
                      <a:pt x="902908" y="13115"/>
                    </a:cubicBezTo>
                    <a:cubicBezTo>
                      <a:pt x="908333" y="9870"/>
                      <a:pt x="913935" y="6169"/>
                      <a:pt x="919715" y="2011"/>
                    </a:cubicBezTo>
                    <a:close/>
                    <a:moveTo>
                      <a:pt x="786661" y="2011"/>
                    </a:moveTo>
                    <a:lnTo>
                      <a:pt x="801567" y="2011"/>
                    </a:lnTo>
                    <a:lnTo>
                      <a:pt x="801567" y="224991"/>
                    </a:lnTo>
                    <a:lnTo>
                      <a:pt x="766279" y="224991"/>
                    </a:lnTo>
                    <a:lnTo>
                      <a:pt x="766279" y="45208"/>
                    </a:lnTo>
                    <a:cubicBezTo>
                      <a:pt x="759891" y="49771"/>
                      <a:pt x="753021" y="53649"/>
                      <a:pt x="745670" y="56843"/>
                    </a:cubicBezTo>
                    <a:cubicBezTo>
                      <a:pt x="738318" y="60038"/>
                      <a:pt x="729927" y="62851"/>
                      <a:pt x="720497" y="65285"/>
                    </a:cubicBezTo>
                    <a:lnTo>
                      <a:pt x="720497" y="35169"/>
                    </a:lnTo>
                    <a:cubicBezTo>
                      <a:pt x="726378" y="33243"/>
                      <a:pt x="732057" y="31215"/>
                      <a:pt x="737532" y="29085"/>
                    </a:cubicBezTo>
                    <a:cubicBezTo>
                      <a:pt x="743008" y="26956"/>
                      <a:pt x="748408" y="24573"/>
                      <a:pt x="753731" y="21936"/>
                    </a:cubicBezTo>
                    <a:cubicBezTo>
                      <a:pt x="759055" y="19300"/>
                      <a:pt x="764429" y="16359"/>
                      <a:pt x="769854" y="13115"/>
                    </a:cubicBezTo>
                    <a:cubicBezTo>
                      <a:pt x="775279" y="9870"/>
                      <a:pt x="780881" y="6169"/>
                      <a:pt x="786661" y="2011"/>
                    </a:cubicBezTo>
                    <a:close/>
                    <a:moveTo>
                      <a:pt x="10088741" y="2010"/>
                    </a:moveTo>
                    <a:cubicBezTo>
                      <a:pt x="10136185" y="2010"/>
                      <a:pt x="10159908" y="38873"/>
                      <a:pt x="10159908" y="112598"/>
                    </a:cubicBezTo>
                    <a:cubicBezTo>
                      <a:pt x="10159908" y="149109"/>
                      <a:pt x="10153212" y="176969"/>
                      <a:pt x="10139822" y="196177"/>
                    </a:cubicBezTo>
                    <a:cubicBezTo>
                      <a:pt x="10126431" y="215386"/>
                      <a:pt x="10107699" y="224990"/>
                      <a:pt x="10083625" y="224990"/>
                    </a:cubicBezTo>
                    <a:cubicBezTo>
                      <a:pt x="10061157" y="224990"/>
                      <a:pt x="10043628" y="215812"/>
                      <a:pt x="10031040" y="197456"/>
                    </a:cubicBezTo>
                    <a:cubicBezTo>
                      <a:pt x="10018451" y="179100"/>
                      <a:pt x="10012157" y="152569"/>
                      <a:pt x="10012157" y="117864"/>
                    </a:cubicBezTo>
                    <a:cubicBezTo>
                      <a:pt x="10012157" y="79747"/>
                      <a:pt x="10018727" y="50910"/>
                      <a:pt x="10031867" y="31350"/>
                    </a:cubicBezTo>
                    <a:cubicBezTo>
                      <a:pt x="10045008" y="11790"/>
                      <a:pt x="10063965" y="2010"/>
                      <a:pt x="10088741" y="2010"/>
                    </a:cubicBezTo>
                    <a:close/>
                    <a:moveTo>
                      <a:pt x="9867818" y="2010"/>
                    </a:moveTo>
                    <a:cubicBezTo>
                      <a:pt x="9915262" y="2010"/>
                      <a:pt x="9938985" y="38873"/>
                      <a:pt x="9938985" y="112598"/>
                    </a:cubicBezTo>
                    <a:cubicBezTo>
                      <a:pt x="9938985" y="149109"/>
                      <a:pt x="9932289" y="176969"/>
                      <a:pt x="9918899" y="196177"/>
                    </a:cubicBezTo>
                    <a:cubicBezTo>
                      <a:pt x="9905508" y="215386"/>
                      <a:pt x="9886776" y="224990"/>
                      <a:pt x="9862702" y="224990"/>
                    </a:cubicBezTo>
                    <a:cubicBezTo>
                      <a:pt x="9840234" y="224990"/>
                      <a:pt x="9822705" y="215812"/>
                      <a:pt x="9810117" y="197456"/>
                    </a:cubicBezTo>
                    <a:cubicBezTo>
                      <a:pt x="9797528" y="179100"/>
                      <a:pt x="9791234" y="152569"/>
                      <a:pt x="9791234" y="117864"/>
                    </a:cubicBezTo>
                    <a:cubicBezTo>
                      <a:pt x="9791234" y="79747"/>
                      <a:pt x="9797804" y="50910"/>
                      <a:pt x="9810944" y="31350"/>
                    </a:cubicBezTo>
                    <a:cubicBezTo>
                      <a:pt x="9824085" y="11790"/>
                      <a:pt x="9843042" y="2010"/>
                      <a:pt x="9867818" y="2010"/>
                    </a:cubicBezTo>
                    <a:close/>
                    <a:moveTo>
                      <a:pt x="9206157" y="2010"/>
                    </a:moveTo>
                    <a:cubicBezTo>
                      <a:pt x="9253601" y="2010"/>
                      <a:pt x="9277324" y="38873"/>
                      <a:pt x="9277324" y="112598"/>
                    </a:cubicBezTo>
                    <a:cubicBezTo>
                      <a:pt x="9277324" y="149109"/>
                      <a:pt x="9270628" y="176969"/>
                      <a:pt x="9257238" y="196177"/>
                    </a:cubicBezTo>
                    <a:cubicBezTo>
                      <a:pt x="9243847" y="215386"/>
                      <a:pt x="9225115" y="224990"/>
                      <a:pt x="9201041" y="224990"/>
                    </a:cubicBezTo>
                    <a:cubicBezTo>
                      <a:pt x="9178573" y="224990"/>
                      <a:pt x="9161044" y="215812"/>
                      <a:pt x="9148456" y="197456"/>
                    </a:cubicBezTo>
                    <a:cubicBezTo>
                      <a:pt x="9135867" y="179100"/>
                      <a:pt x="9129573" y="152569"/>
                      <a:pt x="9129573" y="117864"/>
                    </a:cubicBezTo>
                    <a:cubicBezTo>
                      <a:pt x="9129573" y="79747"/>
                      <a:pt x="9136143" y="50910"/>
                      <a:pt x="9149283" y="31350"/>
                    </a:cubicBezTo>
                    <a:cubicBezTo>
                      <a:pt x="9162424" y="11790"/>
                      <a:pt x="9181381" y="2010"/>
                      <a:pt x="9206157" y="2010"/>
                    </a:cubicBezTo>
                    <a:close/>
                    <a:moveTo>
                      <a:pt x="8985234" y="2010"/>
                    </a:moveTo>
                    <a:cubicBezTo>
                      <a:pt x="9032678" y="2010"/>
                      <a:pt x="9056401" y="38873"/>
                      <a:pt x="9056401" y="112598"/>
                    </a:cubicBezTo>
                    <a:cubicBezTo>
                      <a:pt x="9056401" y="149109"/>
                      <a:pt x="9049705" y="176969"/>
                      <a:pt x="9036315" y="196177"/>
                    </a:cubicBezTo>
                    <a:cubicBezTo>
                      <a:pt x="9022924" y="215386"/>
                      <a:pt x="9004192" y="224990"/>
                      <a:pt x="8980118" y="224990"/>
                    </a:cubicBezTo>
                    <a:cubicBezTo>
                      <a:pt x="8957650" y="224990"/>
                      <a:pt x="8940121" y="215812"/>
                      <a:pt x="8927533" y="197456"/>
                    </a:cubicBezTo>
                    <a:cubicBezTo>
                      <a:pt x="8914944" y="179100"/>
                      <a:pt x="8908650" y="152569"/>
                      <a:pt x="8908650" y="117864"/>
                    </a:cubicBezTo>
                    <a:cubicBezTo>
                      <a:pt x="8908650" y="79747"/>
                      <a:pt x="8915220" y="50910"/>
                      <a:pt x="8928360" y="31350"/>
                    </a:cubicBezTo>
                    <a:cubicBezTo>
                      <a:pt x="8941501" y="11790"/>
                      <a:pt x="8960458" y="2010"/>
                      <a:pt x="8985234" y="2010"/>
                    </a:cubicBezTo>
                    <a:close/>
                    <a:moveTo>
                      <a:pt x="6135772" y="2010"/>
                    </a:moveTo>
                    <a:cubicBezTo>
                      <a:pt x="6183217" y="2010"/>
                      <a:pt x="6206939" y="38873"/>
                      <a:pt x="6206939" y="112598"/>
                    </a:cubicBezTo>
                    <a:cubicBezTo>
                      <a:pt x="6206939" y="149109"/>
                      <a:pt x="6200244" y="176969"/>
                      <a:pt x="6186853" y="196177"/>
                    </a:cubicBezTo>
                    <a:cubicBezTo>
                      <a:pt x="6173462" y="215386"/>
                      <a:pt x="6154730" y="224990"/>
                      <a:pt x="6130656" y="224990"/>
                    </a:cubicBezTo>
                    <a:cubicBezTo>
                      <a:pt x="6108188" y="224990"/>
                      <a:pt x="6090659" y="215812"/>
                      <a:pt x="6078071" y="197456"/>
                    </a:cubicBezTo>
                    <a:cubicBezTo>
                      <a:pt x="6065482" y="179100"/>
                      <a:pt x="6059188" y="152569"/>
                      <a:pt x="6059188" y="117864"/>
                    </a:cubicBezTo>
                    <a:cubicBezTo>
                      <a:pt x="6059188" y="79747"/>
                      <a:pt x="6065758" y="50910"/>
                      <a:pt x="6078898" y="31350"/>
                    </a:cubicBezTo>
                    <a:cubicBezTo>
                      <a:pt x="6092039" y="11790"/>
                      <a:pt x="6110996" y="2010"/>
                      <a:pt x="6135772" y="2010"/>
                    </a:cubicBezTo>
                    <a:close/>
                    <a:moveTo>
                      <a:pt x="4032688" y="2010"/>
                    </a:moveTo>
                    <a:cubicBezTo>
                      <a:pt x="4080132" y="2010"/>
                      <a:pt x="4103855" y="38873"/>
                      <a:pt x="4103855" y="112598"/>
                    </a:cubicBezTo>
                    <a:cubicBezTo>
                      <a:pt x="4103855" y="149109"/>
                      <a:pt x="4097160" y="176969"/>
                      <a:pt x="4083769" y="196177"/>
                    </a:cubicBezTo>
                    <a:cubicBezTo>
                      <a:pt x="4070378" y="215386"/>
                      <a:pt x="4051646" y="224990"/>
                      <a:pt x="4027572" y="224990"/>
                    </a:cubicBezTo>
                    <a:cubicBezTo>
                      <a:pt x="4005104" y="224990"/>
                      <a:pt x="3987575" y="215812"/>
                      <a:pt x="3974987" y="197456"/>
                    </a:cubicBezTo>
                    <a:cubicBezTo>
                      <a:pt x="3962398" y="179100"/>
                      <a:pt x="3956104" y="152569"/>
                      <a:pt x="3956104" y="117864"/>
                    </a:cubicBezTo>
                    <a:cubicBezTo>
                      <a:pt x="3956104" y="79747"/>
                      <a:pt x="3962674" y="50910"/>
                      <a:pt x="3975814" y="31350"/>
                    </a:cubicBezTo>
                    <a:cubicBezTo>
                      <a:pt x="3988955" y="11790"/>
                      <a:pt x="4007912" y="2010"/>
                      <a:pt x="4032688" y="2010"/>
                    </a:cubicBezTo>
                    <a:close/>
                    <a:moveTo>
                      <a:pt x="3811764" y="2010"/>
                    </a:moveTo>
                    <a:cubicBezTo>
                      <a:pt x="3859209" y="2010"/>
                      <a:pt x="3882932" y="38873"/>
                      <a:pt x="3882932" y="112598"/>
                    </a:cubicBezTo>
                    <a:cubicBezTo>
                      <a:pt x="3882932" y="149109"/>
                      <a:pt x="3876236" y="176969"/>
                      <a:pt x="3862846" y="196177"/>
                    </a:cubicBezTo>
                    <a:cubicBezTo>
                      <a:pt x="3849455" y="215386"/>
                      <a:pt x="3830722" y="224990"/>
                      <a:pt x="3806649" y="224990"/>
                    </a:cubicBezTo>
                    <a:cubicBezTo>
                      <a:pt x="3784180" y="224990"/>
                      <a:pt x="3766652" y="215812"/>
                      <a:pt x="3754064" y="197456"/>
                    </a:cubicBezTo>
                    <a:cubicBezTo>
                      <a:pt x="3741475" y="179100"/>
                      <a:pt x="3735181" y="152569"/>
                      <a:pt x="3735181" y="117864"/>
                    </a:cubicBezTo>
                    <a:cubicBezTo>
                      <a:pt x="3735181" y="79747"/>
                      <a:pt x="3741751" y="50910"/>
                      <a:pt x="3754891" y="31350"/>
                    </a:cubicBezTo>
                    <a:cubicBezTo>
                      <a:pt x="3768031" y="11790"/>
                      <a:pt x="3786989" y="2010"/>
                      <a:pt x="3811764" y="2010"/>
                    </a:cubicBezTo>
                    <a:close/>
                    <a:moveTo>
                      <a:pt x="3150104" y="2010"/>
                    </a:moveTo>
                    <a:cubicBezTo>
                      <a:pt x="3197549" y="2010"/>
                      <a:pt x="3221272" y="38873"/>
                      <a:pt x="3221272" y="112598"/>
                    </a:cubicBezTo>
                    <a:cubicBezTo>
                      <a:pt x="3221272" y="149109"/>
                      <a:pt x="3214576" y="176969"/>
                      <a:pt x="3201186" y="196177"/>
                    </a:cubicBezTo>
                    <a:cubicBezTo>
                      <a:pt x="3187795" y="215386"/>
                      <a:pt x="3169062" y="224990"/>
                      <a:pt x="3144989" y="224990"/>
                    </a:cubicBezTo>
                    <a:cubicBezTo>
                      <a:pt x="3122520" y="224990"/>
                      <a:pt x="3104992" y="215812"/>
                      <a:pt x="3092404" y="197456"/>
                    </a:cubicBezTo>
                    <a:cubicBezTo>
                      <a:pt x="3079815" y="179100"/>
                      <a:pt x="3073521" y="152569"/>
                      <a:pt x="3073521" y="117864"/>
                    </a:cubicBezTo>
                    <a:cubicBezTo>
                      <a:pt x="3073521" y="79747"/>
                      <a:pt x="3080091" y="50910"/>
                      <a:pt x="3093231" y="31350"/>
                    </a:cubicBezTo>
                    <a:cubicBezTo>
                      <a:pt x="3106371" y="11790"/>
                      <a:pt x="3125329" y="2010"/>
                      <a:pt x="3150104" y="2010"/>
                    </a:cubicBezTo>
                    <a:close/>
                    <a:moveTo>
                      <a:pt x="2929181" y="2010"/>
                    </a:moveTo>
                    <a:cubicBezTo>
                      <a:pt x="2976626" y="2010"/>
                      <a:pt x="3000349" y="38873"/>
                      <a:pt x="3000349" y="112598"/>
                    </a:cubicBezTo>
                    <a:cubicBezTo>
                      <a:pt x="3000349" y="149109"/>
                      <a:pt x="2993653" y="176969"/>
                      <a:pt x="2980263" y="196177"/>
                    </a:cubicBezTo>
                    <a:cubicBezTo>
                      <a:pt x="2966872" y="215386"/>
                      <a:pt x="2948139" y="224990"/>
                      <a:pt x="2924066" y="224990"/>
                    </a:cubicBezTo>
                    <a:cubicBezTo>
                      <a:pt x="2901597" y="224990"/>
                      <a:pt x="2884069" y="215812"/>
                      <a:pt x="2871481" y="197456"/>
                    </a:cubicBezTo>
                    <a:cubicBezTo>
                      <a:pt x="2858892" y="179100"/>
                      <a:pt x="2852598" y="152569"/>
                      <a:pt x="2852598" y="117864"/>
                    </a:cubicBezTo>
                    <a:cubicBezTo>
                      <a:pt x="2852598" y="79747"/>
                      <a:pt x="2859168" y="50910"/>
                      <a:pt x="2872308" y="31350"/>
                    </a:cubicBezTo>
                    <a:cubicBezTo>
                      <a:pt x="2885448" y="11790"/>
                      <a:pt x="2904406" y="2010"/>
                      <a:pt x="2929181" y="2010"/>
                    </a:cubicBezTo>
                    <a:close/>
                    <a:moveTo>
                      <a:pt x="76584" y="0"/>
                    </a:moveTo>
                    <a:cubicBezTo>
                      <a:pt x="124028" y="0"/>
                      <a:pt x="147751" y="36863"/>
                      <a:pt x="147751" y="110588"/>
                    </a:cubicBezTo>
                    <a:cubicBezTo>
                      <a:pt x="147751" y="147099"/>
                      <a:pt x="141055" y="174959"/>
                      <a:pt x="127665" y="194167"/>
                    </a:cubicBezTo>
                    <a:cubicBezTo>
                      <a:pt x="114274" y="213376"/>
                      <a:pt x="95542" y="222980"/>
                      <a:pt x="71468" y="222980"/>
                    </a:cubicBezTo>
                    <a:cubicBezTo>
                      <a:pt x="49000" y="222980"/>
                      <a:pt x="31471" y="213802"/>
                      <a:pt x="18883" y="195446"/>
                    </a:cubicBezTo>
                    <a:cubicBezTo>
                      <a:pt x="6294" y="177090"/>
                      <a:pt x="0" y="150559"/>
                      <a:pt x="0" y="115854"/>
                    </a:cubicBezTo>
                    <a:cubicBezTo>
                      <a:pt x="0" y="77737"/>
                      <a:pt x="6570" y="48900"/>
                      <a:pt x="19710" y="29340"/>
                    </a:cubicBezTo>
                    <a:cubicBezTo>
                      <a:pt x="32851" y="9780"/>
                      <a:pt x="51808" y="0"/>
                      <a:pt x="7658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25000" noProof="0">
                  <a:ln>
                    <a:noFill/>
                  </a:ln>
                  <a:solidFill>
                    <a:sysClr val="windowText" lastClr="000000"/>
                  </a:solidFill>
                  <a:effectLst/>
                  <a:uLnTx/>
                  <a:uFillTx/>
                </a:endParaRPr>
              </a:p>
            </p:txBody>
          </p:sp>
        </p:grpSp>
      </p:grpSp>
      <p:grpSp>
        <p:nvGrpSpPr>
          <p:cNvPr id="8" name="Group 7"/>
          <p:cNvGrpSpPr/>
          <p:nvPr/>
        </p:nvGrpSpPr>
        <p:grpSpPr>
          <a:xfrm>
            <a:off x="3850963" y="2365945"/>
            <a:ext cx="8120586" cy="638729"/>
            <a:chOff x="3928182" y="2412890"/>
            <a:chExt cx="8283421" cy="651537"/>
          </a:xfrm>
        </p:grpSpPr>
        <p:sp>
          <p:nvSpPr>
            <p:cNvPr id="25" name="TextBox 24"/>
            <p:cNvSpPr txBox="1"/>
            <p:nvPr/>
          </p:nvSpPr>
          <p:spPr>
            <a:xfrm>
              <a:off x="3928182" y="2412890"/>
              <a:ext cx="4497762"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Queries that support the data visual respond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to user requests and yield contextual insights</a:t>
              </a:r>
            </a:p>
          </p:txBody>
        </p:sp>
        <p:cxnSp>
          <p:nvCxnSpPr>
            <p:cNvPr id="28" name="Straight Connector 27"/>
            <p:cNvCxnSpPr/>
            <p:nvPr/>
          </p:nvCxnSpPr>
          <p:spPr>
            <a:xfrm>
              <a:off x="4022800" y="2954776"/>
              <a:ext cx="5523585"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9547091" y="2695095"/>
              <a:ext cx="2664512"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ree-flow exploration</a:t>
              </a:r>
            </a:p>
          </p:txBody>
        </p:sp>
      </p:grpSp>
      <p:grpSp>
        <p:nvGrpSpPr>
          <p:cNvPr id="7" name="Group 6"/>
          <p:cNvGrpSpPr/>
          <p:nvPr/>
        </p:nvGrpSpPr>
        <p:grpSpPr>
          <a:xfrm>
            <a:off x="3070244" y="3411684"/>
            <a:ext cx="8902876" cy="636986"/>
            <a:chOff x="3131808" y="3479598"/>
            <a:chExt cx="9081397" cy="649759"/>
          </a:xfrm>
        </p:grpSpPr>
        <p:sp>
          <p:nvSpPr>
            <p:cNvPr id="24" name="TextBox 23"/>
            <p:cNvSpPr txBox="1"/>
            <p:nvPr/>
          </p:nvSpPr>
          <p:spPr>
            <a:xfrm>
              <a:off x="3131808" y="3479598"/>
              <a:ext cx="3554231"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Pre-set parameters enable users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to see different views of their data</a:t>
              </a:r>
            </a:p>
          </p:txBody>
        </p:sp>
        <p:cxnSp>
          <p:nvCxnSpPr>
            <p:cNvPr id="30" name="Straight Connector 29"/>
            <p:cNvCxnSpPr/>
            <p:nvPr/>
          </p:nvCxnSpPr>
          <p:spPr>
            <a:xfrm>
              <a:off x="3220054" y="4009530"/>
              <a:ext cx="6341461"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9547091" y="3760025"/>
              <a:ext cx="2666114"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On-demand reporting</a:t>
              </a:r>
            </a:p>
          </p:txBody>
        </p:sp>
      </p:grpSp>
      <p:grpSp>
        <p:nvGrpSpPr>
          <p:cNvPr id="6" name="Group 5"/>
          <p:cNvGrpSpPr/>
          <p:nvPr/>
        </p:nvGrpSpPr>
        <p:grpSpPr>
          <a:xfrm>
            <a:off x="1675084" y="4556743"/>
            <a:ext cx="9306425" cy="642069"/>
            <a:chOff x="1708673" y="4647618"/>
            <a:chExt cx="9493038" cy="654944"/>
          </a:xfrm>
        </p:grpSpPr>
        <p:sp>
          <p:nvSpPr>
            <p:cNvPr id="23" name="TextBox 22"/>
            <p:cNvSpPr txBox="1"/>
            <p:nvPr/>
          </p:nvSpPr>
          <p:spPr>
            <a:xfrm>
              <a:off x="1708673" y="4647618"/>
              <a:ext cx="3263016" cy="538609"/>
            </a:xfrm>
            <a:prstGeom prst="rect">
              <a:avLst/>
            </a:prstGeom>
            <a:noFill/>
          </p:spPr>
          <p:txBody>
            <a:bodyPr wrap="square" bIns="0" rtlCol="0">
              <a:spAutoFit/>
            </a:bodyPr>
            <a:lstStyle>
              <a:defPPr>
                <a:defRPr lang="en-US"/>
              </a:defPPr>
              <a:lvl1pPr>
                <a:defRPr sz="1400">
                  <a:solidFill>
                    <a:schemeClr val="accent3"/>
                  </a:solidFill>
                </a:defRPr>
              </a:lvl1p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Underlying data can be exported and analyzed offline</a:t>
              </a:r>
            </a:p>
          </p:txBody>
        </p:sp>
        <p:cxnSp>
          <p:nvCxnSpPr>
            <p:cNvPr id="31" name="Straight Connector 30"/>
            <p:cNvCxnSpPr/>
            <p:nvPr/>
          </p:nvCxnSpPr>
          <p:spPr>
            <a:xfrm>
              <a:off x="1803859" y="5184897"/>
              <a:ext cx="7742526"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9547091" y="4933230"/>
              <a:ext cx="1654620"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ata exports</a:t>
              </a:r>
            </a:p>
          </p:txBody>
        </p:sp>
      </p:grpSp>
      <p:grpSp>
        <p:nvGrpSpPr>
          <p:cNvPr id="5" name="Group 4"/>
          <p:cNvGrpSpPr/>
          <p:nvPr/>
        </p:nvGrpSpPr>
        <p:grpSpPr>
          <a:xfrm>
            <a:off x="343395" y="5763548"/>
            <a:ext cx="10097522" cy="646539"/>
            <a:chOff x="350280" y="5878622"/>
            <a:chExt cx="10299998" cy="659503"/>
          </a:xfrm>
        </p:grpSpPr>
        <p:sp>
          <p:nvSpPr>
            <p:cNvPr id="22" name="TextBox 21"/>
            <p:cNvSpPr txBox="1"/>
            <p:nvPr/>
          </p:nvSpPr>
          <p:spPr>
            <a:xfrm>
              <a:off x="350280" y="5878622"/>
              <a:ext cx="2980707" cy="538609"/>
            </a:xfrm>
            <a:prstGeom prst="rect">
              <a:avLst/>
            </a:prstGeom>
            <a:noFill/>
          </p:spPr>
          <p:txBody>
            <a:bodyPr wrap="square" bIns="0"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accent3"/>
                  </a:solidFill>
                  <a:effectLst/>
                  <a:uLnTx/>
                  <a:uFillTx/>
                </a:rPr>
                <a:t>Static images and graphs offer </a:t>
              </a:r>
              <a:br>
                <a:rPr kumimoji="0" lang="en-US" sz="1568" b="0" i="0" u="none" strike="noStrike" kern="0" cap="none" spc="0" normalizeH="0" baseline="0" noProof="0" dirty="0">
                  <a:ln>
                    <a:noFill/>
                  </a:ln>
                  <a:solidFill>
                    <a:schemeClr val="accent3"/>
                  </a:solidFill>
                  <a:effectLst/>
                  <a:uLnTx/>
                  <a:uFillTx/>
                </a:rPr>
              </a:br>
              <a:r>
                <a:rPr kumimoji="0" lang="en-US" sz="1568" b="0" i="0" u="none" strike="noStrike" kern="0" cap="none" spc="0" normalizeH="0" baseline="0" noProof="0" dirty="0">
                  <a:ln>
                    <a:noFill/>
                  </a:ln>
                  <a:solidFill>
                    <a:schemeClr val="accent3"/>
                  </a:solidFill>
                  <a:effectLst/>
                  <a:uLnTx/>
                  <a:uFillTx/>
                </a:rPr>
                <a:t>one slice of data in time</a:t>
              </a:r>
              <a:endParaRPr kumimoji="0" lang="en-US" sz="1568" b="1" i="0" u="none" strike="noStrike" kern="0" cap="none" spc="0" normalizeH="0" baseline="0" noProof="0" dirty="0">
                <a:ln>
                  <a:noFill/>
                </a:ln>
                <a:solidFill>
                  <a:schemeClr val="accent3"/>
                </a:solidFill>
                <a:effectLst/>
                <a:uLnTx/>
                <a:uFillTx/>
              </a:endParaRPr>
            </a:p>
          </p:txBody>
        </p:sp>
        <p:cxnSp>
          <p:nvCxnSpPr>
            <p:cNvPr id="32" name="Straight Connector 31"/>
            <p:cNvCxnSpPr/>
            <p:nvPr/>
          </p:nvCxnSpPr>
          <p:spPr>
            <a:xfrm>
              <a:off x="447876" y="6424703"/>
              <a:ext cx="9113639" cy="0"/>
            </a:xfrm>
            <a:prstGeom prst="line">
              <a:avLst/>
            </a:prstGeom>
            <a:ln w="28575">
              <a:solidFill>
                <a:srgbClr val="FFC000">
                  <a:alpha val="70000"/>
                </a:srgbClr>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547091" y="6168793"/>
              <a:ext cx="1103187" cy="369332"/>
            </a:xfrm>
            <a:prstGeom prst="rect">
              <a:avLst/>
            </a:prstGeom>
          </p:spPr>
          <p:txBody>
            <a:bodyPr wrap="none" anchor="b">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Pictures</a:t>
              </a:r>
            </a:p>
          </p:txBody>
        </p:sp>
      </p:grpSp>
      <p:sp>
        <p:nvSpPr>
          <p:cNvPr id="4" name="Title 3"/>
          <p:cNvSpPr>
            <a:spLocks noGrp="1"/>
          </p:cNvSpPr>
          <p:nvPr>
            <p:ph type="title"/>
          </p:nvPr>
        </p:nvSpPr>
        <p:spPr/>
        <p:txBody>
          <a:bodyPr/>
          <a:lstStyle/>
          <a:p>
            <a:r>
              <a:rPr lang="en-US" dirty="0">
                <a:solidFill>
                  <a:schemeClr val="accent3"/>
                </a:solidFill>
              </a:rPr>
              <a:t>The evolution of embedded reporting</a:t>
            </a:r>
            <a:br>
              <a:rPr lang="en-US" dirty="0"/>
            </a:br>
            <a:r>
              <a:rPr lang="en-US" sz="3137" dirty="0">
                <a:solidFill>
                  <a:schemeClr val="accent3"/>
                </a:solidFill>
              </a:rPr>
              <a:t>From app info to app action—an end-user’s perspective</a:t>
            </a:r>
            <a:endParaRPr lang="en-US" dirty="0">
              <a:solidFill>
                <a:schemeClr val="accent3"/>
              </a:solidFill>
            </a:endParaRPr>
          </a:p>
        </p:txBody>
      </p:sp>
    </p:spTree>
    <p:extLst>
      <p:ext uri="{BB962C8B-B14F-4D97-AF65-F5344CB8AC3E}">
        <p14:creationId xmlns:p14="http://schemas.microsoft.com/office/powerpoint/2010/main" val="239549478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25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wipe(left)">
                                      <p:cBhvr>
                                        <p:cTn id="20" dur="25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wipe(left)">
                                      <p:cBhvr>
                                        <p:cTn id="29" dur="250"/>
                                        <p:tgtEl>
                                          <p:spTgt spid="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left)">
                                      <p:cBhvr>
                                        <p:cTn id="38" dur="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2" name="Rectangle 21"/>
          <p:cNvSpPr/>
          <p:nvPr/>
        </p:nvSpPr>
        <p:spPr>
          <a:xfrm>
            <a:off x="865" y="2230177"/>
            <a:ext cx="3959094" cy="1189867"/>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compelling interactive reports</a:t>
            </a:r>
          </a:p>
        </p:txBody>
      </p:sp>
      <p:sp>
        <p:nvSpPr>
          <p:cNvPr id="23" name="Rectangle 22"/>
          <p:cNvSpPr/>
          <p:nvPr/>
        </p:nvSpPr>
        <p:spPr>
          <a:xfrm>
            <a:off x="3959959" y="2230176"/>
            <a:ext cx="4272082" cy="1189868"/>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easily for </a:t>
            </a:r>
            <a:b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b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faster time to value</a:t>
            </a:r>
          </a:p>
        </p:txBody>
      </p:sp>
      <p:sp>
        <p:nvSpPr>
          <p:cNvPr id="24" name="Rectangle 23"/>
          <p:cNvSpPr/>
          <p:nvPr/>
        </p:nvSpPr>
        <p:spPr>
          <a:xfrm>
            <a:off x="8232041" y="2230177"/>
            <a:ext cx="3959094" cy="1189866"/>
          </a:xfrm>
          <a:prstGeom prst="rect">
            <a:avLst/>
          </a:prstGeom>
          <a:solidFill>
            <a:srgbClr val="1E1E1E"/>
          </a:solidFill>
          <a:ln>
            <a:noFill/>
          </a:ln>
        </p:spPr>
        <p:txBody>
          <a:bodyPr vert="horz" wrap="square" lIns="537855" tIns="89642" rIns="448212" bIns="89642" rtlCol="0" anchor="ctr">
            <a:norm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 </a:t>
            </a: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quickly</a:t>
            </a:r>
            <a:br>
              <a:rPr kumimoji="0" lang="en-US" sz="2353" b="0" i="0" u="none" strike="noStrike" kern="0" cap="none" spc="-100" normalizeH="0" baseline="0" noProof="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r>
              <a:rPr kumimoji="0" lang="en-US" sz="2353" b="0" i="0" u="none" strike="noStrike" kern="0" cap="none" spc="-100" normalizeH="0" baseline="0" noProof="0" dirty="0">
                <a:ln w="3175">
                  <a:noFill/>
                </a:ln>
                <a:solidFill>
                  <a:schemeClr val="bg1"/>
                </a:solidFill>
                <a:effectLst/>
                <a:uLnTx/>
                <a:uFillTx/>
                <a:latin typeface="+mj-lt"/>
                <a:ea typeface="Segoe UI Black" panose="020B0A02040204020203" pitchFamily="34" charset="0"/>
                <a:cs typeface="Segoe UI Black" panose="020B0A02040204020203" pitchFamily="34" charset="0"/>
              </a:rPr>
              <a:t>and manage with ease</a:t>
            </a:r>
          </a:p>
        </p:txBody>
      </p:sp>
      <p:sp>
        <p:nvSpPr>
          <p:cNvPr id="37" name="Title 3"/>
          <p:cNvSpPr txBox="1">
            <a:spLocks/>
          </p:cNvSpPr>
          <p:nvPr/>
        </p:nvSpPr>
        <p:spPr>
          <a:xfrm>
            <a:off x="270067" y="404687"/>
            <a:ext cx="11921068"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5882" b="0" i="0" u="none" strike="noStrike" kern="1200" cap="none" spc="-102" normalizeH="0" baseline="0" noProof="0" dirty="0">
                <a:ln w="3175">
                  <a:noFill/>
                </a:ln>
                <a:solidFill>
                  <a:srgbClr val="282828"/>
                </a:solidFill>
                <a:effectLst/>
                <a:uLnTx/>
                <a:uFillTx/>
                <a:latin typeface="+mj-lt"/>
                <a:ea typeface="+mn-ea"/>
                <a:cs typeface="Segoe UI" pitchFamily="34" charset="0"/>
              </a:rPr>
              <a:t>You have the app. You have the data. </a:t>
            </a:r>
            <a:br>
              <a:rPr kumimoji="0" lang="en-US" sz="5882" b="0" i="0" u="none" strike="noStrike" kern="1200" cap="none" spc="-102" normalizeH="0" baseline="0" noProof="0" dirty="0">
                <a:ln w="3175">
                  <a:noFill/>
                </a:ln>
                <a:solidFill>
                  <a:srgbClr val="282828"/>
                </a:solidFill>
                <a:effectLst/>
                <a:uLnTx/>
                <a:uFillTx/>
                <a:latin typeface="+mj-lt"/>
                <a:ea typeface="+mn-ea"/>
                <a:cs typeface="Segoe UI" pitchFamily="34" charset="0"/>
              </a:rPr>
            </a:br>
            <a:r>
              <a:rPr kumimoji="0" lang="en-US" sz="3921" b="0" i="0" u="none" strike="noStrike" kern="1200" cap="none" spc="-102" normalizeH="0" baseline="0" noProof="0" dirty="0">
                <a:ln w="3175">
                  <a:noFill/>
                </a:ln>
                <a:solidFill>
                  <a:srgbClr val="282828"/>
                </a:solidFill>
                <a:effectLst/>
                <a:uLnTx/>
                <a:uFillTx/>
                <a:latin typeface="+mj-lt"/>
                <a:ea typeface="Segoe UI Black" panose="020B0A02040204020203" pitchFamily="34" charset="0"/>
                <a:cs typeface="Segoe UI Light" panose="020B0502040204020203" pitchFamily="34" charset="0"/>
              </a:rPr>
              <a:t>Bring data to life inside your app with Power BI Embedded</a:t>
            </a:r>
            <a:endParaRPr kumimoji="0" lang="en-US" sz="1961" b="0" i="0" u="none" strike="noStrike" kern="1200" cap="none" spc="-102" normalizeH="0" baseline="0" noProof="0" dirty="0">
              <a:ln w="3175">
                <a:noFill/>
              </a:ln>
              <a:solidFill>
                <a:srgbClr val="282828"/>
              </a:solidFill>
              <a:effectLst/>
              <a:uLnTx/>
              <a:uFillTx/>
              <a:latin typeface="+mj-lt"/>
              <a:ea typeface="Segoe UI Black" panose="020B0A02040204020203" pitchFamily="34" charset="0"/>
              <a:cs typeface="Segoe UI Light" panose="020B0502040204020203" pitchFamily="34" charset="0"/>
            </a:endParaRPr>
          </a:p>
        </p:txBody>
      </p:sp>
      <p:grpSp>
        <p:nvGrpSpPr>
          <p:cNvPr id="4" name="Group 3"/>
          <p:cNvGrpSpPr/>
          <p:nvPr/>
        </p:nvGrpSpPr>
        <p:grpSpPr>
          <a:xfrm>
            <a:off x="3918862" y="3799747"/>
            <a:ext cx="3842732" cy="2374935"/>
            <a:chOff x="3758108" y="3882044"/>
            <a:chExt cx="4537730" cy="2804466"/>
          </a:xfrm>
        </p:grpSpPr>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3369" t="6680" r="29021" b="6414"/>
            <a:stretch/>
          </p:blipFill>
          <p:spPr>
            <a:xfrm>
              <a:off x="3758108" y="3882044"/>
              <a:ext cx="4537730" cy="2804466"/>
            </a:xfrm>
            <a:prstGeom prst="rect">
              <a:avLst/>
            </a:prstGeom>
          </p:spPr>
        </p:pic>
        <p:grpSp>
          <p:nvGrpSpPr>
            <p:cNvPr id="27" name="Group 26"/>
            <p:cNvGrpSpPr/>
            <p:nvPr/>
          </p:nvGrpSpPr>
          <p:grpSpPr>
            <a:xfrm>
              <a:off x="4252895" y="4071186"/>
              <a:ext cx="3841310" cy="2266377"/>
              <a:chOff x="6002958" y="2837999"/>
              <a:chExt cx="3841310" cy="2266377"/>
            </a:xfrm>
          </p:grpSpPr>
          <p:grpSp>
            <p:nvGrpSpPr>
              <p:cNvPr id="82" name="Group 81"/>
              <p:cNvGrpSpPr/>
              <p:nvPr/>
            </p:nvGrpSpPr>
            <p:grpSpPr>
              <a:xfrm>
                <a:off x="6120567" y="4453100"/>
                <a:ext cx="2404209" cy="651276"/>
                <a:chOff x="-2653979" y="3205843"/>
                <a:chExt cx="2208776" cy="1551273"/>
              </a:xfrm>
            </p:grpSpPr>
            <p:sp>
              <p:nvSpPr>
                <p:cNvPr id="104" name="Rectangle 103"/>
                <p:cNvSpPr/>
                <p:nvPr/>
              </p:nvSpPr>
              <p:spPr>
                <a:xfrm>
                  <a:off x="-2653979" y="3205843"/>
                  <a:ext cx="2208776" cy="155127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105" name="Group 104"/>
                <p:cNvGrpSpPr/>
                <p:nvPr/>
              </p:nvGrpSpPr>
              <p:grpSpPr>
                <a:xfrm>
                  <a:off x="-2519788" y="3485769"/>
                  <a:ext cx="1920244" cy="991420"/>
                  <a:chOff x="578918" y="4230914"/>
                  <a:chExt cx="1836673" cy="785213"/>
                </a:xfrm>
              </p:grpSpPr>
              <p:cxnSp>
                <p:nvCxnSpPr>
                  <p:cNvPr id="106" name="Straight Connector 105"/>
                  <p:cNvCxnSpPr/>
                  <p:nvPr/>
                </p:nvCxnSpPr>
                <p:spPr>
                  <a:xfrm>
                    <a:off x="578918" y="4230914"/>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578918" y="442721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78918" y="4623520"/>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578918" y="4819823"/>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578918" y="501612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83" name="Group 82"/>
              <p:cNvGrpSpPr/>
              <p:nvPr/>
            </p:nvGrpSpPr>
            <p:grpSpPr>
              <a:xfrm>
                <a:off x="8524776" y="2950602"/>
                <a:ext cx="1319492" cy="2153773"/>
                <a:chOff x="-4889270" y="1105572"/>
                <a:chExt cx="2116442" cy="3651543"/>
              </a:xfrm>
            </p:grpSpPr>
            <p:sp>
              <p:nvSpPr>
                <p:cNvPr id="88" name="Rectangle 87"/>
                <p:cNvSpPr/>
                <p:nvPr/>
              </p:nvSpPr>
              <p:spPr>
                <a:xfrm>
                  <a:off x="-4889270" y="1105572"/>
                  <a:ext cx="2116442" cy="36515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rPr>
                    <a:t> </a:t>
                  </a:r>
                </a:p>
              </p:txBody>
            </p:sp>
            <p:cxnSp>
              <p:nvCxnSpPr>
                <p:cNvPr id="89" name="Straight Connector 88"/>
                <p:cNvCxnSpPr/>
                <p:nvPr/>
              </p:nvCxnSpPr>
              <p:spPr>
                <a:xfrm>
                  <a:off x="-4774213" y="1287242"/>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774213" y="1523811"/>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a:off x="-4774213" y="1760380"/>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774213" y="1996949"/>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774213" y="2233518"/>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4774213" y="2470087"/>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4774213" y="2706656"/>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4774213" y="2943225"/>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4774213" y="317979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4774213" y="3416363"/>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a:off x="-4774213" y="3652932"/>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774213" y="3889501"/>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4774213" y="4126070"/>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4774213" y="4362639"/>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774213" y="459921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6002958" y="2837999"/>
                <a:ext cx="3841310" cy="112272"/>
                <a:chOff x="6350859" y="637169"/>
                <a:chExt cx="8756422" cy="255928"/>
              </a:xfrm>
            </p:grpSpPr>
            <p:sp>
              <p:nvSpPr>
                <p:cNvPr id="86" name="Rectangle 85"/>
                <p:cNvSpPr/>
                <p:nvPr/>
              </p:nvSpPr>
              <p:spPr>
                <a:xfrm>
                  <a:off x="6350859" y="637363"/>
                  <a:ext cx="8756422"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7" name="Rectangle 86"/>
                <p:cNvSpPr/>
                <p:nvPr/>
              </p:nvSpPr>
              <p:spPr>
                <a:xfrm>
                  <a:off x="6350859" y="637169"/>
                  <a:ext cx="255929"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85" name="Picture 84"/>
              <p:cNvPicPr>
                <a:picLocks noChangeAspect="1"/>
              </p:cNvPicPr>
              <p:nvPr/>
            </p:nvPicPr>
            <p:blipFill>
              <a:blip r:embed="rId5"/>
              <a:stretch>
                <a:fillRect/>
              </a:stretch>
            </p:blipFill>
            <p:spPr>
              <a:xfrm>
                <a:off x="6119353" y="2950271"/>
                <a:ext cx="2409125" cy="1545695"/>
              </a:xfrm>
              <a:prstGeom prst="rect">
                <a:avLst/>
              </a:prstGeom>
            </p:spPr>
          </p:pic>
        </p:grpSp>
      </p:grpSp>
      <p:grpSp>
        <p:nvGrpSpPr>
          <p:cNvPr id="3" name="Group 2"/>
          <p:cNvGrpSpPr/>
          <p:nvPr/>
        </p:nvGrpSpPr>
        <p:grpSpPr>
          <a:xfrm>
            <a:off x="4868375" y="4362402"/>
            <a:ext cx="3036979" cy="1943363"/>
            <a:chOff x="6992031" y="4649551"/>
            <a:chExt cx="2982689" cy="1908621"/>
          </a:xfrm>
        </p:grpSpPr>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92031" y="4649551"/>
              <a:ext cx="2982689" cy="1908621"/>
            </a:xfrm>
            <a:prstGeom prst="rect">
              <a:avLst/>
            </a:prstGeom>
          </p:spPr>
        </p:pic>
        <p:grpSp>
          <p:nvGrpSpPr>
            <p:cNvPr id="29" name="Group 28"/>
            <p:cNvGrpSpPr/>
            <p:nvPr/>
          </p:nvGrpSpPr>
          <p:grpSpPr>
            <a:xfrm>
              <a:off x="7751974" y="4889468"/>
              <a:ext cx="2008151" cy="1458982"/>
              <a:chOff x="9502037" y="3656281"/>
              <a:chExt cx="2008151" cy="1458982"/>
            </a:xfrm>
          </p:grpSpPr>
          <p:grpSp>
            <p:nvGrpSpPr>
              <p:cNvPr id="53" name="Group 52"/>
              <p:cNvGrpSpPr/>
              <p:nvPr/>
            </p:nvGrpSpPr>
            <p:grpSpPr>
              <a:xfrm>
                <a:off x="10393329" y="4655762"/>
                <a:ext cx="1114137" cy="459501"/>
                <a:chOff x="-2653979" y="3205843"/>
                <a:chExt cx="2208776" cy="1551273"/>
              </a:xfrm>
            </p:grpSpPr>
            <p:sp>
              <p:nvSpPr>
                <p:cNvPr id="75" name="Rectangle 74"/>
                <p:cNvSpPr/>
                <p:nvPr/>
              </p:nvSpPr>
              <p:spPr>
                <a:xfrm>
                  <a:off x="-2653979" y="3205843"/>
                  <a:ext cx="2208776" cy="15512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76" name="Group 75"/>
                <p:cNvGrpSpPr/>
                <p:nvPr/>
              </p:nvGrpSpPr>
              <p:grpSpPr>
                <a:xfrm>
                  <a:off x="-2519788" y="3485769"/>
                  <a:ext cx="1920244" cy="991420"/>
                  <a:chOff x="578918" y="4230914"/>
                  <a:chExt cx="1836673" cy="785213"/>
                </a:xfrm>
              </p:grpSpPr>
              <p:cxnSp>
                <p:nvCxnSpPr>
                  <p:cNvPr id="77" name="Straight Connector 76"/>
                  <p:cNvCxnSpPr/>
                  <p:nvPr/>
                </p:nvCxnSpPr>
                <p:spPr>
                  <a:xfrm>
                    <a:off x="578918" y="4230914"/>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578918" y="442721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578918" y="4623520"/>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578918" y="4819823"/>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78918" y="501612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a:off x="9506831" y="3747556"/>
                <a:ext cx="899804" cy="1356819"/>
                <a:chOff x="-4889270" y="1105572"/>
                <a:chExt cx="2116442" cy="3651543"/>
              </a:xfrm>
            </p:grpSpPr>
            <p:sp>
              <p:nvSpPr>
                <p:cNvPr id="59" name="Rectangle 58"/>
                <p:cNvSpPr/>
                <p:nvPr/>
              </p:nvSpPr>
              <p:spPr>
                <a:xfrm>
                  <a:off x="-4889270" y="1105572"/>
                  <a:ext cx="2116442" cy="365154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60" name="Straight Connector 59"/>
                <p:cNvCxnSpPr/>
                <p:nvPr/>
              </p:nvCxnSpPr>
              <p:spPr>
                <a:xfrm>
                  <a:off x="-4774213" y="1287242"/>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774213" y="1523811"/>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774213" y="1760380"/>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774213" y="1996949"/>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774213" y="2233518"/>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774213" y="2470087"/>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4774213" y="2706656"/>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4774213" y="2943225"/>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774213" y="317979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774213" y="3416363"/>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4774213" y="3652932"/>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774213" y="3889501"/>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774213" y="4126070"/>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4774213" y="4362639"/>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774213" y="459921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9502037" y="3656281"/>
                <a:ext cx="2008151" cy="127959"/>
                <a:chOff x="6350859" y="637169"/>
                <a:chExt cx="4016458" cy="255928"/>
              </a:xfrm>
            </p:grpSpPr>
            <p:sp>
              <p:nvSpPr>
                <p:cNvPr id="57" name="Rectangle 56"/>
                <p:cNvSpPr/>
                <p:nvPr/>
              </p:nvSpPr>
              <p:spPr>
                <a:xfrm>
                  <a:off x="6356303" y="637361"/>
                  <a:ext cx="4011014" cy="255736"/>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58" name="Rectangle 57"/>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56" name="Picture 55"/>
              <p:cNvPicPr>
                <a:picLocks noChangeAspect="1"/>
              </p:cNvPicPr>
              <p:nvPr/>
            </p:nvPicPr>
            <p:blipFill>
              <a:blip r:embed="rId7"/>
              <a:stretch>
                <a:fillRect/>
              </a:stretch>
            </p:blipFill>
            <p:spPr>
              <a:xfrm>
                <a:off x="10406636" y="3786753"/>
                <a:ext cx="1100830" cy="904575"/>
              </a:xfrm>
              <a:prstGeom prst="rect">
                <a:avLst/>
              </a:prstGeom>
            </p:spPr>
          </p:pic>
        </p:grpSp>
        <p:grpSp>
          <p:nvGrpSpPr>
            <p:cNvPr id="30" name="Group 29"/>
            <p:cNvGrpSpPr/>
            <p:nvPr/>
          </p:nvGrpSpPr>
          <p:grpSpPr>
            <a:xfrm>
              <a:off x="7025164" y="5272454"/>
              <a:ext cx="630944" cy="1069938"/>
              <a:chOff x="8775227" y="4039267"/>
              <a:chExt cx="630944" cy="1069938"/>
            </a:xfrm>
          </p:grpSpPr>
          <p:grpSp>
            <p:nvGrpSpPr>
              <p:cNvPr id="31" name="Group 30"/>
              <p:cNvGrpSpPr/>
              <p:nvPr/>
            </p:nvGrpSpPr>
            <p:grpSpPr>
              <a:xfrm>
                <a:off x="8795657" y="4120242"/>
                <a:ext cx="219578" cy="984133"/>
                <a:chOff x="-4889270" y="1105572"/>
                <a:chExt cx="2116442" cy="3651543"/>
              </a:xfrm>
            </p:grpSpPr>
            <p:sp>
              <p:nvSpPr>
                <p:cNvPr id="36" name="Rectangle 35"/>
                <p:cNvSpPr/>
                <p:nvPr/>
              </p:nvSpPr>
              <p:spPr>
                <a:xfrm>
                  <a:off x="-4889270" y="1105572"/>
                  <a:ext cx="2116442" cy="365154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38" name="Straight Connector 37"/>
                <p:cNvCxnSpPr/>
                <p:nvPr/>
              </p:nvCxnSpPr>
              <p:spPr>
                <a:xfrm>
                  <a:off x="-4774213" y="1287242"/>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774213" y="1523811"/>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4774213" y="1760380"/>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774213" y="1996949"/>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774213" y="2233518"/>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774213" y="2470087"/>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774213" y="2706656"/>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774213" y="2943225"/>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774213" y="317979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774213" y="3416363"/>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4774213" y="3652932"/>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774213" y="3889501"/>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774213" y="4126070"/>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774213" y="4362639"/>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774213" y="459921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8775227" y="4039267"/>
                <a:ext cx="630944" cy="80494"/>
                <a:chOff x="6350859" y="637169"/>
                <a:chExt cx="2006064" cy="255928"/>
              </a:xfrm>
            </p:grpSpPr>
            <p:sp>
              <p:nvSpPr>
                <p:cNvPr id="34" name="Rectangle 33"/>
                <p:cNvSpPr/>
                <p:nvPr/>
              </p:nvSpPr>
              <p:spPr>
                <a:xfrm>
                  <a:off x="6372498" y="637363"/>
                  <a:ext cx="1984425"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5" name="Rectangle 34"/>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25000" noProof="0" dirty="0">
                    <a:ln>
                      <a:noFill/>
                    </a:ln>
                    <a:solidFill>
                      <a:sysClr val="windowText" lastClr="000000"/>
                    </a:solidFill>
                    <a:effectLst/>
                    <a:uLnTx/>
                    <a:uFillTx/>
                  </a:endParaRPr>
                </a:p>
              </p:txBody>
            </p:sp>
          </p:grpSp>
          <p:pic>
            <p:nvPicPr>
              <p:cNvPr id="33" name="Picture 32"/>
              <p:cNvPicPr>
                <a:picLocks noChangeAspect="1"/>
              </p:cNvPicPr>
              <p:nvPr/>
            </p:nvPicPr>
            <p:blipFill>
              <a:blip r:embed="rId8"/>
              <a:stretch>
                <a:fillRect/>
              </a:stretch>
            </p:blipFill>
            <p:spPr>
              <a:xfrm>
                <a:off x="9015235" y="4124555"/>
                <a:ext cx="388213" cy="984650"/>
              </a:xfrm>
              <a:prstGeom prst="rect">
                <a:avLst/>
              </a:prstGeom>
            </p:spPr>
          </p:pic>
        </p:grpSp>
      </p:grpSp>
      <p:sp>
        <p:nvSpPr>
          <p:cNvPr id="111" name="Chevron 110"/>
          <p:cNvSpPr/>
          <p:nvPr/>
        </p:nvSpPr>
        <p:spPr bwMode="auto">
          <a:xfrm>
            <a:off x="3631395" y="2230176"/>
            <a:ext cx="641602" cy="1189867"/>
          </a:xfrm>
          <a:prstGeom prst="chevron">
            <a:avLst>
              <a:gd name="adj" fmla="val 4246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 name="Chevron 111"/>
          <p:cNvSpPr/>
          <p:nvPr/>
        </p:nvSpPr>
        <p:spPr bwMode="auto">
          <a:xfrm>
            <a:off x="7903477" y="2230176"/>
            <a:ext cx="641602" cy="1189867"/>
          </a:xfrm>
          <a:prstGeom prst="chevron">
            <a:avLst>
              <a:gd name="adj" fmla="val 4246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3" name="Group 122"/>
          <p:cNvGrpSpPr/>
          <p:nvPr/>
        </p:nvGrpSpPr>
        <p:grpSpPr>
          <a:xfrm>
            <a:off x="8545078" y="3856064"/>
            <a:ext cx="3352594" cy="2262300"/>
            <a:chOff x="8490545" y="4153693"/>
            <a:chExt cx="3361488" cy="2268302"/>
          </a:xfrm>
        </p:grpSpPr>
        <p:pic>
          <p:nvPicPr>
            <p:cNvPr id="113" name="Picture 112"/>
            <p:cNvPicPr>
              <a:picLocks noChangeAspect="1"/>
            </p:cNvPicPr>
            <p:nvPr/>
          </p:nvPicPr>
          <p:blipFill>
            <a:blip r:embed="rId9"/>
            <a:stretch>
              <a:fillRect/>
            </a:stretch>
          </p:blipFill>
          <p:spPr>
            <a:xfrm>
              <a:off x="8490545" y="4153693"/>
              <a:ext cx="3361488" cy="2268302"/>
            </a:xfrm>
            <a:prstGeom prst="rect">
              <a:avLst/>
            </a:prstGeom>
          </p:spPr>
        </p:pic>
        <p:pic>
          <p:nvPicPr>
            <p:cNvPr id="114" name="Picture 113"/>
            <p:cNvPicPr>
              <a:picLocks noChangeAspect="1"/>
            </p:cNvPicPr>
            <p:nvPr/>
          </p:nvPicPr>
          <p:blipFill>
            <a:blip r:embed="rId10"/>
            <a:stretch>
              <a:fillRect/>
            </a:stretch>
          </p:blipFill>
          <p:spPr>
            <a:xfrm>
              <a:off x="8642216" y="4276764"/>
              <a:ext cx="3092583" cy="2036899"/>
            </a:xfrm>
            <a:prstGeom prst="rect">
              <a:avLst/>
            </a:prstGeom>
          </p:spPr>
        </p:pic>
        <p:sp>
          <p:nvSpPr>
            <p:cNvPr id="118" name="Rectangle 117"/>
            <p:cNvSpPr/>
            <p:nvPr/>
          </p:nvSpPr>
          <p:spPr bwMode="auto">
            <a:xfrm>
              <a:off x="10304462" y="4711718"/>
              <a:ext cx="132557" cy="45719"/>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1" name="Group 120"/>
            <p:cNvGrpSpPr/>
            <p:nvPr/>
          </p:nvGrpSpPr>
          <p:grpSpPr>
            <a:xfrm>
              <a:off x="9878985" y="4721025"/>
              <a:ext cx="131790" cy="136899"/>
              <a:chOff x="8324521" y="1308542"/>
              <a:chExt cx="749150" cy="778192"/>
            </a:xfrm>
          </p:grpSpPr>
          <p:sp>
            <p:nvSpPr>
              <p:cNvPr id="119" name="Rectangle 118"/>
              <p:cNvSpPr/>
              <p:nvPr/>
            </p:nvSpPr>
            <p:spPr bwMode="auto">
              <a:xfrm>
                <a:off x="8324521" y="1308542"/>
                <a:ext cx="749150" cy="778192"/>
              </a:xfrm>
              <a:prstGeom prst="rect">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0" name="Freeform 119"/>
              <p:cNvSpPr/>
              <p:nvPr/>
            </p:nvSpPr>
            <p:spPr bwMode="auto">
              <a:xfrm>
                <a:off x="8492935" y="1479743"/>
                <a:ext cx="412321" cy="435790"/>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22" name="Rectangle 121"/>
            <p:cNvSpPr/>
            <p:nvPr/>
          </p:nvSpPr>
          <p:spPr bwMode="auto">
            <a:xfrm>
              <a:off x="11330781" y="4276764"/>
              <a:ext cx="315913" cy="86593"/>
            </a:xfrm>
            <a:prstGeom prst="rect">
              <a:avLst/>
            </a:prstGeom>
            <a:solidFill>
              <a:srgbClr val="2024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55" name="Group 154"/>
          <p:cNvGrpSpPr/>
          <p:nvPr/>
        </p:nvGrpSpPr>
        <p:grpSpPr>
          <a:xfrm>
            <a:off x="312473" y="3871239"/>
            <a:ext cx="3362433" cy="2296386"/>
            <a:chOff x="331948" y="4284081"/>
            <a:chExt cx="3293308" cy="2249176"/>
          </a:xfrm>
        </p:grpSpPr>
        <p:pic>
          <p:nvPicPr>
            <p:cNvPr id="137" name="Picture 136">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1948" y="4284081"/>
              <a:ext cx="3293308" cy="2249176"/>
            </a:xfrm>
            <a:prstGeom prst="rect">
              <a:avLst/>
            </a:prstGeom>
          </p:spPr>
        </p:pic>
        <p:pic>
          <p:nvPicPr>
            <p:cNvPr id="141" name="Picture 140"/>
            <p:cNvPicPr>
              <a:picLocks noChangeAspect="1"/>
            </p:cNvPicPr>
            <p:nvPr/>
          </p:nvPicPr>
          <p:blipFill>
            <a:blip r:embed="rId13"/>
            <a:stretch>
              <a:fillRect/>
            </a:stretch>
          </p:blipFill>
          <p:spPr>
            <a:xfrm>
              <a:off x="414337" y="4360069"/>
              <a:ext cx="3127639" cy="1768232"/>
            </a:xfrm>
            <a:prstGeom prst="rect">
              <a:avLst/>
            </a:prstGeom>
          </p:spPr>
        </p:pic>
        <p:sp>
          <p:nvSpPr>
            <p:cNvPr id="129" name="Rectangle 128"/>
            <p:cNvSpPr/>
            <p:nvPr/>
          </p:nvSpPr>
          <p:spPr>
            <a:xfrm>
              <a:off x="511969" y="4669326"/>
              <a:ext cx="2331244" cy="1365757"/>
            </a:xfrm>
            <a:prstGeom prst="rect">
              <a:avLst/>
            </a:prstGeom>
            <a:solidFill>
              <a:schemeClr val="bg1"/>
            </a:solidFill>
            <a:ln w="6350">
              <a:solidFill>
                <a:srgbClr val="1E1E1E">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pic>
          <p:nvPicPr>
            <p:cNvPr id="130" name="Picture 129"/>
            <p:cNvPicPr>
              <a:picLocks noChangeAspect="1"/>
            </p:cNvPicPr>
            <p:nvPr/>
          </p:nvPicPr>
          <p:blipFill>
            <a:blip r:embed="rId14">
              <a:clrChange>
                <a:clrFrom>
                  <a:srgbClr val="FFFFFF"/>
                </a:clrFrom>
                <a:clrTo>
                  <a:srgbClr val="FFFFFF">
                    <a:alpha val="0"/>
                  </a:srgbClr>
                </a:clrTo>
              </a:clrChange>
            </a:blip>
            <a:stretch>
              <a:fillRect/>
            </a:stretch>
          </p:blipFill>
          <p:spPr>
            <a:xfrm>
              <a:off x="1110806" y="4764734"/>
              <a:ext cx="784093" cy="553478"/>
            </a:xfrm>
            <a:prstGeom prst="rect">
              <a:avLst/>
            </a:prstGeom>
          </p:spPr>
        </p:pic>
        <p:pic>
          <p:nvPicPr>
            <p:cNvPr id="131" name="Picture 130"/>
            <p:cNvPicPr>
              <a:picLocks noChangeAspect="1"/>
            </p:cNvPicPr>
            <p:nvPr/>
          </p:nvPicPr>
          <p:blipFill>
            <a:blip r:embed="rId15"/>
            <a:stretch>
              <a:fillRect/>
            </a:stretch>
          </p:blipFill>
          <p:spPr>
            <a:xfrm>
              <a:off x="581964" y="5311915"/>
              <a:ext cx="753340" cy="667865"/>
            </a:xfrm>
            <a:prstGeom prst="rect">
              <a:avLst/>
            </a:prstGeom>
          </p:spPr>
        </p:pic>
        <p:pic>
          <p:nvPicPr>
            <p:cNvPr id="133" name="Picture 13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164868" y="5482147"/>
              <a:ext cx="640439" cy="499313"/>
            </a:xfrm>
            <a:prstGeom prst="rect">
              <a:avLst/>
            </a:prstGeom>
          </p:spPr>
        </p:pic>
        <p:pic>
          <p:nvPicPr>
            <p:cNvPr id="134" name="Picture 133"/>
            <p:cNvPicPr>
              <a:picLocks noChangeAspect="1"/>
            </p:cNvPicPr>
            <p:nvPr/>
          </p:nvPicPr>
          <p:blipFill rotWithShape="1">
            <a:blip r:embed="rId17" cstate="print">
              <a:extLst>
                <a:ext uri="{28A0092B-C50C-407E-A947-70E740481C1C}">
                  <a14:useLocalDpi xmlns:a14="http://schemas.microsoft.com/office/drawing/2010/main" val="0"/>
                </a:ext>
              </a:extLst>
            </a:blip>
            <a:srcRect l="697" t="9529" r="4593" b="1800"/>
            <a:stretch/>
          </p:blipFill>
          <p:spPr>
            <a:xfrm>
              <a:off x="1911567" y="4784841"/>
              <a:ext cx="780798" cy="598657"/>
            </a:xfrm>
            <a:prstGeom prst="rect">
              <a:avLst/>
            </a:prstGeom>
          </p:spPr>
        </p:pic>
        <p:grpSp>
          <p:nvGrpSpPr>
            <p:cNvPr id="142" name="Group 141"/>
            <p:cNvGrpSpPr/>
            <p:nvPr/>
          </p:nvGrpSpPr>
          <p:grpSpPr>
            <a:xfrm>
              <a:off x="1428700" y="5526116"/>
              <a:ext cx="738876" cy="418445"/>
              <a:chOff x="1499033" y="5623881"/>
              <a:chExt cx="589798" cy="334018"/>
            </a:xfrm>
          </p:grpSpPr>
          <p:pic>
            <p:nvPicPr>
              <p:cNvPr id="132" name="Picture 131"/>
              <p:cNvPicPr>
                <a:picLocks noChangeAspect="1"/>
              </p:cNvPicPr>
              <p:nvPr/>
            </p:nvPicPr>
            <p:blipFill>
              <a:blip r:embed="rId18">
                <a:clrChange>
                  <a:clrFrom>
                    <a:srgbClr val="FFFFFF"/>
                  </a:clrFrom>
                  <a:clrTo>
                    <a:srgbClr val="FFFFFF">
                      <a:alpha val="0"/>
                    </a:srgbClr>
                  </a:clrTo>
                </a:clrChange>
              </a:blip>
              <a:stretch>
                <a:fillRect/>
              </a:stretch>
            </p:blipFill>
            <p:spPr>
              <a:xfrm>
                <a:off x="1499033" y="5623881"/>
                <a:ext cx="589798" cy="334018"/>
              </a:xfrm>
              <a:prstGeom prst="rect">
                <a:avLst/>
              </a:prstGeom>
            </p:spPr>
          </p:pic>
          <p:pic>
            <p:nvPicPr>
              <p:cNvPr id="135" name="Picture 134"/>
              <p:cNvPicPr>
                <a:picLocks noChangeAspect="1"/>
              </p:cNvPicPr>
              <p:nvPr/>
            </p:nvPicPr>
            <p:blipFill rotWithShape="1">
              <a:blip r:embed="rId18">
                <a:clrChange>
                  <a:clrFrom>
                    <a:srgbClr val="FFFFFF"/>
                  </a:clrFrom>
                  <a:clrTo>
                    <a:srgbClr val="FFFFFF">
                      <a:alpha val="0"/>
                    </a:srgbClr>
                  </a:clrTo>
                </a:clrChange>
              </a:blip>
              <a:srcRect l="5179" r="2998" b="7153"/>
              <a:stretch/>
            </p:blipFill>
            <p:spPr>
              <a:xfrm>
                <a:off x="1529584" y="5623881"/>
                <a:ext cx="541570" cy="310126"/>
              </a:xfrm>
              <a:prstGeom prst="rect">
                <a:avLst/>
              </a:prstGeom>
            </p:spPr>
          </p:pic>
        </p:grpSp>
        <p:cxnSp>
          <p:nvCxnSpPr>
            <p:cNvPr id="143" name="Straight Connector 142"/>
            <p:cNvCxnSpPr/>
            <p:nvPr/>
          </p:nvCxnSpPr>
          <p:spPr>
            <a:xfrm>
              <a:off x="581964" y="4757126"/>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581964" y="4799747"/>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581964" y="4842368"/>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581964" y="4884989"/>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581964" y="4927610"/>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581964" y="4970231"/>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581964" y="5012852"/>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581964" y="5055473"/>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581964" y="5098094"/>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581964" y="5140717"/>
              <a:ext cx="611836"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32890187"/>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 BI Embedded</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Tree>
    <p:extLst>
      <p:ext uri="{BB962C8B-B14F-4D97-AF65-F5344CB8AC3E}">
        <p14:creationId xmlns:p14="http://schemas.microsoft.com/office/powerpoint/2010/main" val="1085596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757606" y="4415742"/>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Authentication</a:t>
            </a:r>
            <a:endParaRPr kumimoji="0" lang="en-US" sz="1961" b="1" i="0" u="none" strike="noStrike" kern="0" cap="none" spc="0" normalizeH="0" baseline="0" noProof="0" dirty="0">
              <a:ln>
                <a:noFill/>
              </a:ln>
              <a:solidFill>
                <a:schemeClr val="accent3"/>
              </a:solidFill>
              <a:effectLst/>
              <a:uLnTx/>
              <a:uFillTx/>
            </a:endParaRPr>
          </a:p>
        </p:txBody>
      </p:sp>
      <p:cxnSp>
        <p:nvCxnSpPr>
          <p:cNvPr id="67" name="Straight Connector 66"/>
          <p:cNvCxnSpPr/>
          <p:nvPr/>
        </p:nvCxnSpPr>
        <p:spPr>
          <a:xfrm>
            <a:off x="420445" y="4918220"/>
            <a:ext cx="11299852"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Bent Arrow 14"/>
          <p:cNvSpPr/>
          <p:nvPr/>
        </p:nvSpPr>
        <p:spPr bwMode="auto">
          <a:xfrm rot="5400000">
            <a:off x="3113479" y="1891341"/>
            <a:ext cx="1417449" cy="1414465"/>
          </a:xfrm>
          <a:prstGeom prst="bentArrow">
            <a:avLst>
              <a:gd name="adj1" fmla="val 18370"/>
              <a:gd name="adj2" fmla="val 20489"/>
              <a:gd name="adj3" fmla="val 25000"/>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Rectangle 54"/>
          <p:cNvSpPr/>
          <p:nvPr/>
        </p:nvSpPr>
        <p:spPr>
          <a:xfrm>
            <a:off x="3446879" y="3078950"/>
            <a:ext cx="2420347" cy="1195565"/>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a:t>
            </a:r>
            <a:r>
              <a:rPr kumimoji="0" lang="en-US" sz="2353" b="1" i="0" u="none" strike="noStrike" kern="0" cap="none" spc="0" normalizeH="0" baseline="0" noProof="0" dirty="0">
                <a:ln>
                  <a:noFill/>
                </a:ln>
                <a:solidFill>
                  <a:schemeClr val="accent3"/>
                </a:solidFill>
                <a:effectLst/>
                <a:uLnTx/>
                <a:uFillTx/>
              </a:rPr>
              <a:t>PowerBI.com</a:t>
            </a:r>
            <a:br>
              <a:rPr kumimoji="0" lang="en-US" sz="2353" b="0" i="0" u="none" strike="noStrike" kern="0" cap="none" spc="0" normalizeH="0" baseline="0" noProof="0" dirty="0">
                <a:ln>
                  <a:noFill/>
                </a:ln>
                <a:solidFill>
                  <a:schemeClr val="accent3"/>
                </a:solidFill>
                <a:effectLst/>
                <a:uLnTx/>
                <a:uFillTx/>
                <a:latin typeface="+mj-lt"/>
              </a:rPr>
            </a:br>
            <a:r>
              <a:rPr kumimoji="0" lang="en-US" sz="2353" b="0" i="0" u="none" strike="noStrike" kern="0" cap="none" spc="0" normalizeH="0" baseline="0" noProof="0" dirty="0">
                <a:ln>
                  <a:noFill/>
                </a:ln>
                <a:solidFill>
                  <a:schemeClr val="accent3"/>
                </a:solidFill>
                <a:effectLst/>
                <a:uLnTx/>
                <a:uFillTx/>
                <a:latin typeface="+mj-lt"/>
              </a:rPr>
              <a:t>REST APIs</a:t>
            </a:r>
          </a:p>
        </p:txBody>
      </p:sp>
      <p:sp>
        <p:nvSpPr>
          <p:cNvPr id="11" name="Rectangle 10"/>
          <p:cNvSpPr/>
          <p:nvPr/>
        </p:nvSpPr>
        <p:spPr>
          <a:xfrm>
            <a:off x="757606" y="5202555"/>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User licensing</a:t>
            </a:r>
          </a:p>
        </p:txBody>
      </p:sp>
      <p:sp>
        <p:nvSpPr>
          <p:cNvPr id="12" name="Rectangle 11"/>
          <p:cNvSpPr/>
          <p:nvPr/>
        </p:nvSpPr>
        <p:spPr>
          <a:xfrm>
            <a:off x="757606" y="5989369"/>
            <a:ext cx="2080275"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chemeClr val="accent3"/>
                </a:solidFill>
                <a:effectLst/>
                <a:uLnTx/>
                <a:uFillTx/>
              </a:rPr>
              <a:t>Report authoring</a:t>
            </a:r>
          </a:p>
        </p:txBody>
      </p:sp>
      <p:sp>
        <p:nvSpPr>
          <p:cNvPr id="31" name="Rectangle 30"/>
          <p:cNvSpPr/>
          <p:nvPr/>
        </p:nvSpPr>
        <p:spPr>
          <a:xfrm>
            <a:off x="3446879" y="4415742"/>
            <a:ext cx="2420347"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Via PowerBI.com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Azure Active Directory</a:t>
            </a:r>
          </a:p>
        </p:txBody>
      </p:sp>
      <p:sp>
        <p:nvSpPr>
          <p:cNvPr id="32" name="Rectangle 31"/>
          <p:cNvSpPr/>
          <p:nvPr/>
        </p:nvSpPr>
        <p:spPr>
          <a:xfrm>
            <a:off x="6423595" y="4415742"/>
            <a:ext cx="2412821"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Via application, using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Power BI app tokens </a:t>
            </a:r>
          </a:p>
        </p:txBody>
      </p:sp>
      <p:sp>
        <p:nvSpPr>
          <p:cNvPr id="33" name="Rectangle 32"/>
          <p:cNvSpPr/>
          <p:nvPr/>
        </p:nvSpPr>
        <p:spPr>
          <a:xfrm>
            <a:off x="9299952" y="4415742"/>
            <a:ext cx="2420346" cy="502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N/A</a:t>
            </a:r>
          </a:p>
        </p:txBody>
      </p:sp>
      <p:sp>
        <p:nvSpPr>
          <p:cNvPr id="34" name="Rectangle 33"/>
          <p:cNvSpPr/>
          <p:nvPr/>
        </p:nvSpPr>
        <p:spPr>
          <a:xfrm>
            <a:off x="3446879" y="5202555"/>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Users PowerBI.com subscription</a:t>
            </a:r>
          </a:p>
        </p:txBody>
      </p:sp>
      <p:sp>
        <p:nvSpPr>
          <p:cNvPr id="35" name="Rectangle 34"/>
          <p:cNvSpPr/>
          <p:nvPr/>
        </p:nvSpPr>
        <p:spPr>
          <a:xfrm>
            <a:off x="6425939" y="5198422"/>
            <a:ext cx="2600562"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Consumption based, via Azure No end-user license required</a:t>
            </a:r>
          </a:p>
        </p:txBody>
      </p:sp>
      <p:sp>
        <p:nvSpPr>
          <p:cNvPr id="36" name="Rectangle 35"/>
          <p:cNvSpPr/>
          <p:nvPr/>
        </p:nvSpPr>
        <p:spPr>
          <a:xfrm>
            <a:off x="9299951" y="5202555"/>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No end-user license required</a:t>
            </a:r>
          </a:p>
        </p:txBody>
      </p:sp>
      <p:sp>
        <p:nvSpPr>
          <p:cNvPr id="37" name="Rectangle 36"/>
          <p:cNvSpPr/>
          <p:nvPr/>
        </p:nvSpPr>
        <p:spPr>
          <a:xfrm>
            <a:off x="3446879" y="5989368"/>
            <a:ext cx="2420348"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 BI Desktop and </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Power BI.com subscription</a:t>
            </a:r>
          </a:p>
        </p:txBody>
      </p:sp>
      <p:sp>
        <p:nvSpPr>
          <p:cNvPr id="38" name="Rectangle 37"/>
          <p:cNvSpPr/>
          <p:nvPr/>
        </p:nvSpPr>
        <p:spPr>
          <a:xfrm>
            <a:off x="6416069" y="5989368"/>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 BI Desktop</a:t>
            </a:r>
            <a:br>
              <a:rPr kumimoji="0" lang="en-US" sz="1372" b="0" i="0" u="none" strike="noStrike" kern="0" cap="none" spc="0" normalizeH="0" baseline="0" noProof="0" dirty="0">
                <a:ln>
                  <a:noFill/>
                </a:ln>
                <a:solidFill>
                  <a:schemeClr val="accent3"/>
                </a:solidFill>
                <a:effectLst/>
                <a:uLnTx/>
                <a:uFillTx/>
              </a:rPr>
            </a:br>
            <a:r>
              <a:rPr kumimoji="0" lang="en-US" sz="1372" b="0" i="0" u="none" strike="noStrike" kern="0" cap="none" spc="0" normalizeH="0" baseline="0" noProof="0" dirty="0">
                <a:ln>
                  <a:noFill/>
                </a:ln>
                <a:solidFill>
                  <a:schemeClr val="accent3"/>
                </a:solidFill>
                <a:effectLst/>
                <a:uLnTx/>
                <a:uFillTx/>
              </a:rPr>
              <a:t>Azure subscription </a:t>
            </a:r>
          </a:p>
        </p:txBody>
      </p:sp>
      <p:sp>
        <p:nvSpPr>
          <p:cNvPr id="39" name="Rectangle 38"/>
          <p:cNvSpPr/>
          <p:nvPr/>
        </p:nvSpPr>
        <p:spPr>
          <a:xfrm>
            <a:off x="9299950" y="5984713"/>
            <a:ext cx="2420347" cy="50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solidFill>
                  <a:schemeClr val="accent3"/>
                </a:solidFill>
                <a:effectLst/>
                <a:uLnTx/>
                <a:uFillTx/>
              </a:rPr>
              <a:t>PowerBI.com subscription and/or Power BI Desktop</a:t>
            </a:r>
          </a:p>
        </p:txBody>
      </p:sp>
      <p:sp>
        <p:nvSpPr>
          <p:cNvPr id="2" name="Title 1"/>
          <p:cNvSpPr>
            <a:spLocks noGrp="1"/>
          </p:cNvSpPr>
          <p:nvPr>
            <p:ph type="title"/>
          </p:nvPr>
        </p:nvSpPr>
        <p:spPr>
          <a:xfrm>
            <a:off x="235942" y="240156"/>
            <a:ext cx="11716389" cy="899537"/>
          </a:xfrm>
        </p:spPr>
        <p:txBody>
          <a:bodyPr/>
          <a:lstStyle/>
          <a:p>
            <a:r>
              <a:rPr lang="en-US" dirty="0">
                <a:solidFill>
                  <a:schemeClr val="accent3"/>
                </a:solidFill>
              </a:rPr>
              <a:t>Choose the right Power BI service</a:t>
            </a:r>
          </a:p>
        </p:txBody>
      </p:sp>
      <p:sp>
        <p:nvSpPr>
          <p:cNvPr id="13" name="Right Arrow 12"/>
          <p:cNvSpPr/>
          <p:nvPr/>
        </p:nvSpPr>
        <p:spPr bwMode="auto">
          <a:xfrm>
            <a:off x="3320046" y="1474981"/>
            <a:ext cx="1564361" cy="540270"/>
          </a:xfrm>
          <a:prstGeom prst="rightArrow">
            <a:avLst>
              <a:gd name="adj1" fmla="val 50000"/>
              <a:gd name="adj2" fmla="val 54079"/>
            </a:avLst>
          </a:prstGeom>
          <a:solidFill>
            <a:srgbClr val="FFC00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sp>
        <p:nvSpPr>
          <p:cNvPr id="40" name="Pentagon 39"/>
          <p:cNvSpPr/>
          <p:nvPr/>
        </p:nvSpPr>
        <p:spPr bwMode="auto">
          <a:xfrm>
            <a:off x="148608" y="1421620"/>
            <a:ext cx="3402898" cy="912860"/>
          </a:xfrm>
          <a:prstGeom prst="homePlate">
            <a:avLst>
              <a:gd name="adj" fmla="val 31212"/>
            </a:avLst>
          </a:prstGeom>
          <a:solidFill>
            <a:srgbClr val="141719"/>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rPr>
              <a:t>Is the app exclusively used by internal employees? </a:t>
            </a:r>
          </a:p>
        </p:txBody>
      </p:sp>
      <p:sp>
        <p:nvSpPr>
          <p:cNvPr id="47" name="Bent Arrow 46"/>
          <p:cNvSpPr/>
          <p:nvPr/>
        </p:nvSpPr>
        <p:spPr bwMode="auto">
          <a:xfrm rot="5400000">
            <a:off x="6753362" y="1832957"/>
            <a:ext cx="1437370" cy="1551154"/>
          </a:xfrm>
          <a:prstGeom prst="bentArrow">
            <a:avLst>
              <a:gd name="adj1" fmla="val 18370"/>
              <a:gd name="adj2" fmla="val 21281"/>
              <a:gd name="adj3" fmla="val 25000"/>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Bent Arrow 47"/>
          <p:cNvSpPr/>
          <p:nvPr/>
        </p:nvSpPr>
        <p:spPr bwMode="auto">
          <a:xfrm rot="5400000">
            <a:off x="7784986" y="245546"/>
            <a:ext cx="1702798" cy="4440630"/>
          </a:xfrm>
          <a:prstGeom prst="bentArrow">
            <a:avLst>
              <a:gd name="adj1" fmla="val 15445"/>
              <a:gd name="adj2" fmla="val 16468"/>
              <a:gd name="adj3" fmla="val 21345"/>
              <a:gd name="adj4" fmla="val 3160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Pentagon 42"/>
          <p:cNvSpPr/>
          <p:nvPr/>
        </p:nvSpPr>
        <p:spPr bwMode="auto">
          <a:xfrm>
            <a:off x="4683615" y="1421620"/>
            <a:ext cx="2481118" cy="912860"/>
          </a:xfrm>
          <a:prstGeom prst="homePlate">
            <a:avLst>
              <a:gd name="adj" fmla="val 31212"/>
            </a:avLst>
          </a:prstGeom>
          <a:solidFill>
            <a:srgbClr val="141719"/>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0" bIns="0"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chemeClr val="bg1"/>
                </a:solidFill>
                <a:effectLst/>
                <a:uLnTx/>
                <a:uFillTx/>
                <a:latin typeface="Segoe UI" panose="020B0502040204020203" pitchFamily="34" charset="0"/>
                <a:ea typeface="Segoe UI Black" panose="020B0A02040204020203" pitchFamily="34" charset="0"/>
                <a:cs typeface="Segoe UI" panose="020B0502040204020203" pitchFamily="34" charset="0"/>
              </a:rPr>
              <a:t>Do users need to be authenticated?</a:t>
            </a:r>
          </a:p>
        </p:txBody>
      </p:sp>
      <p:sp>
        <p:nvSpPr>
          <p:cNvPr id="49" name="Rectangle 48"/>
          <p:cNvSpPr/>
          <p:nvPr/>
        </p:nvSpPr>
        <p:spPr>
          <a:xfrm>
            <a:off x="3539018" y="1840911"/>
            <a:ext cx="522049" cy="331899"/>
          </a:xfrm>
          <a:prstGeom prst="rect">
            <a:avLst/>
          </a:prstGeom>
        </p:spPr>
        <p:txBody>
          <a:bodyPr wrap="non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s</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0" name="Rectangle 49"/>
          <p:cNvSpPr/>
          <p:nvPr/>
        </p:nvSpPr>
        <p:spPr>
          <a:xfrm>
            <a:off x="7164734" y="1840911"/>
            <a:ext cx="522049"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Yes</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1" name="Rectangle 50"/>
          <p:cNvSpPr/>
          <p:nvPr/>
        </p:nvSpPr>
        <p:spPr>
          <a:xfrm>
            <a:off x="3539018" y="1558822"/>
            <a:ext cx="496905"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o</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2" name="Rectangle 51"/>
          <p:cNvSpPr/>
          <p:nvPr/>
        </p:nvSpPr>
        <p:spPr>
          <a:xfrm>
            <a:off x="7164734" y="1558822"/>
            <a:ext cx="496905" cy="331899"/>
          </a:xfrm>
          <a:prstGeom prst="rect">
            <a:avLst/>
          </a:prstGeom>
        </p:spPr>
        <p:txBody>
          <a:bodyPr wrap="square">
            <a:sp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No</a:t>
            </a:r>
            <a:endParaRPr kumimoji="0" lang="en-US" sz="2353"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cxnSp>
        <p:nvCxnSpPr>
          <p:cNvPr id="44" name="Straight Connector 43"/>
          <p:cNvCxnSpPr/>
          <p:nvPr/>
        </p:nvCxnSpPr>
        <p:spPr>
          <a:xfrm flipV="1">
            <a:off x="148608" y="1427844"/>
            <a:ext cx="0" cy="5435895"/>
          </a:xfrm>
          <a:prstGeom prst="line">
            <a:avLst/>
          </a:prstGeom>
          <a:ln w="381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9299950" y="3078950"/>
            <a:ext cx="2420347" cy="1195564"/>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Power BI </a:t>
            </a:r>
            <a:br>
              <a:rPr kumimoji="0" lang="en-US" sz="2353" b="0" i="0" u="none" strike="noStrike" kern="0" cap="none" spc="0" normalizeH="0" baseline="0" noProof="0" dirty="0">
                <a:ln>
                  <a:noFill/>
                </a:ln>
                <a:solidFill>
                  <a:schemeClr val="accent3"/>
                </a:solidFill>
                <a:effectLst/>
                <a:uLnTx/>
                <a:uFillTx/>
                <a:latin typeface="+mj-lt"/>
              </a:rPr>
            </a:br>
            <a:r>
              <a:rPr kumimoji="0" lang="en-US" sz="2353" b="1" i="0" u="none" strike="noStrike" kern="0" cap="none" spc="0" normalizeH="0" baseline="0" noProof="0" dirty="0">
                <a:ln>
                  <a:noFill/>
                </a:ln>
                <a:solidFill>
                  <a:schemeClr val="accent3"/>
                </a:solidFill>
                <a:effectLst/>
                <a:uLnTx/>
                <a:uFillTx/>
              </a:rPr>
              <a:t>p</a:t>
            </a:r>
            <a:r>
              <a:rPr kumimoji="0" lang="en-US" sz="2353" b="1" i="0" u="none" strike="noStrike" kern="0" cap="none" spc="0" normalizeH="0" baseline="0" noProof="0" dirty="0" err="1">
                <a:ln>
                  <a:noFill/>
                </a:ln>
                <a:solidFill>
                  <a:schemeClr val="accent3"/>
                </a:solidFill>
                <a:effectLst/>
                <a:uLnTx/>
                <a:uFillTx/>
              </a:rPr>
              <a:t>ublish</a:t>
            </a:r>
            <a:r>
              <a:rPr kumimoji="0" lang="en-US" sz="2353" b="1" i="0" u="none" strike="noStrike" kern="0" cap="none" spc="0" normalizeH="0" baseline="0" noProof="0" dirty="0">
                <a:ln>
                  <a:noFill/>
                </a:ln>
                <a:solidFill>
                  <a:schemeClr val="accent3"/>
                </a:solidFill>
                <a:effectLst/>
                <a:uLnTx/>
                <a:uFillTx/>
              </a:rPr>
              <a:t> to web</a:t>
            </a:r>
          </a:p>
        </p:txBody>
      </p:sp>
      <p:sp>
        <p:nvSpPr>
          <p:cNvPr id="54" name="Rectangle 53"/>
          <p:cNvSpPr/>
          <p:nvPr/>
        </p:nvSpPr>
        <p:spPr>
          <a:xfrm>
            <a:off x="6416069" y="3078950"/>
            <a:ext cx="2420347" cy="1195564"/>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accent3"/>
                </a:solidFill>
                <a:effectLst/>
                <a:uLnTx/>
                <a:uFillTx/>
                <a:latin typeface="+mj-lt"/>
              </a:rPr>
              <a:t>Use Power BI </a:t>
            </a:r>
            <a:br>
              <a:rPr kumimoji="0" lang="en-US" sz="2353" b="0" i="0" u="none" strike="noStrike" kern="0" cap="none" spc="0" normalizeH="0" baseline="0" noProof="0" dirty="0">
                <a:ln>
                  <a:noFill/>
                </a:ln>
                <a:solidFill>
                  <a:schemeClr val="accent3"/>
                </a:solidFill>
                <a:effectLst/>
                <a:uLnTx/>
                <a:uFillTx/>
                <a:latin typeface="+mj-lt"/>
              </a:rPr>
            </a:br>
            <a:r>
              <a:rPr kumimoji="0" lang="en-US" sz="2353" b="1" i="0" u="none" strike="noStrike" kern="0" cap="none" spc="0" normalizeH="0" baseline="0" noProof="0" dirty="0">
                <a:ln>
                  <a:noFill/>
                </a:ln>
                <a:solidFill>
                  <a:schemeClr val="accent3"/>
                </a:solidFill>
                <a:effectLst/>
                <a:uLnTx/>
                <a:uFillTx/>
              </a:rPr>
              <a:t>Embedded</a:t>
            </a:r>
          </a:p>
        </p:txBody>
      </p:sp>
      <p:sp>
        <p:nvSpPr>
          <p:cNvPr id="59" name="Freeform 58"/>
          <p:cNvSpPr/>
          <p:nvPr/>
        </p:nvSpPr>
        <p:spPr>
          <a:xfrm rot="17842017">
            <a:off x="291040" y="4647678"/>
            <a:ext cx="496671" cy="234380"/>
          </a:xfrm>
          <a:custGeom>
            <a:avLst/>
            <a:gdLst>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884586 w 1940082"/>
              <a:gd name="connsiteY9" fmla="*/ 713911 h 915534"/>
              <a:gd name="connsiteX10" fmla="*/ 1915417 w 1940082"/>
              <a:gd name="connsiteY10" fmla="*/ 784135 h 915534"/>
              <a:gd name="connsiteX11" fmla="*/ 1940082 w 1940082"/>
              <a:gd name="connsiteY11" fmla="*/ 840314 h 915534"/>
              <a:gd name="connsiteX12" fmla="*/ 1819720 w 1940082"/>
              <a:gd name="connsiteY12" fmla="*/ 909784 h 915534"/>
              <a:gd name="connsiteX13" fmla="*/ 1717905 w 1940082"/>
              <a:gd name="connsiteY13" fmla="*/ 884051 h 915534"/>
              <a:gd name="connsiteX14" fmla="*/ 1661325 w 1940082"/>
              <a:gd name="connsiteY14" fmla="*/ 915534 h 915534"/>
              <a:gd name="connsiteX15" fmla="*/ 1586937 w 1940082"/>
              <a:gd name="connsiteY15" fmla="*/ 891184 h 915534"/>
              <a:gd name="connsiteX16" fmla="*/ 1523548 w 1940082"/>
              <a:gd name="connsiteY16" fmla="*/ 784984 h 915534"/>
              <a:gd name="connsiteX17" fmla="*/ 1455671 w 1940082"/>
              <a:gd name="connsiteY17" fmla="*/ 767829 h 915534"/>
              <a:gd name="connsiteX18" fmla="*/ 1399436 w 1940082"/>
              <a:gd name="connsiteY18" fmla="*/ 792462 h 915534"/>
              <a:gd name="connsiteX19" fmla="*/ 1338416 w 1940082"/>
              <a:gd name="connsiteY19" fmla="*/ 775653 h 915534"/>
              <a:gd name="connsiteX20" fmla="*/ 1274634 w 1940082"/>
              <a:gd name="connsiteY20" fmla="*/ 813640 h 915534"/>
              <a:gd name="connsiteX21" fmla="*/ 1193389 w 1940082"/>
              <a:gd name="connsiteY21" fmla="*/ 788944 h 915534"/>
              <a:gd name="connsiteX22" fmla="*/ 1136857 w 1940082"/>
              <a:gd name="connsiteY22" fmla="*/ 683090 h 915534"/>
              <a:gd name="connsiteX23" fmla="*/ 1041899 w 1940082"/>
              <a:gd name="connsiteY23" fmla="*/ 657703 h 915534"/>
              <a:gd name="connsiteX24" fmla="*/ 935596 w 1940082"/>
              <a:gd name="connsiteY24" fmla="*/ 721014 h 915534"/>
              <a:gd name="connsiteX25" fmla="*/ 779617 w 1940082"/>
              <a:gd name="connsiteY25" fmla="*/ 678818 h 915534"/>
              <a:gd name="connsiteX26" fmla="*/ 765903 w 1940082"/>
              <a:gd name="connsiteY26" fmla="*/ 678127 h 915534"/>
              <a:gd name="connsiteX27" fmla="*/ 311240 w 1940082"/>
              <a:gd name="connsiteY27" fmla="*/ 833751 h 915534"/>
              <a:gd name="connsiteX28" fmla="*/ 14176 w 1940082"/>
              <a:gd name="connsiteY28" fmla="*/ 317490 h 915534"/>
              <a:gd name="connsiteX29" fmla="*/ 451842 w 1940082"/>
              <a:gd name="connsiteY29"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15417 w 1940082"/>
              <a:gd name="connsiteY9" fmla="*/ 784135 h 915534"/>
              <a:gd name="connsiteX10" fmla="*/ 1940082 w 1940082"/>
              <a:gd name="connsiteY10" fmla="*/ 840314 h 915534"/>
              <a:gd name="connsiteX11" fmla="*/ 1819720 w 1940082"/>
              <a:gd name="connsiteY11" fmla="*/ 909784 h 915534"/>
              <a:gd name="connsiteX12" fmla="*/ 1717905 w 1940082"/>
              <a:gd name="connsiteY12" fmla="*/ 884051 h 915534"/>
              <a:gd name="connsiteX13" fmla="*/ 1661325 w 1940082"/>
              <a:gd name="connsiteY13" fmla="*/ 915534 h 915534"/>
              <a:gd name="connsiteX14" fmla="*/ 1586937 w 1940082"/>
              <a:gd name="connsiteY14" fmla="*/ 891184 h 915534"/>
              <a:gd name="connsiteX15" fmla="*/ 1523548 w 1940082"/>
              <a:gd name="connsiteY15" fmla="*/ 784984 h 915534"/>
              <a:gd name="connsiteX16" fmla="*/ 1455671 w 1940082"/>
              <a:gd name="connsiteY16" fmla="*/ 767829 h 915534"/>
              <a:gd name="connsiteX17" fmla="*/ 1399436 w 1940082"/>
              <a:gd name="connsiteY17" fmla="*/ 792462 h 915534"/>
              <a:gd name="connsiteX18" fmla="*/ 1338416 w 1940082"/>
              <a:gd name="connsiteY18" fmla="*/ 775653 h 915534"/>
              <a:gd name="connsiteX19" fmla="*/ 1274634 w 1940082"/>
              <a:gd name="connsiteY19" fmla="*/ 813640 h 915534"/>
              <a:gd name="connsiteX20" fmla="*/ 1193389 w 1940082"/>
              <a:gd name="connsiteY20" fmla="*/ 788944 h 915534"/>
              <a:gd name="connsiteX21" fmla="*/ 1136857 w 1940082"/>
              <a:gd name="connsiteY21" fmla="*/ 683090 h 915534"/>
              <a:gd name="connsiteX22" fmla="*/ 1041899 w 1940082"/>
              <a:gd name="connsiteY22" fmla="*/ 657703 h 915534"/>
              <a:gd name="connsiteX23" fmla="*/ 935596 w 1940082"/>
              <a:gd name="connsiteY23" fmla="*/ 721014 h 915534"/>
              <a:gd name="connsiteX24" fmla="*/ 779617 w 1940082"/>
              <a:gd name="connsiteY24" fmla="*/ 678818 h 915534"/>
              <a:gd name="connsiteX25" fmla="*/ 765903 w 1940082"/>
              <a:gd name="connsiteY25" fmla="*/ 678127 h 915534"/>
              <a:gd name="connsiteX26" fmla="*/ 311240 w 1940082"/>
              <a:gd name="connsiteY26" fmla="*/ 833751 h 915534"/>
              <a:gd name="connsiteX27" fmla="*/ 14176 w 1940082"/>
              <a:gd name="connsiteY27" fmla="*/ 317490 h 915534"/>
              <a:gd name="connsiteX28" fmla="*/ 451842 w 1940082"/>
              <a:gd name="connsiteY28"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79617 w 1940082"/>
              <a:gd name="connsiteY23" fmla="*/ 678818 h 915534"/>
              <a:gd name="connsiteX24" fmla="*/ 765903 w 1940082"/>
              <a:gd name="connsiteY24" fmla="*/ 678127 h 915534"/>
              <a:gd name="connsiteX25" fmla="*/ 311240 w 1940082"/>
              <a:gd name="connsiteY25" fmla="*/ 833751 h 915534"/>
              <a:gd name="connsiteX26" fmla="*/ 14176 w 1940082"/>
              <a:gd name="connsiteY26" fmla="*/ 317490 h 915534"/>
              <a:gd name="connsiteX27" fmla="*/ 451842 w 1940082"/>
              <a:gd name="connsiteY27" fmla="*/ 721 h 915534"/>
              <a:gd name="connsiteX0" fmla="*/ 266606 w 1940082"/>
              <a:gd name="connsiteY0" fmla="*/ 257749 h 915534"/>
              <a:gd name="connsiteX1" fmla="*/ 138966 w 1940082"/>
              <a:gd name="connsiteY1" fmla="*/ 385389 h 915534"/>
              <a:gd name="connsiteX2" fmla="*/ 266606 w 1940082"/>
              <a:gd name="connsiteY2" fmla="*/ 513029 h 915534"/>
              <a:gd name="connsiteX3" fmla="*/ 394246 w 1940082"/>
              <a:gd name="connsiteY3" fmla="*/ 385389 h 915534"/>
              <a:gd name="connsiteX4" fmla="*/ 266606 w 1940082"/>
              <a:gd name="connsiteY4" fmla="*/ 257749 h 915534"/>
              <a:gd name="connsiteX5" fmla="*/ 451842 w 1940082"/>
              <a:gd name="connsiteY5" fmla="*/ 721 h 915534"/>
              <a:gd name="connsiteX6" fmla="*/ 538146 w 1940082"/>
              <a:gd name="connsiteY6" fmla="*/ 14286 h 915534"/>
              <a:gd name="connsiteX7" fmla="*/ 849661 w 1940082"/>
              <a:gd name="connsiteY7" fmla="*/ 380202 h 915534"/>
              <a:gd name="connsiteX8" fmla="*/ 1860266 w 1940082"/>
              <a:gd name="connsiteY8" fmla="*/ 650883 h 915534"/>
              <a:gd name="connsiteX9" fmla="*/ 1940082 w 1940082"/>
              <a:gd name="connsiteY9" fmla="*/ 840314 h 915534"/>
              <a:gd name="connsiteX10" fmla="*/ 1819720 w 1940082"/>
              <a:gd name="connsiteY10" fmla="*/ 909784 h 915534"/>
              <a:gd name="connsiteX11" fmla="*/ 1717905 w 1940082"/>
              <a:gd name="connsiteY11" fmla="*/ 884051 h 915534"/>
              <a:gd name="connsiteX12" fmla="*/ 1661325 w 1940082"/>
              <a:gd name="connsiteY12" fmla="*/ 915534 h 915534"/>
              <a:gd name="connsiteX13" fmla="*/ 1586937 w 1940082"/>
              <a:gd name="connsiteY13" fmla="*/ 891184 h 915534"/>
              <a:gd name="connsiteX14" fmla="*/ 1523548 w 1940082"/>
              <a:gd name="connsiteY14" fmla="*/ 784984 h 915534"/>
              <a:gd name="connsiteX15" fmla="*/ 1455671 w 1940082"/>
              <a:gd name="connsiteY15" fmla="*/ 767829 h 915534"/>
              <a:gd name="connsiteX16" fmla="*/ 1399436 w 1940082"/>
              <a:gd name="connsiteY16" fmla="*/ 792462 h 915534"/>
              <a:gd name="connsiteX17" fmla="*/ 1338416 w 1940082"/>
              <a:gd name="connsiteY17" fmla="*/ 775653 h 915534"/>
              <a:gd name="connsiteX18" fmla="*/ 1274634 w 1940082"/>
              <a:gd name="connsiteY18" fmla="*/ 813640 h 915534"/>
              <a:gd name="connsiteX19" fmla="*/ 1193389 w 1940082"/>
              <a:gd name="connsiteY19" fmla="*/ 788944 h 915534"/>
              <a:gd name="connsiteX20" fmla="*/ 1136857 w 1940082"/>
              <a:gd name="connsiteY20" fmla="*/ 683090 h 915534"/>
              <a:gd name="connsiteX21" fmla="*/ 1041899 w 1940082"/>
              <a:gd name="connsiteY21" fmla="*/ 657703 h 915534"/>
              <a:gd name="connsiteX22" fmla="*/ 935596 w 1940082"/>
              <a:gd name="connsiteY22" fmla="*/ 721014 h 915534"/>
              <a:gd name="connsiteX23" fmla="*/ 765903 w 1940082"/>
              <a:gd name="connsiteY23" fmla="*/ 678127 h 915534"/>
              <a:gd name="connsiteX24" fmla="*/ 311240 w 1940082"/>
              <a:gd name="connsiteY24" fmla="*/ 833751 h 915534"/>
              <a:gd name="connsiteX25" fmla="*/ 14176 w 1940082"/>
              <a:gd name="connsiteY25" fmla="*/ 317490 h 915534"/>
              <a:gd name="connsiteX26" fmla="*/ 451842 w 1940082"/>
              <a:gd name="connsiteY26" fmla="*/ 721 h 9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40082" h="915534">
                <a:moveTo>
                  <a:pt x="266606" y="257749"/>
                </a:moveTo>
                <a:cubicBezTo>
                  <a:pt x="196112" y="257749"/>
                  <a:pt x="138966" y="314895"/>
                  <a:pt x="138966" y="385389"/>
                </a:cubicBezTo>
                <a:cubicBezTo>
                  <a:pt x="138966" y="455883"/>
                  <a:pt x="196112" y="513029"/>
                  <a:pt x="266606" y="513029"/>
                </a:cubicBezTo>
                <a:cubicBezTo>
                  <a:pt x="337100" y="513029"/>
                  <a:pt x="394246" y="455883"/>
                  <a:pt x="394246" y="385389"/>
                </a:cubicBezTo>
                <a:cubicBezTo>
                  <a:pt x="394246" y="314895"/>
                  <a:pt x="337100" y="257749"/>
                  <a:pt x="266606" y="257749"/>
                </a:cubicBezTo>
                <a:close/>
                <a:moveTo>
                  <a:pt x="451842" y="721"/>
                </a:moveTo>
                <a:cubicBezTo>
                  <a:pt x="480424" y="2363"/>
                  <a:pt x="509307" y="6823"/>
                  <a:pt x="538146" y="14286"/>
                </a:cubicBezTo>
                <a:cubicBezTo>
                  <a:pt x="707838" y="57173"/>
                  <a:pt x="830866" y="207581"/>
                  <a:pt x="849661" y="380202"/>
                </a:cubicBezTo>
                <a:lnTo>
                  <a:pt x="1860266" y="650883"/>
                </a:lnTo>
                <a:lnTo>
                  <a:pt x="1940082" y="840314"/>
                </a:lnTo>
                <a:lnTo>
                  <a:pt x="1819720" y="909784"/>
                </a:lnTo>
                <a:lnTo>
                  <a:pt x="1717905" y="884051"/>
                </a:lnTo>
                <a:lnTo>
                  <a:pt x="1661325" y="915534"/>
                </a:lnTo>
                <a:lnTo>
                  <a:pt x="1586937" y="891184"/>
                </a:lnTo>
                <a:lnTo>
                  <a:pt x="1523548" y="784984"/>
                </a:lnTo>
                <a:lnTo>
                  <a:pt x="1455671" y="767829"/>
                </a:lnTo>
                <a:lnTo>
                  <a:pt x="1399436" y="792462"/>
                </a:lnTo>
                <a:lnTo>
                  <a:pt x="1338416" y="775653"/>
                </a:lnTo>
                <a:lnTo>
                  <a:pt x="1274634" y="813640"/>
                </a:lnTo>
                <a:lnTo>
                  <a:pt x="1193389" y="788944"/>
                </a:lnTo>
                <a:lnTo>
                  <a:pt x="1136857" y="683090"/>
                </a:lnTo>
                <a:lnTo>
                  <a:pt x="1041899" y="657703"/>
                </a:lnTo>
                <a:lnTo>
                  <a:pt x="935596" y="721014"/>
                </a:lnTo>
                <a:lnTo>
                  <a:pt x="765903" y="678127"/>
                </a:lnTo>
                <a:cubicBezTo>
                  <a:pt x="669516" y="817474"/>
                  <a:pt x="487443" y="883834"/>
                  <a:pt x="311240" y="833751"/>
                </a:cubicBezTo>
                <a:cubicBezTo>
                  <a:pt x="87384" y="774399"/>
                  <a:pt x="-45214" y="541106"/>
                  <a:pt x="14176" y="317490"/>
                </a:cubicBezTo>
                <a:cubicBezTo>
                  <a:pt x="66444" y="115832"/>
                  <a:pt x="251769" y="-10771"/>
                  <a:pt x="451842" y="72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62" name="Group 61"/>
          <p:cNvGrpSpPr/>
          <p:nvPr/>
        </p:nvGrpSpPr>
        <p:grpSpPr>
          <a:xfrm rot="7637522">
            <a:off x="241746" y="6206454"/>
            <a:ext cx="602636" cy="80395"/>
            <a:chOff x="4528877" y="4490903"/>
            <a:chExt cx="1190216" cy="158782"/>
          </a:xfrm>
          <a:solidFill>
            <a:schemeClr val="accent3"/>
          </a:solidFill>
        </p:grpSpPr>
        <p:sp>
          <p:nvSpPr>
            <p:cNvPr id="63" name="Freeform 62"/>
            <p:cNvSpPr>
              <a:spLocks/>
            </p:cNvSpPr>
            <p:nvPr/>
          </p:nvSpPr>
          <p:spPr bwMode="auto">
            <a:xfrm rot="5400000">
              <a:off x="5548278" y="4478870"/>
              <a:ext cx="158750" cy="182880"/>
            </a:xfrm>
            <a:custGeom>
              <a:avLst/>
              <a:gdLst>
                <a:gd name="T0" fmla="*/ 49 w 100"/>
                <a:gd name="T1" fmla="*/ 0 h 150"/>
                <a:gd name="T2" fmla="*/ 0 w 100"/>
                <a:gd name="T3" fmla="*/ 150 h 150"/>
                <a:gd name="T4" fmla="*/ 100 w 100"/>
                <a:gd name="T5" fmla="*/ 150 h 150"/>
                <a:gd name="T6" fmla="*/ 49 w 100"/>
                <a:gd name="T7" fmla="*/ 0 h 150"/>
              </a:gdLst>
              <a:ahLst/>
              <a:cxnLst>
                <a:cxn ang="0">
                  <a:pos x="T0" y="T1"/>
                </a:cxn>
                <a:cxn ang="0">
                  <a:pos x="T2" y="T3"/>
                </a:cxn>
                <a:cxn ang="0">
                  <a:pos x="T4" y="T5"/>
                </a:cxn>
                <a:cxn ang="0">
                  <a:pos x="T6" y="T7"/>
                </a:cxn>
              </a:cxnLst>
              <a:rect l="0" t="0" r="r" b="b"/>
              <a:pathLst>
                <a:path w="100" h="150">
                  <a:moveTo>
                    <a:pt x="49" y="0"/>
                  </a:moveTo>
                  <a:lnTo>
                    <a:pt x="0" y="150"/>
                  </a:lnTo>
                  <a:lnTo>
                    <a:pt x="100" y="150"/>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64" name="Freeform 10"/>
            <p:cNvSpPr>
              <a:spLocks/>
            </p:cNvSpPr>
            <p:nvPr/>
          </p:nvSpPr>
          <p:spPr bwMode="auto">
            <a:xfrm rot="5400000">
              <a:off x="4505859" y="4513921"/>
              <a:ext cx="158750" cy="112713"/>
            </a:xfrm>
            <a:custGeom>
              <a:avLst/>
              <a:gdLst>
                <a:gd name="T0" fmla="*/ 43 w 43"/>
                <a:gd name="T1" fmla="*/ 0 h 32"/>
                <a:gd name="T2" fmla="*/ 43 w 43"/>
                <a:gd name="T3" fmla="*/ 26 h 32"/>
                <a:gd name="T4" fmla="*/ 37 w 43"/>
                <a:gd name="T5" fmla="*/ 32 h 32"/>
                <a:gd name="T6" fmla="*/ 6 w 43"/>
                <a:gd name="T7" fmla="*/ 32 h 32"/>
                <a:gd name="T8" fmla="*/ 0 w 43"/>
                <a:gd name="T9" fmla="*/ 26 h 32"/>
                <a:gd name="T10" fmla="*/ 0 w 43"/>
                <a:gd name="T11" fmla="*/ 0 h 32"/>
                <a:gd name="T12" fmla="*/ 43 w 43"/>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43" h="32">
                  <a:moveTo>
                    <a:pt x="43" y="0"/>
                  </a:moveTo>
                  <a:cubicBezTo>
                    <a:pt x="43" y="26"/>
                    <a:pt x="43" y="26"/>
                    <a:pt x="43" y="26"/>
                  </a:cubicBezTo>
                  <a:cubicBezTo>
                    <a:pt x="43" y="29"/>
                    <a:pt x="40" y="32"/>
                    <a:pt x="37" y="32"/>
                  </a:cubicBezTo>
                  <a:cubicBezTo>
                    <a:pt x="6" y="32"/>
                    <a:pt x="6" y="32"/>
                    <a:pt x="6" y="32"/>
                  </a:cubicBezTo>
                  <a:cubicBezTo>
                    <a:pt x="3" y="32"/>
                    <a:pt x="0" y="29"/>
                    <a:pt x="0" y="26"/>
                  </a:cubicBezTo>
                  <a:cubicBezTo>
                    <a:pt x="0" y="0"/>
                    <a:pt x="0" y="0"/>
                    <a:pt x="0" y="0"/>
                  </a:cubicBez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65" name="Rectangle 5"/>
            <p:cNvSpPr>
              <a:spLocks noChangeArrowheads="1"/>
            </p:cNvSpPr>
            <p:nvPr/>
          </p:nvSpPr>
          <p:spPr bwMode="auto">
            <a:xfrm rot="5400000">
              <a:off x="5018430" y="4158798"/>
              <a:ext cx="158750" cy="8229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cxnSp>
        <p:nvCxnSpPr>
          <p:cNvPr id="68" name="Straight Connector 67"/>
          <p:cNvCxnSpPr/>
          <p:nvPr/>
        </p:nvCxnSpPr>
        <p:spPr>
          <a:xfrm>
            <a:off x="459923" y="5709165"/>
            <a:ext cx="11260374"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369000" y="6491366"/>
            <a:ext cx="11351298" cy="0"/>
          </a:xfrm>
          <a:prstGeom prst="line">
            <a:avLst/>
          </a:prstGeom>
          <a:ln>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Freeform 159"/>
          <p:cNvSpPr>
            <a:spLocks noEditPoints="1"/>
          </p:cNvSpPr>
          <p:nvPr/>
        </p:nvSpPr>
        <p:spPr bwMode="black">
          <a:xfrm>
            <a:off x="339058" y="5198423"/>
            <a:ext cx="418548" cy="629426"/>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chemeClr val="accent3"/>
          </a:solidFill>
          <a:ln>
            <a:noFill/>
          </a:ln>
          <a:extLst/>
        </p:spPr>
        <p:txBody>
          <a:bodyPr vert="horz" wrap="square" lIns="107583" tIns="53792" rIns="107583" bIns="53792" numCol="1" anchor="t" anchorCtr="0" compatLnSpc="1">
            <a:prstTxWarp prst="textNoShape">
              <a:avLst/>
            </a:prstTxWarp>
          </a:bodyPr>
          <a:lstStyle/>
          <a:p>
            <a:pPr marL="0" marR="0" lvl="0" indent="0" defTabSz="1195152" eaLnBrk="1" fontAlgn="auto" latinLnBrk="0" hangingPunct="1">
              <a:lnSpc>
                <a:spcPct val="100000"/>
              </a:lnSpc>
              <a:spcBef>
                <a:spcPts val="0"/>
              </a:spcBef>
              <a:spcAft>
                <a:spcPts val="0"/>
              </a:spcAft>
              <a:buClrTx/>
              <a:buSzTx/>
              <a:buFontTx/>
              <a:buNone/>
              <a:tabLst/>
              <a:defRPr/>
            </a:pPr>
            <a:endParaRPr kumimoji="0" lang="en-US" sz="2091" b="0" i="0" u="none" strike="noStrike" kern="0" cap="none" spc="0" normalizeH="0" baseline="0" noProof="0">
              <a:ln>
                <a:noFill/>
              </a:ln>
              <a:solidFill>
                <a:srgbClr val="FFFFFF"/>
              </a:solidFill>
              <a:effectLst/>
              <a:uLnTx/>
              <a:uFillTx/>
              <a:latin typeface="Calibri"/>
            </a:endParaRPr>
          </a:p>
        </p:txBody>
      </p:sp>
    </p:spTree>
    <p:extLst>
      <p:ext uri="{BB962C8B-B14F-4D97-AF65-F5344CB8AC3E}">
        <p14:creationId xmlns:p14="http://schemas.microsoft.com/office/powerpoint/2010/main" val="37477530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7971" y="573258"/>
            <a:ext cx="7034029" cy="5711485"/>
          </a:xfrm>
          <a:prstGeom prst="rect">
            <a:avLst/>
          </a:prstGeom>
        </p:spPr>
      </p:pic>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Tree>
    <p:extLst>
      <p:ext uri="{BB962C8B-B14F-4D97-AF65-F5344CB8AC3E}">
        <p14:creationId xmlns:p14="http://schemas.microsoft.com/office/powerpoint/2010/main" val="264757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sp>
        <p:nvSpPr>
          <p:cNvPr id="4" name="Rectangle 3"/>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 name="Rectangle 4"/>
          <p:cNvSpPr/>
          <p:nvPr/>
        </p:nvSpPr>
        <p:spPr bwMode="auto">
          <a:xfrm>
            <a:off x="988035" y="2266813"/>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6" name="TextBox 5"/>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7" name="Rectangle 6"/>
          <p:cNvSpPr/>
          <p:nvPr/>
        </p:nvSpPr>
        <p:spPr bwMode="auto">
          <a:xfrm>
            <a:off x="985104" y="4212689"/>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5274"/>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10" name="Rectangle 9"/>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1" name="TextBox 10"/>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12" name="Rectangle 11"/>
          <p:cNvSpPr/>
          <p:nvPr/>
        </p:nvSpPr>
        <p:spPr bwMode="auto">
          <a:xfrm>
            <a:off x="9622971" y="528091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13" name="Rectangle 12"/>
          <p:cNvSpPr/>
          <p:nvPr/>
        </p:nvSpPr>
        <p:spPr bwMode="auto">
          <a:xfrm>
            <a:off x="9622971" y="4224131"/>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14" name="Rectangle 13"/>
          <p:cNvSpPr/>
          <p:nvPr/>
        </p:nvSpPr>
        <p:spPr bwMode="auto">
          <a:xfrm>
            <a:off x="9305967" y="2266417"/>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15" name="Rectangle 14"/>
          <p:cNvSpPr/>
          <p:nvPr/>
        </p:nvSpPr>
        <p:spPr bwMode="auto">
          <a:xfrm>
            <a:off x="9622971" y="3245274"/>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18" name="Rectangle 17"/>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ok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Claim: Can view Report 1</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Expiration: 5 minutes</a:t>
            </a:r>
          </a:p>
        </p:txBody>
      </p:sp>
      <p:sp>
        <p:nvSpPr>
          <p:cNvPr id="9" name="Rectangle 8"/>
          <p:cNvSpPr/>
          <p:nvPr/>
        </p:nvSpPr>
        <p:spPr bwMode="auto">
          <a:xfrm>
            <a:off x="985103" y="5280920"/>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 name="Bent Arrow 1"/>
          <p:cNvSpPr/>
          <p:nvPr/>
        </p:nvSpPr>
        <p:spPr bwMode="auto">
          <a:xfrm rot="5400000" flipH="1">
            <a:off x="3925265" y="4641210"/>
            <a:ext cx="1297442" cy="957204"/>
          </a:xfrm>
          <a:prstGeom prst="bentArrow">
            <a:avLst>
              <a:gd name="adj1" fmla="val 17785"/>
              <a:gd name="adj2" fmla="val 19166"/>
              <a:gd name="adj3" fmla="val 21882"/>
              <a:gd name="adj4" fmla="val 54210"/>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6" name="Freeform 25"/>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5" name="Group 34"/>
          <p:cNvGrpSpPr/>
          <p:nvPr/>
        </p:nvGrpSpPr>
        <p:grpSpPr>
          <a:xfrm>
            <a:off x="3062514" y="5492386"/>
            <a:ext cx="5582312" cy="620111"/>
            <a:chOff x="3062514" y="5462666"/>
            <a:chExt cx="5582312" cy="620111"/>
          </a:xfrm>
        </p:grpSpPr>
        <p:sp>
          <p:nvSpPr>
            <p:cNvPr id="25" name="Left Arrow 24"/>
            <p:cNvSpPr/>
            <p:nvPr/>
          </p:nvSpPr>
          <p:spPr>
            <a:xfrm>
              <a:off x="3062514" y="5462666"/>
              <a:ext cx="5582312"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TextBox 28"/>
            <p:cNvSpPr txBox="1"/>
            <p:nvPr/>
          </p:nvSpPr>
          <p:spPr>
            <a:xfrm>
              <a:off x="5112961" y="5745762"/>
              <a:ext cx="244036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Copy API keys to your application</a:t>
              </a:r>
            </a:p>
          </p:txBody>
        </p:sp>
      </p:grpSp>
      <p:sp>
        <p:nvSpPr>
          <p:cNvPr id="30" name="TextBox 29"/>
          <p:cNvSpPr txBox="1"/>
          <p:nvPr/>
        </p:nvSpPr>
        <p:spPr>
          <a:xfrm>
            <a:off x="5048697" y="4463309"/>
            <a:ext cx="1117356"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Sign token</a:t>
            </a:r>
          </a:p>
        </p:txBody>
      </p:sp>
      <p:grpSp>
        <p:nvGrpSpPr>
          <p:cNvPr id="34" name="Group 33"/>
          <p:cNvGrpSpPr/>
          <p:nvPr/>
        </p:nvGrpSpPr>
        <p:grpSpPr>
          <a:xfrm>
            <a:off x="6315933" y="3049575"/>
            <a:ext cx="424791" cy="424791"/>
            <a:chOff x="6560457" y="2743630"/>
            <a:chExt cx="424791" cy="424791"/>
          </a:xfrm>
        </p:grpSpPr>
        <p:sp>
          <p:nvSpPr>
            <p:cNvPr id="3" name="Oval 2"/>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1" name="Group 30"/>
            <p:cNvGrpSpPr/>
            <p:nvPr/>
          </p:nvGrpSpPr>
          <p:grpSpPr>
            <a:xfrm>
              <a:off x="6560457" y="2743630"/>
              <a:ext cx="424791" cy="424791"/>
              <a:chOff x="8257201" y="4912135"/>
              <a:chExt cx="777240" cy="777240"/>
            </a:xfrm>
            <a:solidFill>
              <a:srgbClr val="EDC30D"/>
            </a:solidFill>
          </p:grpSpPr>
          <p:sp>
            <p:nvSpPr>
              <p:cNvPr id="32"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sp>
            <p:nvSpPr>
              <p:cNvPr id="33" name="Freeform 32"/>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grpSp>
      </p:grpSp>
      <p:sp>
        <p:nvSpPr>
          <p:cNvPr id="38" name="Rectangle 37"/>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grpSp>
        <p:nvGrpSpPr>
          <p:cNvPr id="49" name="Group 48"/>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1" name="Rectangle 5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2" name="Rectangle 51"/>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3" name="Straight Connector 52"/>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034760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right)">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wipe(down)">
                                      <p:cBhvr>
                                        <p:cTn id="24" dur="500"/>
                                        <p:tgtEl>
                                          <p:spTgt spid="2"/>
                                        </p:tgtEl>
                                      </p:cBhvr>
                                    </p:animEffect>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30"/>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9" grpId="0" animBg="1"/>
      <p:bldP spid="2" grpId="0" animBg="1"/>
      <p:bldP spid="26" grpId="0" animBg="1"/>
      <p:bldP spid="30" grpId="0"/>
    </p:bldLst>
  </p:timing>
</p:sld>
</file>

<file path=ppt/slides/slide21.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sp>
        <p:nvSpPr>
          <p:cNvPr id="51" name="Rectangle 50"/>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2" name="TextBox 51"/>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7" name="Bent Arrow 26"/>
          <p:cNvSpPr/>
          <p:nvPr/>
        </p:nvSpPr>
        <p:spPr bwMode="auto">
          <a:xfrm rot="5400000" flipH="1" flipV="1">
            <a:off x="6014496" y="3125771"/>
            <a:ext cx="1295400" cy="3986040"/>
          </a:xfrm>
          <a:prstGeom prst="bentArrow">
            <a:avLst>
              <a:gd name="adj1" fmla="val 14334"/>
              <a:gd name="adj2" fmla="val 15613"/>
              <a:gd name="adj3" fmla="val 16541"/>
              <a:gd name="adj4" fmla="val 32069"/>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2" name="Rectangle 21"/>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ok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Claim: Can view Report 1</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82828"/>
                </a:solidFill>
                <a:effectLst/>
                <a:uLnTx/>
                <a:uFillTx/>
              </a:rPr>
              <a:t>+ Expiration: 5 minutes</a:t>
            </a: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 name="Group 2"/>
          <p:cNvGrpSpPr/>
          <p:nvPr/>
        </p:nvGrpSpPr>
        <p:grpSpPr>
          <a:xfrm>
            <a:off x="4846320" y="2124816"/>
            <a:ext cx="3843087" cy="609565"/>
            <a:chOff x="4846320" y="2095096"/>
            <a:chExt cx="3843087" cy="609565"/>
          </a:xfrm>
        </p:grpSpPr>
        <p:sp>
          <p:nvSpPr>
            <p:cNvPr id="33" name="Right Arrow 32"/>
            <p:cNvSpPr/>
            <p:nvPr/>
          </p:nvSpPr>
          <p:spPr>
            <a:xfrm>
              <a:off x="4846320" y="2334437"/>
              <a:ext cx="3843087" cy="370224"/>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TextBox 33"/>
            <p:cNvSpPr txBox="1"/>
            <p:nvPr/>
          </p:nvSpPr>
          <p:spPr>
            <a:xfrm>
              <a:off x="5421133" y="2095096"/>
              <a:ext cx="2178880" cy="337015"/>
            </a:xfrm>
            <a:prstGeom prst="rect">
              <a:avLst/>
            </a:prstGeom>
            <a:noFill/>
          </p:spPr>
          <p:txBody>
            <a:bodyPr wrap="square" lIns="91440" tIns="91440" rIns="91440" bIns="9144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User requests to view Report 1</a:t>
              </a:r>
            </a:p>
          </p:txBody>
        </p:sp>
      </p:grpSp>
      <p:sp>
        <p:nvSpPr>
          <p:cNvPr id="36" name="TextBox 35"/>
          <p:cNvSpPr txBox="1"/>
          <p:nvPr/>
        </p:nvSpPr>
        <p:spPr>
          <a:xfrm>
            <a:off x="5051195" y="4457582"/>
            <a:ext cx="200561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Validate token</a:t>
            </a:r>
          </a:p>
        </p:txBody>
      </p:sp>
      <p:grpSp>
        <p:nvGrpSpPr>
          <p:cNvPr id="37" name="Group 36"/>
          <p:cNvGrpSpPr/>
          <p:nvPr/>
        </p:nvGrpSpPr>
        <p:grpSpPr>
          <a:xfrm>
            <a:off x="6315933" y="3049575"/>
            <a:ext cx="424791" cy="424791"/>
            <a:chOff x="6560457" y="2743630"/>
            <a:chExt cx="424791" cy="424791"/>
          </a:xfrm>
        </p:grpSpPr>
        <p:sp>
          <p:nvSpPr>
            <p:cNvPr id="38" name="Oval 37"/>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9" name="Group 38"/>
            <p:cNvGrpSpPr/>
            <p:nvPr/>
          </p:nvGrpSpPr>
          <p:grpSpPr>
            <a:xfrm>
              <a:off x="6560457" y="2743630"/>
              <a:ext cx="424791" cy="424791"/>
              <a:chOff x="8257201" y="4912135"/>
              <a:chExt cx="777240" cy="777240"/>
            </a:xfrm>
            <a:solidFill>
              <a:srgbClr val="EDC30D"/>
            </a:solidFill>
          </p:grpSpPr>
          <p:sp>
            <p:nvSpPr>
              <p:cNvPr id="40"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sp>
            <p:nvSpPr>
              <p:cNvPr id="41" name="Freeform 40"/>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0580" eaLnBrk="1" fontAlgn="auto" latinLnBrk="0" hangingPunct="1">
                  <a:lnSpc>
                    <a:spcPct val="100000"/>
                  </a:lnSpc>
                  <a:spcBef>
                    <a:spcPts val="0"/>
                  </a:spcBef>
                  <a:spcAft>
                    <a:spcPts val="0"/>
                  </a:spcAft>
                  <a:buClrTx/>
                  <a:buSzTx/>
                  <a:buFontTx/>
                  <a:buNone/>
                  <a:tabLst/>
                  <a:defRPr/>
                </a:pPr>
                <a:endParaRPr kumimoji="0" lang="en-US" sz="1753" b="0" i="0" u="none" strike="noStrike" kern="0" cap="none" spc="0" normalizeH="0" baseline="0" noProof="0" dirty="0">
                  <a:ln>
                    <a:solidFill>
                      <a:srgbClr val="FFFFFF">
                        <a:alpha val="0"/>
                      </a:srgbClr>
                    </a:solidFill>
                  </a:ln>
                  <a:solidFill>
                    <a:srgbClr val="000000"/>
                  </a:solidFill>
                  <a:effectLst/>
                  <a:uLnTx/>
                  <a:uFillTx/>
                  <a:latin typeface="Segoe UI"/>
                </a:endParaRPr>
              </a:p>
            </p:txBody>
          </p:sp>
        </p:grpSp>
      </p:gr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49" name="TextBox 48"/>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53" name="Rectangle 52"/>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sp>
        <p:nvSpPr>
          <p:cNvPr id="28" name="Rectangle 2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48" name="Group 47"/>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4" name="Rectangle 53"/>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5" name="Rectangle 54"/>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6" name="Straight Connector 55"/>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00318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down)">
                                      <p:cBhvr>
                                        <p:cTn id="12" dur="500"/>
                                        <p:tgtEl>
                                          <p:spTgt spid="27"/>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6"/>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6" grpId="0"/>
    </p:bldLst>
  </p:timing>
</p:sld>
</file>

<file path=ppt/slides/slide22.xml><?xml version="1.0" encoding="utf-8"?>
<p:sld xmlns:a="http://schemas.openxmlformats.org/drawingml/2006/main" xmlns:r="http://schemas.openxmlformats.org/officeDocument/2006/relationships" xmlns:p="http://schemas.openxmlformats.org/presentationml/2006/main" show="0">
  <p:cSld>
    <p:bg>
      <p:bgPr>
        <a:solidFill>
          <a:srgbClr val="F2F2F2"/>
        </a:solidFill>
        <a:effectLst/>
      </p:bgPr>
    </p:bg>
    <p:spTree>
      <p:nvGrpSpPr>
        <p:cNvPr id="1" name=""/>
        <p:cNvGrpSpPr/>
        <p:nvPr/>
      </p:nvGrpSpPr>
      <p:grpSpPr>
        <a:xfrm>
          <a:off x="0" y="0"/>
          <a:ext cx="0" cy="0"/>
          <a:chOff x="0" y="0"/>
          <a:chExt cx="0" cy="0"/>
        </a:xfrm>
      </p:grpSpPr>
      <p:sp>
        <p:nvSpPr>
          <p:cNvPr id="35" name="Rectangle 34"/>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282828"/>
              </a:solidFill>
              <a:effectLst/>
              <a:uLnTx/>
              <a:uFillTx/>
              <a:latin typeface="Segoe UI Light" panose="020B0502040204020203" pitchFamily="34" charset="0"/>
              <a:cs typeface="Segoe UI Light" panose="020B0502040204020203" pitchFamily="34" charset="0"/>
            </a:endParaRPr>
          </a:p>
        </p:txBody>
      </p:sp>
      <p:sp>
        <p:nvSpPr>
          <p:cNvPr id="46" name="Rectangle 45"/>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7" name="TextBox 46"/>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28" name="Left Arrow 27"/>
          <p:cNvSpPr/>
          <p:nvPr/>
        </p:nvSpPr>
        <p:spPr>
          <a:xfrm>
            <a:off x="5537200" y="3464943"/>
            <a:ext cx="3086100"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29" name="Rectangle 28"/>
          <p:cNvSpPr/>
          <p:nvPr/>
        </p:nvSpPr>
        <p:spPr bwMode="auto">
          <a:xfrm>
            <a:off x="3702928"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1961" b="0" i="0" u="none" strike="noStrike" kern="0" cap="none" spc="0" normalizeH="0" baseline="0" noProof="0" dirty="0">
                <a:ln>
                  <a:noFill/>
                </a:ln>
                <a:solidFill>
                  <a:srgbClr val="F2F2F2"/>
                </a:solidFill>
                <a:effectLst/>
                <a:uLnTx/>
                <a:uFillTx/>
                <a:latin typeface="Segoe UI Light" panose="020B0502040204020203" pitchFamily="34" charset="0"/>
                <a:cs typeface="Segoe UI Light" panose="020B0502040204020203" pitchFamily="34" charset="0"/>
              </a:rPr>
              <a:t>Report 1</a:t>
            </a:r>
          </a:p>
        </p:txBody>
      </p:sp>
      <p:sp>
        <p:nvSpPr>
          <p:cNvPr id="32" name="TextBox 31"/>
          <p:cNvSpPr txBox="1"/>
          <p:nvPr/>
        </p:nvSpPr>
        <p:spPr>
          <a:xfrm>
            <a:off x="422112" y="1485140"/>
            <a:ext cx="2509962" cy="622056"/>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400" b="0" i="0" u="none" strike="noStrike" kern="0" cap="none" spc="0" normalizeH="0" baseline="0" noProof="0" dirty="0">
                <a:ln>
                  <a:noFill/>
                </a:ln>
                <a:solidFill>
                  <a:srgbClr val="282828"/>
                </a:solidFill>
                <a:effectLst/>
                <a:uLnTx/>
                <a:uFillTx/>
                <a:latin typeface="+mj-lt"/>
                <a:ea typeface="Segoe UI Black" panose="020B0A02040204020203" pitchFamily="34" charset="0"/>
                <a:cs typeface="Segoe UI Black" panose="020B0A02040204020203" pitchFamily="34" charset="0"/>
              </a:rPr>
              <a:t>Application</a:t>
            </a:r>
          </a:p>
        </p:txBody>
      </p:sp>
      <p:sp>
        <p:nvSpPr>
          <p:cNvPr id="18" name="Rectangle 1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27" name="Group 26"/>
          <p:cNvGrpSpPr/>
          <p:nvPr/>
        </p:nvGrpSpPr>
        <p:grpSpPr>
          <a:xfrm>
            <a:off x="0" y="6600607"/>
            <a:ext cx="2029968" cy="257393"/>
            <a:chOff x="10162032" y="6604155"/>
            <a:chExt cx="2029968" cy="257393"/>
          </a:xfrm>
        </p:grpSpPr>
        <p:sp>
          <p:nvSpPr>
            <p:cNvPr id="30" name="Rectangle 2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282828"/>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31" name="Rectangle 3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33" name="Rectangle 32"/>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EDC30D"/>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34" name="Straight Connector 33"/>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1205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right)">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What is</a:t>
            </a:r>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 Next? …</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Bring data to life with these resource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9"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791414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Title 5"/>
          <p:cNvSpPr txBox="1">
            <a:spLocks/>
          </p:cNvSpPr>
          <p:nvPr/>
        </p:nvSpPr>
        <p:spPr>
          <a:xfrm>
            <a:off x="5350931" y="186267"/>
            <a:ext cx="3776134" cy="1041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IN" sz="4800" dirty="0">
                <a:latin typeface="Segoe UI Semibold" panose="020B0702040204020203" pitchFamily="34" charset="0"/>
                <a:cs typeface="Segoe UI Semibold" panose="020B0702040204020203" pitchFamily="34" charset="0"/>
              </a:rPr>
              <a:t>Resources …</a:t>
            </a:r>
            <a:endParaRPr lang="en-IN" dirty="0">
              <a:latin typeface="Segoe UI Semibold" panose="020B0702040204020203" pitchFamily="34" charset="0"/>
              <a:cs typeface="Segoe UI Semibold" panose="020B0702040204020203" pitchFamily="34" charset="0"/>
            </a:endParaRPr>
          </a:p>
        </p:txBody>
      </p:sp>
      <p:grpSp>
        <p:nvGrpSpPr>
          <p:cNvPr id="6" name="Group 5"/>
          <p:cNvGrpSpPr/>
          <p:nvPr/>
        </p:nvGrpSpPr>
        <p:grpSpPr>
          <a:xfrm>
            <a:off x="386631" y="4969788"/>
            <a:ext cx="4558602" cy="1558156"/>
            <a:chOff x="2736501" y="2280354"/>
            <a:chExt cx="4558602" cy="1558156"/>
          </a:xfrm>
        </p:grpSpPr>
        <p:grpSp>
          <p:nvGrpSpPr>
            <p:cNvPr id="7" name="Group 6"/>
            <p:cNvGrpSpPr/>
            <p:nvPr/>
          </p:nvGrpSpPr>
          <p:grpSpPr>
            <a:xfrm>
              <a:off x="2736501" y="2280354"/>
              <a:ext cx="720132" cy="1558156"/>
              <a:chOff x="2736501" y="2227603"/>
              <a:chExt cx="720132" cy="1558156"/>
            </a:xfrm>
          </p:grpSpPr>
          <p:pic>
            <p:nvPicPr>
              <p:cNvPr id="11" name="Picture 1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2736501" y="2227603"/>
                <a:ext cx="720132" cy="720132"/>
              </a:xfrm>
              <a:prstGeom prst="rect">
                <a:avLst/>
              </a:prstGeom>
            </p:spPr>
          </p:pic>
          <p:pic>
            <p:nvPicPr>
              <p:cNvPr id="12" name="Picture 1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2736501" y="3065627"/>
                <a:ext cx="720132" cy="720132"/>
              </a:xfrm>
              <a:prstGeom prst="rect">
                <a:avLst/>
              </a:prstGeom>
            </p:spPr>
          </p:pic>
        </p:grpSp>
        <p:sp>
          <p:nvSpPr>
            <p:cNvPr id="9" name="TextBox 8"/>
            <p:cNvSpPr txBox="1"/>
            <p:nvPr/>
          </p:nvSpPr>
          <p:spPr>
            <a:xfrm>
              <a:off x="3607358" y="2455754"/>
              <a:ext cx="3687745" cy="400110"/>
            </a:xfrm>
            <a:prstGeom prst="rect">
              <a:avLst/>
            </a:prstGeom>
            <a:noFill/>
          </p:spPr>
          <p:txBody>
            <a:bodyPr wrap="square" rtlCol="0">
              <a:spAutoFit/>
            </a:bodyPr>
            <a:lstStyle/>
            <a:p>
              <a:r>
                <a:rPr lang="en-GB" sz="2000" dirty="0">
                  <a:solidFill>
                    <a:schemeClr val="bg1"/>
                  </a:solidFill>
                  <a:latin typeface="Segoe UI Light" panose="020B0502040204020203" pitchFamily="34" charset="0"/>
                  <a:cs typeface="Segoe UI Light" panose="020B0502040204020203" pitchFamily="34" charset="0"/>
                </a:rPr>
                <a:t>amynic@microsoft.com</a:t>
              </a:r>
            </a:p>
          </p:txBody>
        </p:sp>
        <p:sp>
          <p:nvSpPr>
            <p:cNvPr id="10" name="TextBox 9"/>
            <p:cNvSpPr txBox="1"/>
            <p:nvPr/>
          </p:nvSpPr>
          <p:spPr>
            <a:xfrm>
              <a:off x="3607357" y="3293778"/>
              <a:ext cx="3687745" cy="400110"/>
            </a:xfrm>
            <a:prstGeom prst="rect">
              <a:avLst/>
            </a:prstGeom>
            <a:noFill/>
          </p:spPr>
          <p:txBody>
            <a:bodyPr wrap="square" rtlCol="0">
              <a:spAutoFit/>
            </a:bodyPr>
            <a:lstStyle/>
            <a:p>
              <a:r>
                <a:rPr lang="en-GB" sz="2000" dirty="0">
                  <a:solidFill>
                    <a:schemeClr val="bg1"/>
                  </a:solidFill>
                  <a:latin typeface="Segoe UI Light" panose="020B0502040204020203" pitchFamily="34" charset="0"/>
                  <a:cs typeface="Segoe UI Light" panose="020B0502040204020203" pitchFamily="34" charset="0"/>
                </a:rPr>
                <a:t>@AmyKateNicho</a:t>
              </a:r>
            </a:p>
          </p:txBody>
        </p:sp>
      </p:grpSp>
      <p:sp>
        <p:nvSpPr>
          <p:cNvPr id="13" name="Freeform 8"/>
          <p:cNvSpPr>
            <a:spLocks noChangeAspect="1"/>
          </p:cNvSpPr>
          <p:nvPr/>
        </p:nvSpPr>
        <p:spPr bwMode="auto">
          <a:xfrm>
            <a:off x="3289751" y="18626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Text Placeholder 4"/>
          <p:cNvSpPr txBox="1">
            <a:spLocks/>
          </p:cNvSpPr>
          <p:nvPr/>
        </p:nvSpPr>
        <p:spPr>
          <a:xfrm>
            <a:off x="5551997" y="1504594"/>
            <a:ext cx="5069400" cy="4663284"/>
          </a:xfrm>
          <a:prstGeom prst="rect">
            <a:avLst/>
          </a:prstGeom>
          <a:solidFill>
            <a:srgbClr val="FFFFFF"/>
          </a:solidFill>
        </p:spPr>
        <p:txBody>
          <a:bodyPr vert="horz" wrap="square" lIns="182880" tIns="146304" rIns="182880" bIns="146304" rtlCol="0">
            <a:noAutofit/>
          </a:bodyPr>
          <a:lstStyle>
            <a:lvl1pPr marL="182845" marR="0" indent="-18284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3921" kern="1200" spc="0" baseline="0">
                <a:gradFill>
                  <a:gsLst>
                    <a:gs pos="1250">
                      <a:schemeClr val="tx2"/>
                    </a:gs>
                    <a:gs pos="99000">
                      <a:schemeClr val="tx2"/>
                    </a:gs>
                  </a:gsLst>
                  <a:lin ang="5400000" scaled="0"/>
                </a:gradFill>
                <a:latin typeface="+mj-lt"/>
                <a:ea typeface="+mn-ea"/>
                <a:cs typeface="+mn-cs"/>
              </a:defRPr>
            </a:lvl1pPr>
            <a:lvl2pPr marL="406400" marR="0" indent="-182563" algn="l" defTabSz="914367" rtl="0" eaLnBrk="1" fontAlgn="auto" latinLnBrk="0" hangingPunct="1">
              <a:lnSpc>
                <a:spcPct val="90000"/>
              </a:lnSpc>
              <a:spcBef>
                <a:spcPct val="20000"/>
              </a:spcBef>
              <a:spcAft>
                <a:spcPts val="0"/>
              </a:spcAft>
              <a:buClrTx/>
              <a:buSzPct val="90000"/>
              <a:buFont typeface="Segoe UI Light" panose="020B0502040204020203" pitchFamily="34" charset="0"/>
              <a:buChar char="−"/>
              <a:tabLst/>
              <a:defRPr sz="3200" kern="1200" spc="0" baseline="0">
                <a:solidFill>
                  <a:schemeClr val="tx2"/>
                </a:solidFill>
                <a:latin typeface="+mj-lt"/>
                <a:ea typeface="+mn-ea"/>
                <a:cs typeface="+mn-cs"/>
              </a:defRPr>
            </a:lvl2pPr>
            <a:lvl3pPr marL="635000" marR="0" indent="-182563"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800" kern="1200" spc="0" baseline="0">
                <a:solidFill>
                  <a:schemeClr val="tx2"/>
                </a:solidFill>
                <a:latin typeface="+mj-lt"/>
                <a:ea typeface="+mn-ea"/>
                <a:cs typeface="+mn-cs"/>
              </a:defRPr>
            </a:lvl3pPr>
            <a:lvl4pPr marL="733802"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4pPr>
            <a:lvl5pPr marL="957856" marR="0" indent="-285695"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defTabSz="914400" fontAlgn="base">
              <a:lnSpc>
                <a:spcPct val="100000"/>
              </a:lnSpc>
              <a:spcBef>
                <a:spcPts val="600"/>
              </a:spcBef>
              <a:spcAft>
                <a:spcPts val="600"/>
              </a:spcAft>
            </a:pPr>
            <a:r>
              <a:rPr lang="en-US" sz="2000" dirty="0">
                <a:solidFill>
                  <a:srgbClr val="000000"/>
                </a:solidFill>
                <a:latin typeface="Segoe UI Light"/>
                <a:ea typeface="Calibri" panose="020F0502020204030204" pitchFamily="34" charset="0"/>
                <a:cs typeface="Times New Roman" panose="02020603050405020304" pitchFamily="18" charset="0"/>
              </a:rPr>
              <a:t>Get </a:t>
            </a:r>
            <a:r>
              <a:rPr lang="en-US" sz="2000" b="1" dirty="0">
                <a:solidFill>
                  <a:srgbClr val="000000"/>
                </a:solidFill>
                <a:latin typeface="Segoe UI Light"/>
                <a:ea typeface="Calibri" panose="020F0502020204030204" pitchFamily="34" charset="0"/>
                <a:cs typeface="Times New Roman" panose="02020603050405020304" pitchFamily="18" charset="0"/>
              </a:rPr>
              <a:t>signed up </a:t>
            </a:r>
            <a:r>
              <a:rPr lang="en-US" sz="2000" dirty="0">
                <a:solidFill>
                  <a:srgbClr val="000000"/>
                </a:solidFill>
                <a:latin typeface="Segoe UI Light"/>
                <a:ea typeface="Calibri" panose="020F0502020204030204" pitchFamily="34" charset="0"/>
                <a:cs typeface="Times New Roman" panose="02020603050405020304" pitchFamily="18" charset="0"/>
              </a:rPr>
              <a:t>at </a:t>
            </a:r>
            <a:r>
              <a:rPr lang="en-US" sz="2000" dirty="0">
                <a:solidFill>
                  <a:srgbClr val="000000"/>
                </a:solidFill>
                <a:latin typeface="Segoe UI Light"/>
                <a:ea typeface="Calibri" panose="020F0502020204030204" pitchFamily="34" charset="0"/>
                <a:cs typeface="Times New Roman" panose="02020603050405020304" pitchFamily="18" charset="0"/>
                <a:hlinkClick r:id="rId5"/>
              </a:rPr>
              <a:t>https://powerbi.microsoft.com/</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kumimoji="0" lang="en-US" sz="2000" b="1"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Power BI Desktop </a:t>
            </a:r>
            <a:r>
              <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is</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 </a:t>
            </a:r>
            <a:r>
              <a:rPr lang="en-US" sz="2000" dirty="0">
                <a:solidFill>
                  <a:srgbClr val="000000"/>
                </a:solidFill>
                <a:latin typeface="Segoe UI Light"/>
                <a:ea typeface="Calibri" panose="020F0502020204030204" pitchFamily="34" charset="0"/>
                <a:cs typeface="Times New Roman" panose="02020603050405020304" pitchFamily="18" charset="0"/>
              </a:rPr>
              <a:t>free download: </a:t>
            </a:r>
            <a:r>
              <a:rPr lang="en-US" sz="2000" dirty="0">
                <a:solidFill>
                  <a:srgbClr val="000000"/>
                </a:solidFill>
                <a:latin typeface="Segoe UI Light"/>
                <a:ea typeface="Calibri" panose="020F0502020204030204" pitchFamily="34" charset="0"/>
                <a:cs typeface="Times New Roman" panose="02020603050405020304" pitchFamily="18" charset="0"/>
                <a:hlinkClick r:id="rId6"/>
              </a:rPr>
              <a:t>https://powerbi.microsoft.com/en-us/desktop/</a:t>
            </a:r>
            <a:r>
              <a:rPr lang="en-US" sz="2000" dirty="0">
                <a:solidFill>
                  <a:srgbClr val="000000"/>
                </a:solidFill>
                <a:latin typeface="Segoe UI Light"/>
                <a:ea typeface="Calibri" panose="020F0502020204030204" pitchFamily="34" charset="0"/>
                <a:cs typeface="Times New Roman" panose="02020603050405020304" pitchFamily="18" charset="0"/>
              </a:rPr>
              <a:t> </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lang="en-US" sz="2000" dirty="0">
                <a:solidFill>
                  <a:srgbClr val="000000"/>
                </a:solidFill>
                <a:latin typeface="Segoe UI Light"/>
                <a:ea typeface="Calibri" panose="020F0502020204030204" pitchFamily="34" charset="0"/>
                <a:cs typeface="Times New Roman" panose="02020603050405020304" pitchFamily="18" charset="0"/>
              </a:rPr>
              <a:t>Keep up to date and follow samples on the </a:t>
            </a:r>
            <a:r>
              <a:rPr lang="en-US" sz="2000" b="1" dirty="0">
                <a:solidFill>
                  <a:srgbClr val="000000"/>
                </a:solidFill>
                <a:latin typeface="Segoe UI Light"/>
                <a:ea typeface="Calibri" panose="020F0502020204030204" pitchFamily="34" charset="0"/>
                <a:cs typeface="Times New Roman" panose="02020603050405020304" pitchFamily="18" charset="0"/>
              </a:rPr>
              <a:t>Power BI Blog</a:t>
            </a:r>
            <a:r>
              <a:rPr lang="en-US" sz="2000" dirty="0">
                <a:solidFill>
                  <a:srgbClr val="000000"/>
                </a:solidFill>
                <a:latin typeface="Segoe UI Light"/>
                <a:ea typeface="Calibri" panose="020F0502020204030204" pitchFamily="34" charset="0"/>
                <a:cs typeface="Times New Roman" panose="02020603050405020304" pitchFamily="18" charset="0"/>
              </a:rPr>
              <a:t>: </a:t>
            </a:r>
            <a:r>
              <a:rPr lang="en-US" sz="2000" dirty="0">
                <a:solidFill>
                  <a:srgbClr val="000000"/>
                </a:solidFill>
                <a:latin typeface="Segoe UI Light"/>
                <a:ea typeface="Calibri" panose="020F0502020204030204" pitchFamily="34" charset="0"/>
                <a:cs typeface="Times New Roman" panose="02020603050405020304" pitchFamily="18" charset="0"/>
                <a:hlinkClick r:id="rId7"/>
              </a:rPr>
              <a:t>https://powerbi.microsoft.com/en-us/blog/</a:t>
            </a:r>
            <a:r>
              <a:rPr lang="en-US" sz="2000" dirty="0">
                <a:solidFill>
                  <a:srgbClr val="000000"/>
                </a:solidFill>
                <a:latin typeface="Segoe UI Light"/>
                <a:ea typeface="Calibri" panose="020F0502020204030204" pitchFamily="34" charset="0"/>
                <a:cs typeface="Times New Roman" panose="02020603050405020304" pitchFamily="18" charset="0"/>
              </a:rPr>
              <a:t> </a:t>
            </a: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a:p>
            <a:pPr lvl="0" defTabSz="914400" fontAlgn="base">
              <a:lnSpc>
                <a:spcPct val="100000"/>
              </a:lnSpc>
              <a:spcBef>
                <a:spcPts val="600"/>
              </a:spcBef>
              <a:spcAft>
                <a:spcPts val="600"/>
              </a:spcAft>
            </a:pPr>
            <a:r>
              <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Find this presentation and all the demo content and extra samples on</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r>
              <a:rPr kumimoji="0" lang="en-US" sz="2000" b="1" i="0" u="none" strike="noStrike" kern="1200" cap="none" spc="0" normalizeH="0" noProof="0" dirty="0" err="1">
                <a:ln>
                  <a:noFill/>
                </a:ln>
                <a:solidFill>
                  <a:srgbClr val="000000"/>
                </a:solidFill>
                <a:effectLst/>
                <a:uLnTx/>
                <a:uFillTx/>
                <a:latin typeface="Segoe UI Light"/>
                <a:ea typeface="Calibri" panose="020F0502020204030204" pitchFamily="34" charset="0"/>
                <a:cs typeface="Times New Roman" panose="02020603050405020304" pitchFamily="18" charset="0"/>
              </a:rPr>
              <a:t>Github</a:t>
            </a:r>
            <a:r>
              <a:rPr kumimoji="0" lang="en-US" sz="2000" b="0" i="0" u="none" strike="noStrike" kern="1200" cap="none" spc="0" normalizeH="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rPr>
              <a:t>:  </a:t>
            </a:r>
            <a:r>
              <a:rPr lang="en-GB" sz="2000" dirty="0">
                <a:solidFill>
                  <a:srgbClr val="000000"/>
                </a:solidFill>
                <a:latin typeface="Segoe UI Light"/>
                <a:ea typeface="Calibri" panose="020F0502020204030204" pitchFamily="34" charset="0"/>
                <a:cs typeface="Times New Roman" panose="02020603050405020304" pitchFamily="18" charset="0"/>
                <a:hlinkClick r:id="rId8"/>
              </a:rPr>
              <a:t>https://github.com/dxuk/AzureWorkshops</a:t>
            </a:r>
            <a:endParaRPr lang="en-US" sz="2000" dirty="0">
              <a:solidFill>
                <a:srgbClr val="000000"/>
              </a:solidFill>
              <a:latin typeface="Segoe UI Light"/>
              <a:ea typeface="Calibri" panose="020F0502020204030204" pitchFamily="34" charset="0"/>
              <a:cs typeface="Times New Roman" panose="02020603050405020304" pitchFamily="18" charset="0"/>
            </a:endParaRPr>
          </a:p>
          <a:p>
            <a:pPr marL="182845" marR="0" lvl="0" indent="-182845" algn="l" defTabSz="914400" rtl="0" eaLnBrk="1" fontAlgn="base" latinLnBrk="0" hangingPunct="1">
              <a:lnSpc>
                <a:spcPct val="100000"/>
              </a:lnSpc>
              <a:spcBef>
                <a:spcPts val="600"/>
              </a:spcBef>
              <a:spcAft>
                <a:spcPts val="60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Segoe UI 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06558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grpSp>
        <p:nvGrpSpPr>
          <p:cNvPr id="7" name="Group 6"/>
          <p:cNvGrpSpPr/>
          <p:nvPr/>
        </p:nvGrpSpPr>
        <p:grpSpPr>
          <a:xfrm>
            <a:off x="5823544" y="1252339"/>
            <a:ext cx="5701460" cy="4353323"/>
            <a:chOff x="5350931" y="1630866"/>
            <a:chExt cx="5701460" cy="4353323"/>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0931" y="1630866"/>
              <a:ext cx="4567686" cy="3063395"/>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10600" y="3162564"/>
              <a:ext cx="2441791" cy="2821625"/>
            </a:xfrm>
            <a:prstGeom prst="rect">
              <a:avLst/>
            </a:prstGeom>
          </p:spPr>
        </p:pic>
      </p:grpSp>
    </p:spTree>
    <p:extLst>
      <p:ext uri="{BB962C8B-B14F-4D97-AF65-F5344CB8AC3E}">
        <p14:creationId xmlns:p14="http://schemas.microsoft.com/office/powerpoint/2010/main" val="226215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0931" y="1560512"/>
            <a:ext cx="5849180" cy="3736976"/>
          </a:xfrm>
          <a:prstGeom prst="rect">
            <a:avLst/>
          </a:prstGeom>
        </p:spPr>
      </p:pic>
    </p:spTree>
    <p:extLst>
      <p:ext uri="{BB962C8B-B14F-4D97-AF65-F5344CB8AC3E}">
        <p14:creationId xmlns:p14="http://schemas.microsoft.com/office/powerpoint/2010/main" val="2652173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5845" y="1"/>
            <a:ext cx="10356156" cy="6857514"/>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31" y="1"/>
            <a:ext cx="12127770" cy="8085180"/>
          </a:xfrm>
          <a:prstGeom prst="rect">
            <a:avLst/>
          </a:prstGeom>
        </p:spPr>
      </p:pic>
      <p:sp>
        <p:nvSpPr>
          <p:cNvPr id="4" name="Rectangle 3"/>
          <p:cNvSpPr/>
          <p:nvPr/>
        </p:nvSpPr>
        <p:spPr bwMode="auto">
          <a:xfrm>
            <a:off x="1" y="10761"/>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spTree>
    <p:extLst>
      <p:ext uri="{BB962C8B-B14F-4D97-AF65-F5344CB8AC3E}">
        <p14:creationId xmlns:p14="http://schemas.microsoft.com/office/powerpoint/2010/main" val="3116569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487"/>
            <a:ext cx="5165366" cy="6857027"/>
          </a:xfrm>
          <a:prstGeom prst="rect">
            <a:avLst/>
          </a:prstGeom>
          <a:solidFill>
            <a:srgbClr val="1E1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itle 5"/>
          <p:cNvSpPr txBox="1">
            <a:spLocks/>
          </p:cNvSpPr>
          <p:nvPr/>
        </p:nvSpPr>
        <p:spPr>
          <a:xfrm>
            <a:off x="252306" y="1992098"/>
            <a:ext cx="4760699" cy="287380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2" normalizeH="0" baseline="0" noProof="0" dirty="0">
                <a:ln w="3175">
                  <a:noFill/>
                </a:ln>
                <a:solidFill>
                  <a:schemeClr val="bg1"/>
                </a:solidFill>
                <a:effectLst/>
                <a:uLnTx/>
                <a:uFillTx/>
                <a:latin typeface="+mj-lt"/>
                <a:ea typeface="+mn-ea"/>
                <a:cs typeface="Segoe UI" pitchFamily="34" charset="0"/>
              </a:rPr>
              <a:t>Stories, information and Data </a:t>
            </a:r>
          </a:p>
          <a:p>
            <a:pPr marL="0" marR="0" lvl="0" indent="0" algn="l" defTabSz="932742" rtl="0" eaLnBrk="1" fontAlgn="auto" latinLnBrk="0" hangingPunct="1">
              <a:lnSpc>
                <a:spcPct val="90000"/>
              </a:lnSpc>
              <a:spcBef>
                <a:spcPct val="0"/>
              </a:spcBef>
              <a:spcAft>
                <a:spcPts val="0"/>
              </a:spcAft>
              <a:buClrTx/>
              <a:buSzTx/>
              <a:buFontTx/>
              <a:buNone/>
              <a:tabLst/>
              <a:defRPr/>
            </a:pPr>
            <a:endParaRPr lang="en-US" sz="4705" dirty="0">
              <a:solidFill>
                <a:schemeClr val="bg1"/>
              </a:solidFill>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chemeClr val="bg1"/>
                </a:solidFill>
                <a:effectLst/>
                <a:uLnTx/>
                <a:uFillTx/>
                <a:latin typeface="Segoe UI Semibold" panose="020B0702040204020203" pitchFamily="34" charset="0"/>
                <a:cs typeface="Segoe UI Semibold" panose="020B0702040204020203" pitchFamily="34" charset="0"/>
              </a:rPr>
              <a:t>… As visuals …</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3005" y="-160125"/>
            <a:ext cx="7178995" cy="7178995"/>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6933" y="-129487"/>
            <a:ext cx="7095067" cy="7148357"/>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3005" y="1"/>
            <a:ext cx="7221330" cy="6857513"/>
          </a:xfrm>
          <a:prstGeom prst="rect">
            <a:avLst/>
          </a:prstGeom>
        </p:spPr>
      </p:pic>
    </p:spTree>
    <p:extLst>
      <p:ext uri="{BB962C8B-B14F-4D97-AF65-F5344CB8AC3E}">
        <p14:creationId xmlns:p14="http://schemas.microsoft.com/office/powerpoint/2010/main" val="103698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0"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0" marR="0" lvl="0" indent="0" defTabSz="914367" eaLnBrk="1" fontAlgn="auto" latinLnBrk="0" hangingPunct="1">
              <a:lnSpc>
                <a:spcPct val="90000"/>
              </a:lnSpc>
              <a:spcBef>
                <a:spcPct val="0"/>
              </a:spcBef>
              <a:spcAft>
                <a:spcPts val="0"/>
              </a:spcAft>
              <a:buClrTx/>
              <a:buSzTx/>
              <a:buFontTx/>
              <a:buNone/>
              <a:tabLst/>
              <a:defRPr/>
            </a:pPr>
            <a:r>
              <a:rPr kumimoji="0" lang="en-IN" sz="3600" b="0" i="0" u="none" strike="noStrike" kern="0" cap="none" spc="-100" normalizeH="0" baseline="0" noProof="0">
                <a:ln w="3175">
                  <a:noFill/>
                </a:ln>
                <a:solidFill>
                  <a:srgbClr val="000000"/>
                </a:solidFill>
                <a:effectLst/>
                <a:uLnTx/>
                <a:uFillTx/>
                <a:latin typeface="+mj-lt"/>
                <a:cs typeface="Segoe UI" pitchFamily="34" charset="0"/>
              </a:rPr>
              <a:t>Power BI Overview</a:t>
            </a:r>
          </a:p>
        </p:txBody>
      </p:sp>
      <p:pic>
        <p:nvPicPr>
          <p:cNvPr id="142" name="Picture 141"/>
          <p:cNvPicPr>
            <a:picLocks noChangeAspect="1"/>
          </p:cNvPicPr>
          <p:nvPr/>
        </p:nvPicPr>
        <p:blipFill>
          <a:blip r:embed="rId3"/>
          <a:stretch>
            <a:fillRect/>
          </a:stretch>
        </p:blipFill>
        <p:spPr>
          <a:xfrm>
            <a:off x="8037906" y="5768465"/>
            <a:ext cx="2075044" cy="727912"/>
          </a:xfrm>
          <a:prstGeom prst="rect">
            <a:avLst/>
          </a:prstGeom>
        </p:spPr>
      </p:pic>
      <p:pic>
        <p:nvPicPr>
          <p:cNvPr id="191" name="Picture 190"/>
          <p:cNvPicPr>
            <a:picLocks noChangeAspect="1"/>
          </p:cNvPicPr>
          <p:nvPr/>
        </p:nvPicPr>
        <p:blipFill>
          <a:blip r:embed="rId4"/>
          <a:stretch>
            <a:fillRect/>
          </a:stretch>
        </p:blipFill>
        <p:spPr>
          <a:xfrm>
            <a:off x="9398880" y="5670445"/>
            <a:ext cx="1838932" cy="1018710"/>
          </a:xfrm>
          <a:prstGeom prst="rect">
            <a:avLst/>
          </a:prstGeom>
        </p:spPr>
      </p:pic>
      <p:sp>
        <p:nvSpPr>
          <p:cNvPr id="144" name="Rectangle 143"/>
          <p:cNvSpPr/>
          <p:nvPr/>
        </p:nvSpPr>
        <p:spPr bwMode="auto">
          <a:xfrm>
            <a:off x="6707573" y="5689757"/>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marR="0" lvl="0" indent="0" defTabSz="932293" eaLnBrk="1" fontAlgn="base" latinLnBrk="0" hangingPunct="1">
              <a:lnSpc>
                <a:spcPct val="100000"/>
              </a:lnSpc>
              <a:spcBef>
                <a:spcPct val="0"/>
              </a:spcBef>
              <a:spcAft>
                <a:spcPct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45" name="Rectangle 144"/>
          <p:cNvSpPr/>
          <p:nvPr/>
        </p:nvSpPr>
        <p:spPr>
          <a:xfrm>
            <a:off x="7428667" y="5269863"/>
            <a:ext cx="2681209" cy="369332"/>
          </a:xfrm>
          <a:prstGeom prst="rect">
            <a:avLst/>
          </a:prstGeom>
        </p:spPr>
        <p:txBody>
          <a:bodyPr wrap="square">
            <a:spAutoFit/>
          </a:bodyPr>
          <a:lstStyle/>
          <a:p>
            <a:pPr marL="0" marR="0" lvl="0" indent="0" algn="ctr" defTabSz="914367"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000000"/>
                </a:solidFill>
                <a:effectLst/>
                <a:uLnTx/>
                <a:uFillTx/>
              </a:rPr>
              <a:t>Power BI REST APIs</a:t>
            </a:r>
          </a:p>
        </p:txBody>
      </p:sp>
      <p:sp>
        <p:nvSpPr>
          <p:cNvPr id="147" name="Rectangle 146"/>
          <p:cNvSpPr/>
          <p:nvPr/>
        </p:nvSpPr>
        <p:spPr>
          <a:xfrm>
            <a:off x="943884" y="5269863"/>
            <a:ext cx="2291365" cy="369332"/>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dirty="0">
                <a:ln>
                  <a:noFill/>
                </a:ln>
                <a:solidFill>
                  <a:srgbClr val="000000"/>
                </a:solidFill>
                <a:effectLst/>
                <a:uLnTx/>
                <a:uFillTx/>
              </a:rPr>
              <a:t>Power BI Desktop</a:t>
            </a:r>
          </a:p>
        </p:txBody>
      </p:sp>
      <p:sp>
        <p:nvSpPr>
          <p:cNvPr id="192"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217346"/>
              </a:solidFill>
              <a:effectLst/>
              <a:uLnTx/>
              <a:uFillTx/>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Prepare</a:t>
            </a: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Explore</a:t>
            </a: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IN" sz="1400" b="0" i="0" u="none" strike="noStrike" kern="0" cap="none" spc="0" normalizeH="0" baseline="0" noProof="0" dirty="0" err="1">
              <a:ln>
                <a:noFill/>
              </a:ln>
              <a:solidFill>
                <a:srgbClr val="31B42E"/>
              </a:solidFill>
              <a:effectLst/>
              <a:uLnTx/>
              <a:uFillTx/>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17346"/>
              </a:solidFill>
              <a:effectLst/>
              <a:uLnTx/>
              <a:uFillTx/>
              <a:latin typeface="+mn-lt"/>
              <a:ea typeface="+mn-ea"/>
              <a:cs typeface="+mn-cs"/>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mn-lt"/>
              <a:ea typeface="+mn-ea"/>
              <a:cs typeface="+mn-cs"/>
            </a:endParaRPr>
          </a:p>
        </p:txBody>
      </p:sp>
      <p:grpSp>
        <p:nvGrpSpPr>
          <p:cNvPr id="160" name="Group 159"/>
          <p:cNvGrpSpPr/>
          <p:nvPr/>
        </p:nvGrpSpPr>
        <p:grpSpPr>
          <a:xfrm>
            <a:off x="7117497" y="2834752"/>
            <a:ext cx="491800" cy="3552182"/>
            <a:chOff x="10461581" y="2911462"/>
            <a:chExt cx="491800" cy="3552182"/>
          </a:xfrm>
        </p:grpSpPr>
        <p:sp>
          <p:nvSpPr>
            <p:cNvPr id="161" name="Oval 160"/>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2" name="Group 161"/>
            <p:cNvGrpSpPr/>
            <p:nvPr/>
          </p:nvGrpSpPr>
          <p:grpSpPr>
            <a:xfrm rot="16200000">
              <a:off x="9057680" y="4406255"/>
              <a:ext cx="3313623" cy="324038"/>
              <a:chOff x="8231749" y="5960661"/>
              <a:chExt cx="3313623" cy="324038"/>
            </a:xfrm>
          </p:grpSpPr>
          <p:sp>
            <p:nvSpPr>
              <p:cNvPr id="185" name="TextBox 184"/>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rPr>
                  <a:t>0110001</a:t>
                </a:r>
              </a:p>
            </p:txBody>
          </p:sp>
          <p:sp>
            <p:nvSpPr>
              <p:cNvPr id="186" name="TextBox 185"/>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marL="0" marR="0" lvl="0" indent="0" algn="l"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flip="none" rotWithShape="1">
                      <a:gsLst>
                        <a:gs pos="0">
                          <a:srgbClr val="D2D2D2"/>
                        </a:gs>
                        <a:gs pos="74000">
                          <a:srgbClr val="000000">
                            <a:lumMod val="50000"/>
                            <a:lumOff val="50000"/>
                          </a:srgbClr>
                        </a:gs>
                        <a:gs pos="100000">
                          <a:srgbClr val="505050"/>
                        </a:gs>
                      </a:gsLst>
                      <a:lin ang="10800000" scaled="1"/>
                      <a:tileRect/>
                    </a:gradFill>
                    <a:effectLst/>
                    <a:uLnTx/>
                    <a:uFillTx/>
                  </a:rPr>
                  <a:t>00010110</a:t>
                </a:r>
              </a:p>
            </p:txBody>
          </p:sp>
        </p:grpSp>
        <p:grpSp>
          <p:nvGrpSpPr>
            <p:cNvPr id="163" name="Group 162"/>
            <p:cNvGrpSpPr/>
            <p:nvPr/>
          </p:nvGrpSpPr>
          <p:grpSpPr>
            <a:xfrm>
              <a:off x="10461581" y="5900047"/>
              <a:ext cx="491800" cy="563597"/>
              <a:chOff x="4076702" y="-2333624"/>
              <a:chExt cx="1446213" cy="1657349"/>
            </a:xfrm>
            <a:solidFill>
              <a:schemeClr val="tx2"/>
            </a:solidFill>
          </p:grpSpPr>
          <p:grpSp>
            <p:nvGrpSpPr>
              <p:cNvPr id="165" name="Group 4"/>
              <p:cNvGrpSpPr>
                <a:grpSpLocks noChangeAspect="1"/>
              </p:cNvGrpSpPr>
              <p:nvPr/>
            </p:nvGrpSpPr>
            <p:grpSpPr bwMode="auto">
              <a:xfrm>
                <a:off x="4076702" y="-2333624"/>
                <a:ext cx="1446213" cy="1657349"/>
                <a:chOff x="2568" y="-1470"/>
                <a:chExt cx="911" cy="1044"/>
              </a:xfrm>
              <a:grpFill/>
            </p:grpSpPr>
            <p:sp>
              <p:nvSpPr>
                <p:cNvPr id="176"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8"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9"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1" name="Group 170"/>
              <p:cNvGrpSpPr/>
              <p:nvPr/>
            </p:nvGrpSpPr>
            <p:grpSpPr>
              <a:xfrm rot="5400000">
                <a:off x="4266802" y="-1927225"/>
                <a:ext cx="1066800" cy="1066800"/>
                <a:chOff x="4236244" y="-1957783"/>
                <a:chExt cx="1066800" cy="1066800"/>
              </a:xfrm>
              <a:grpFill/>
            </p:grpSpPr>
            <p:sp>
              <p:nvSpPr>
                <p:cNvPr id="174" name="Oval 173"/>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5" name="Isosceles Triangle 174"/>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172" name="Block Arc 171"/>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3" name="Oval 172"/>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sp>
        <p:nvSpPr>
          <p:cNvPr id="189" name="Rectangle 188"/>
          <p:cNvSpPr/>
          <p:nvPr/>
        </p:nvSpPr>
        <p:spPr>
          <a:xfrm>
            <a:off x="751805" y="979539"/>
            <a:ext cx="1692204" cy="400110"/>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2000" b="0" i="0" u="none" strike="noStrike" kern="0" cap="none" spc="0" normalizeH="0" baseline="0" noProof="0" dirty="0">
                <a:ln>
                  <a:noFill/>
                </a:ln>
                <a:solidFill>
                  <a:srgbClr val="000000"/>
                </a:solidFill>
                <a:effectLst/>
                <a:uLnTx/>
                <a:uFillTx/>
              </a:rPr>
              <a:t>Data sources</a:t>
            </a:r>
          </a:p>
        </p:txBody>
      </p:sp>
      <p:cxnSp>
        <p:nvCxnSpPr>
          <p:cNvPr id="190" name="Straight Connector 189"/>
          <p:cNvCxnSpPr/>
          <p:nvPr/>
        </p:nvCxnSpPr>
        <p:spPr>
          <a:xfrm>
            <a:off x="999799" y="208448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9" name="Rectangle 145"/>
          <p:cNvSpPr/>
          <p:nvPr/>
        </p:nvSpPr>
        <p:spPr bwMode="auto">
          <a:xfrm>
            <a:off x="1014873" y="159246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SaaS solution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e.g. Marketo, Salesforce, GitHub, Google analytics</a:t>
            </a:r>
          </a:p>
        </p:txBody>
      </p:sp>
      <p:sp>
        <p:nvSpPr>
          <p:cNvPr id="200" name="Oval 147"/>
          <p:cNvSpPr/>
          <p:nvPr/>
        </p:nvSpPr>
        <p:spPr bwMode="auto">
          <a:xfrm>
            <a:off x="644325" y="165723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01" name="Group 332"/>
          <p:cNvGrpSpPr/>
          <p:nvPr/>
        </p:nvGrpSpPr>
        <p:grpSpPr>
          <a:xfrm>
            <a:off x="696368" y="1733167"/>
            <a:ext cx="261675" cy="213902"/>
            <a:chOff x="2123129" y="1797431"/>
            <a:chExt cx="2472585" cy="2021180"/>
          </a:xfrm>
        </p:grpSpPr>
        <p:sp>
          <p:nvSpPr>
            <p:cNvPr id="2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06" name="Straight Connector 205"/>
          <p:cNvCxnSpPr/>
          <p:nvPr/>
        </p:nvCxnSpPr>
        <p:spPr>
          <a:xfrm>
            <a:off x="999799" y="262659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7" name="Rectangle 152"/>
          <p:cNvSpPr/>
          <p:nvPr/>
        </p:nvSpPr>
        <p:spPr bwMode="auto">
          <a:xfrm>
            <a:off x="1009226" y="218592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On-premises data</a:t>
            </a:r>
          </a:p>
          <a:p>
            <a:pPr marL="0" marR="0" lvl="0" indent="0" defTabSz="9143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cs typeface="Segoe UI Light" panose="020B0502040204020203" pitchFamily="34" charset="0"/>
              </a:rPr>
              <a:t>e.g. Analysis Services</a:t>
            </a:r>
          </a:p>
        </p:txBody>
      </p:sp>
      <p:sp>
        <p:nvSpPr>
          <p:cNvPr id="208" name="Oval 154"/>
          <p:cNvSpPr/>
          <p:nvPr/>
        </p:nvSpPr>
        <p:spPr bwMode="auto">
          <a:xfrm>
            <a:off x="644325" y="218592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9" name="Freeform 30"/>
          <p:cNvSpPr>
            <a:spLocks noEditPoints="1"/>
          </p:cNvSpPr>
          <p:nvPr/>
        </p:nvSpPr>
        <p:spPr bwMode="auto">
          <a:xfrm>
            <a:off x="726710" y="2280157"/>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210" name="Straight Connector 209"/>
          <p:cNvCxnSpPr/>
          <p:nvPr/>
        </p:nvCxnSpPr>
        <p:spPr>
          <a:xfrm>
            <a:off x="999799" y="320238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1" name="Rectangle 1074"/>
          <p:cNvSpPr/>
          <p:nvPr/>
        </p:nvSpPr>
        <p:spPr bwMode="auto">
          <a:xfrm>
            <a:off x="1009225" y="2728231"/>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Organizational content packs</a:t>
            </a:r>
            <a:b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b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Corporate data sources or external data services</a:t>
            </a:r>
          </a:p>
        </p:txBody>
      </p:sp>
      <p:sp>
        <p:nvSpPr>
          <p:cNvPr id="212" name="Oval 1076"/>
          <p:cNvSpPr/>
          <p:nvPr/>
        </p:nvSpPr>
        <p:spPr bwMode="auto">
          <a:xfrm>
            <a:off x="644325" y="27282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13" name="Group 212"/>
          <p:cNvGrpSpPr/>
          <p:nvPr/>
        </p:nvGrpSpPr>
        <p:grpSpPr>
          <a:xfrm>
            <a:off x="719570" y="2816502"/>
            <a:ext cx="215270" cy="189218"/>
            <a:chOff x="681704" y="2920140"/>
            <a:chExt cx="321649" cy="282723"/>
          </a:xfrm>
          <a:solidFill>
            <a:schemeClr val="tx1"/>
          </a:solidFill>
        </p:grpSpPr>
        <p:sp>
          <p:nvSpPr>
            <p:cNvPr id="214"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18" name="Straight Connector 217"/>
          <p:cNvCxnSpPr/>
          <p:nvPr/>
        </p:nvCxnSpPr>
        <p:spPr>
          <a:xfrm>
            <a:off x="999799" y="369706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9" name="Rectangle 1081"/>
          <p:cNvSpPr/>
          <p:nvPr/>
        </p:nvSpPr>
        <p:spPr bwMode="auto">
          <a:xfrm>
            <a:off x="999799" y="3261615"/>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Segoe UI Light" panose="020B0502040204020203" pitchFamily="34" charset="0"/>
              </a:rPr>
              <a:t>Azure services</a:t>
            </a:r>
          </a:p>
          <a:p>
            <a:pPr marL="0" marR="0" lvl="0" indent="0" defTabSz="914367" eaLnBrk="1" fontAlgn="auto" latinLnBrk="0" hangingPunct="1">
              <a:lnSpc>
                <a:spcPct val="100000"/>
              </a:lnSpc>
              <a:spcBef>
                <a:spcPts val="0"/>
              </a:spcBef>
              <a:spcAft>
                <a:spcPts val="600"/>
              </a:spcAft>
              <a:buClrTx/>
              <a:buSzTx/>
              <a:buFontTx/>
              <a:buNone/>
              <a:tabLst/>
              <a:defRPr/>
            </a:pPr>
            <a:r>
              <a:rPr kumimoji="0" lang="en-US" sz="900" b="0" i="1" u="none" strike="noStrike" kern="0" cap="none" spc="0" normalizeH="0" baseline="0" noProof="0" dirty="0">
                <a:ln>
                  <a:noFill/>
                </a:ln>
                <a:solidFill>
                  <a:srgbClr val="000000"/>
                </a:solidFill>
                <a:effectLst/>
                <a:uLnTx/>
                <a:uFillTx/>
                <a:cs typeface="Segoe UI Light" panose="020B0502040204020203" pitchFamily="34" charset="0"/>
              </a:rPr>
              <a:t>Azure SQL, Stream Analytics…</a:t>
            </a:r>
          </a:p>
        </p:txBody>
      </p:sp>
      <p:sp>
        <p:nvSpPr>
          <p:cNvPr id="220" name="Oval 1083"/>
          <p:cNvSpPr/>
          <p:nvPr/>
        </p:nvSpPr>
        <p:spPr bwMode="auto">
          <a:xfrm>
            <a:off x="644325" y="3242565"/>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21" name="Group 379"/>
          <p:cNvGrpSpPr/>
          <p:nvPr/>
        </p:nvGrpSpPr>
        <p:grpSpPr>
          <a:xfrm>
            <a:off x="710525" y="3363268"/>
            <a:ext cx="233359" cy="162454"/>
            <a:chOff x="3543365" y="7242811"/>
            <a:chExt cx="1238250" cy="862013"/>
          </a:xfrm>
          <a:solidFill>
            <a:schemeClr val="tx1"/>
          </a:solidFill>
        </p:grpSpPr>
        <p:sp>
          <p:nvSpPr>
            <p:cNvPr id="222"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3"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4"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5"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6"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7"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8"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9"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0"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1"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2"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3"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4"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5"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6"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7"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38" name="Rectangle 160"/>
          <p:cNvSpPr/>
          <p:nvPr/>
        </p:nvSpPr>
        <p:spPr bwMode="auto">
          <a:xfrm>
            <a:off x="999799" y="3741950"/>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cs typeface="Segoe UI Light" panose="020B0502040204020203" pitchFamily="34" charset="0"/>
            </a:endParaRPr>
          </a:p>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cs typeface="Segoe UI Light" panose="020B0502040204020203" pitchFamily="34" charset="0"/>
              </a:rPr>
              <a:t>Excel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cs typeface="Segoe UI Light" panose="020B0502040204020203" pitchFamily="34" charset="0"/>
              </a:rPr>
              <a:t>Workbook data / data models</a:t>
            </a:r>
          </a:p>
          <a:p>
            <a:pPr marL="0" marR="0" lvl="0" indent="0" defTabSz="914367"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000000"/>
              </a:solidFill>
              <a:effectLst/>
              <a:uLnTx/>
              <a:uFillTx/>
              <a:cs typeface="Segoe UI Light" panose="020B0502040204020203" pitchFamily="34" charset="0"/>
            </a:endParaRPr>
          </a:p>
        </p:txBody>
      </p:sp>
      <p:sp>
        <p:nvSpPr>
          <p:cNvPr id="239" name="Oval 162"/>
          <p:cNvSpPr/>
          <p:nvPr/>
        </p:nvSpPr>
        <p:spPr bwMode="auto">
          <a:xfrm>
            <a:off x="644325" y="3741950"/>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240" name="Straight Connector 239"/>
          <p:cNvCxnSpPr/>
          <p:nvPr/>
        </p:nvCxnSpPr>
        <p:spPr>
          <a:xfrm>
            <a:off x="999799" y="415692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1" name="Oval 162"/>
          <p:cNvSpPr/>
          <p:nvPr/>
        </p:nvSpPr>
        <p:spPr bwMode="auto">
          <a:xfrm>
            <a:off x="644325" y="425050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2" name="Rectangle 160"/>
          <p:cNvSpPr/>
          <p:nvPr/>
        </p:nvSpPr>
        <p:spPr bwMode="auto">
          <a:xfrm>
            <a:off x="999799" y="425050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000000"/>
                </a:solidFill>
                <a:effectLst/>
                <a:uLnTx/>
                <a:uFillTx/>
                <a:cs typeface="Segoe UI Light" panose="020B0502040204020203" pitchFamily="34" charset="0"/>
              </a:rPr>
              <a:t>Power BI Desktop files</a:t>
            </a:r>
          </a:p>
          <a:p>
            <a:pPr marL="0" marR="0" lvl="0" indent="0" defTabSz="914367" eaLnBrk="1" fontAlgn="auto" latinLnBrk="0" hangingPunct="1">
              <a:lnSpc>
                <a:spcPct val="100000"/>
              </a:lnSpc>
              <a:spcBef>
                <a:spcPts val="0"/>
              </a:spcBef>
              <a:spcAft>
                <a:spcPts val="0"/>
              </a:spcAft>
              <a:buClrTx/>
              <a:buSzTx/>
              <a:buFontTx/>
              <a:buNone/>
              <a:tabLst/>
              <a:defRPr/>
            </a:pPr>
            <a:r>
              <a:rPr kumimoji="0" lang="en-IN" sz="900" b="0" i="1" u="none" strike="noStrike" kern="0" cap="none" spc="0" normalizeH="0" baseline="0" noProof="0" dirty="0">
                <a:ln>
                  <a:noFill/>
                </a:ln>
                <a:solidFill>
                  <a:srgbClr val="000000"/>
                </a:solidFill>
                <a:effectLst/>
                <a:uLnTx/>
                <a:uFillTx/>
                <a:cs typeface="Segoe UI Light" panose="020B0502040204020203" pitchFamily="34" charset="0"/>
              </a:rPr>
              <a:t>Data from files, databases, Azure, and other sources</a:t>
            </a:r>
          </a:p>
        </p:txBody>
      </p:sp>
      <p:sp>
        <p:nvSpPr>
          <p:cNvPr id="243" name="Isosceles Triangle 153"/>
          <p:cNvSpPr/>
          <p:nvPr/>
        </p:nvSpPr>
        <p:spPr bwMode="auto">
          <a:xfrm rot="5400000">
            <a:off x="1882570" y="2967251"/>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900" b="0" i="1" u="none" strike="noStrike" kern="0" cap="none" spc="0" normalizeH="0" baseline="0" noProof="0" dirty="0">
              <a:ln>
                <a:noFill/>
              </a:ln>
              <a:solidFill>
                <a:srgbClr val="FFFFFF"/>
              </a:solidFill>
              <a:effectLst/>
              <a:uLnTx/>
              <a:uFillTx/>
              <a:cs typeface="Segoe UI Light" panose="020B0502040204020203" pitchFamily="34" charset="0"/>
            </a:endParaRPr>
          </a:p>
        </p:txBody>
      </p:sp>
      <p:pic>
        <p:nvPicPr>
          <p:cNvPr id="244" name="Picture 24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10525" y="3811200"/>
            <a:ext cx="240145" cy="240145"/>
          </a:xfrm>
          <a:prstGeom prst="rect">
            <a:avLst/>
          </a:prstGeom>
          <a:solidFill>
            <a:srgbClr val="EDC30D"/>
          </a:solidFill>
        </p:spPr>
      </p:pic>
      <p:pic>
        <p:nvPicPr>
          <p:cNvPr id="245" name="Picture 244"/>
          <p:cNvPicPr>
            <a:picLocks noChangeAspect="1"/>
          </p:cNvPicPr>
          <p:nvPr/>
        </p:nvPicPr>
        <p:blipFill rotWithShape="1">
          <a:blip r:embed="rId7"/>
          <a:srcRect l="6503" t="21287" r="74698" b="20220"/>
          <a:stretch/>
        </p:blipFill>
        <p:spPr>
          <a:xfrm>
            <a:off x="724230" y="4316151"/>
            <a:ext cx="228600" cy="231962"/>
          </a:xfrm>
          <a:prstGeom prst="rect">
            <a:avLst/>
          </a:prstGeom>
        </p:spPr>
      </p:pic>
      <p:pic>
        <p:nvPicPr>
          <p:cNvPr id="246" name="Picture 245"/>
          <p:cNvPicPr>
            <a:picLocks noChangeAspect="1"/>
          </p:cNvPicPr>
          <p:nvPr/>
        </p:nvPicPr>
        <p:blipFill rotWithShape="1">
          <a:blip r:embed="rId7">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8">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
        <p:nvSpPr>
          <p:cNvPr id="143" name="Rectangle 142"/>
          <p:cNvSpPr/>
          <p:nvPr/>
        </p:nvSpPr>
        <p:spPr>
          <a:xfrm>
            <a:off x="4215208" y="960836"/>
            <a:ext cx="3869886" cy="400110"/>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588"/>
              </a:spcAft>
              <a:buClrTx/>
              <a:buSzTx/>
              <a:buFontTx/>
              <a:buNone/>
              <a:tabLst/>
              <a:defRPr/>
            </a:pPr>
            <a:r>
              <a:rPr kumimoji="0" lang="en-US" sz="2000" b="0" i="0" u="none" strike="noStrike" kern="0" cap="none" spc="0" normalizeH="0" baseline="0" noProof="0" dirty="0">
                <a:ln>
                  <a:noFill/>
                </a:ln>
                <a:solidFill>
                  <a:srgbClr val="505050"/>
                </a:solidFill>
                <a:effectLst/>
                <a:uLnTx/>
                <a:uFillTx/>
              </a:rPr>
              <a:t>Power BI service</a:t>
            </a: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Visualizations</a:t>
              </a:r>
              <a:endPar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61"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362895" rtl="0" eaLnBrk="1" fontAlgn="base" latinLnBrk="0" hangingPunct="1">
                <a:lnSpc>
                  <a:spcPct val="90000"/>
                </a:lnSpc>
                <a:spcBef>
                  <a:spcPct val="0"/>
                </a:spcBef>
                <a:spcAft>
                  <a:spcPct val="0"/>
                </a:spcAft>
                <a:buClrTx/>
                <a:buSzTx/>
                <a:buFontTx/>
                <a:buNone/>
                <a:tabLst/>
                <a:defRPr/>
              </a:pPr>
              <a:endParaRPr kumimoji="0" lang="en-US" sz="934"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Content packs</a:t>
              </a: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9926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800" b="1"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Reports</a:t>
              </a:r>
              <a:endParaRPr kumimoji="0" lang="en-US" sz="1200"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solidFill>
                <a:schemeClr val="bg1"/>
              </a:solidFill>
            </a:ln>
          </p:spPr>
          <p:txBody>
            <a:bodyPr wrap="none" lIns="0" tIns="0" rIns="0" bIns="0" rtlCol="0" anchor="ctr">
              <a:spAutoFit/>
            </a:bodyPr>
            <a:lstStyle/>
            <a:p>
              <a:pPr marL="0" marR="0" lvl="0" indent="0" defTabSz="932293"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rPr>
                <a:t>0100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2C812"/>
                  </a:solidFill>
                  <a:effectLst/>
                  <a:uLnTx/>
                  <a:uFillTx/>
                </a:rPr>
                <a:t>10101</a:t>
              </a:r>
            </a:p>
          </p:txBody>
        </p:sp>
      </p:grpSp>
      <p:grpSp>
        <p:nvGrpSpPr>
          <p:cNvPr id="137" name="Group 136"/>
          <p:cNvGrpSpPr/>
          <p:nvPr/>
        </p:nvGrpSpPr>
        <p:grpSpPr>
          <a:xfrm>
            <a:off x="6023805" y="2372600"/>
            <a:ext cx="5059237" cy="2459479"/>
            <a:chOff x="7018864" y="2257415"/>
            <a:chExt cx="5059237" cy="2459479"/>
          </a:xfrm>
        </p:grpSpPr>
        <p:grpSp>
          <p:nvGrpSpPr>
            <p:cNvPr id="138" name="Group 137"/>
            <p:cNvGrpSpPr/>
            <p:nvPr/>
          </p:nvGrpSpPr>
          <p:grpSpPr>
            <a:xfrm>
              <a:off x="7018864" y="2257415"/>
              <a:ext cx="5059237" cy="2459479"/>
              <a:chOff x="7018864" y="2257415"/>
              <a:chExt cx="5059237" cy="2459479"/>
            </a:xfrm>
          </p:grpSpPr>
          <p:grpSp>
            <p:nvGrpSpPr>
              <p:cNvPr id="140" name="Group 139"/>
              <p:cNvGrpSpPr>
                <a:grpSpLocks noChangeAspect="1"/>
              </p:cNvGrpSpPr>
              <p:nvPr/>
            </p:nvGrpSpPr>
            <p:grpSpPr>
              <a:xfrm>
                <a:off x="10432181" y="2257415"/>
                <a:ext cx="548640" cy="1042085"/>
                <a:chOff x="10286449" y="1529656"/>
                <a:chExt cx="917410" cy="1742525"/>
              </a:xfrm>
            </p:grpSpPr>
            <p:sp>
              <p:nvSpPr>
                <p:cNvPr id="253" name="Rounded Rectangle 252"/>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54" name="Picture 25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255" name="Picture 254"/>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256"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ea typeface="Segoe UI" pitchFamily="34" charset="0"/>
                    <a:cs typeface="Segoe UI" pitchFamily="34" charset="0"/>
                  </a:endParaRPr>
                </a:p>
              </p:txBody>
            </p:sp>
          </p:grpSp>
          <p:sp>
            <p:nvSpPr>
              <p:cNvPr id="14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mn-lt"/>
                  <a:ea typeface="+mn-ea"/>
                  <a:cs typeface="+mn-cs"/>
                </a:endParaRPr>
              </a:p>
            </p:txBody>
          </p:sp>
          <p:grpSp>
            <p:nvGrpSpPr>
              <p:cNvPr id="148" name="Group 147"/>
              <p:cNvGrpSpPr>
                <a:grpSpLocks noChangeAspect="1"/>
              </p:cNvGrpSpPr>
              <p:nvPr/>
            </p:nvGrpSpPr>
            <p:grpSpPr>
              <a:xfrm>
                <a:off x="10432181" y="3352369"/>
                <a:ext cx="1645920" cy="1132186"/>
                <a:chOff x="1117586" y="1978512"/>
                <a:chExt cx="2372574" cy="1629558"/>
              </a:xfrm>
            </p:grpSpPr>
            <p:pic>
              <p:nvPicPr>
                <p:cNvPr id="164" name="Picture 163"/>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66" name="Group 165"/>
                <p:cNvGrpSpPr/>
                <p:nvPr/>
              </p:nvGrpSpPr>
              <p:grpSpPr>
                <a:xfrm>
                  <a:off x="1307936" y="2212479"/>
                  <a:ext cx="1844519" cy="1136088"/>
                  <a:chOff x="1276066" y="3677905"/>
                  <a:chExt cx="2524835" cy="1555113"/>
                </a:xfrm>
              </p:grpSpPr>
              <p:pic>
                <p:nvPicPr>
                  <p:cNvPr id="251" name="Picture 25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252" name="Picture 25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67" name="Group 166"/>
                <p:cNvGrpSpPr/>
                <p:nvPr/>
              </p:nvGrpSpPr>
              <p:grpSpPr>
                <a:xfrm>
                  <a:off x="1117586" y="1978512"/>
                  <a:ext cx="2372574" cy="1629558"/>
                  <a:chOff x="1117586" y="1978512"/>
                  <a:chExt cx="2372574" cy="1629558"/>
                </a:xfrm>
              </p:grpSpPr>
              <p:sp>
                <p:nvSpPr>
                  <p:cNvPr id="248"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800" b="0" i="0" u="none" strike="noStrike" kern="0" cap="none" spc="-49" normalizeH="0" baseline="0" noProof="0" dirty="0" err="1">
                      <a:ln>
                        <a:noFill/>
                      </a:ln>
                      <a:solidFill>
                        <a:srgbClr val="68217A"/>
                      </a:solidFill>
                      <a:effectLst/>
                      <a:uLnTx/>
                      <a:uFillTx/>
                      <a:ea typeface="Segoe UI" pitchFamily="34" charset="0"/>
                      <a:cs typeface="Segoe UI" pitchFamily="34" charset="0"/>
                    </a:endParaRPr>
                  </a:p>
                </p:txBody>
              </p:sp>
              <p:sp>
                <p:nvSpPr>
                  <p:cNvPr id="249" name="Rectangle 248"/>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50" name="Picture 249"/>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39" name="Picture 138"/>
            <p:cNvPicPr>
              <a:picLocks noChangeAspect="1"/>
            </p:cNvPicPr>
            <p:nvPr/>
          </p:nvPicPr>
          <p:blipFill>
            <a:blip r:embed="rId15"/>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415755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Microsoft </a:t>
            </a:r>
            <a:r>
              <a:rPr lang="en-US" dirty="0">
                <a:solidFill>
                  <a:srgbClr val="282828"/>
                </a:solidFill>
                <a:latin typeface="Segoe UI Semibold" panose="020B0702040204020203" pitchFamily="34" charset="0"/>
                <a:ea typeface="Segoe UI Black" panose="020B0A02040204020203" pitchFamily="34" charset="0"/>
                <a:cs typeface="Segoe UI Semibold" panose="020B0702040204020203" pitchFamily="34" charset="0"/>
              </a:rPr>
              <a:t>PowerBI.com</a:t>
            </a:r>
            <a:endPar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Experience your data … anyway, anywhere, anytim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
        <p:nvSpPr>
          <p:cNvPr id="5" name="Freeform 8"/>
          <p:cNvSpPr>
            <a:spLocks noChangeAspect="1"/>
          </p:cNvSpPr>
          <p:nvPr/>
        </p:nvSpPr>
        <p:spPr bwMode="auto">
          <a:xfrm>
            <a:off x="10335152" y="206097"/>
            <a:ext cx="1655481" cy="1749703"/>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1614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bg>
      <p:bgPr>
        <a:solidFill>
          <a:srgbClr val="EDC30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04642" y="1372459"/>
            <a:ext cx="11132266" cy="2387600"/>
          </a:xfrm>
        </p:spPr>
        <p:txBody>
          <a:bodyPr/>
          <a:lstStyle/>
          <a:p>
            <a:pPr algn="l"/>
            <a:r>
              <a:rPr lang="en-US"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DEMO</a:t>
            </a:r>
            <a:endParaRPr lang="en-US" dirty="0">
              <a:solidFill>
                <a:srgbClr val="282828"/>
              </a:solidFill>
              <a:latin typeface="Segoe UI Light" panose="020B0502040204020203" pitchFamily="34" charset="0"/>
              <a:cs typeface="Segoe UI Light" panose="020B0502040204020203" pitchFamily="34" charset="0"/>
            </a:endParaRPr>
          </a:p>
        </p:txBody>
      </p:sp>
      <p:sp>
        <p:nvSpPr>
          <p:cNvPr id="8" name="Subtitle 2"/>
          <p:cNvSpPr>
            <a:spLocks noGrp="1"/>
          </p:cNvSpPr>
          <p:nvPr>
            <p:ph type="subTitle" idx="1"/>
          </p:nvPr>
        </p:nvSpPr>
        <p:spPr>
          <a:xfrm>
            <a:off x="404642" y="3852134"/>
            <a:ext cx="9144000" cy="1655762"/>
          </a:xfrm>
        </p:spPr>
        <p:txBody>
          <a:bodyPr>
            <a:normAutofit/>
          </a:bodyPr>
          <a:lstStyle/>
          <a:p>
            <a:pPr algn="l"/>
            <a:r>
              <a:rPr lang="en-US" sz="3200" dirty="0">
                <a:solidFill>
                  <a:srgbClr val="282828"/>
                </a:solidFill>
                <a:latin typeface="Segoe UI Light" panose="020B0502040204020203" pitchFamily="34" charset="0"/>
                <a:cs typeface="Segoe UI Light" panose="020B0502040204020203" pitchFamily="34" charset="0"/>
              </a:rPr>
              <a:t>PowerBI.com</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4" y="5977204"/>
            <a:ext cx="1852639" cy="830367"/>
          </a:xfrm>
          <a:prstGeom prst="rect">
            <a:avLst/>
          </a:prstGeom>
        </p:spPr>
      </p:pic>
    </p:spTree>
    <p:extLst>
      <p:ext uri="{BB962C8B-B14F-4D97-AF65-F5344CB8AC3E}">
        <p14:creationId xmlns:p14="http://schemas.microsoft.com/office/powerpoint/2010/main" val="2925111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3.xml><?xml version="1.0" encoding="utf-8"?>
<a:theme xmlns:a="http://schemas.openxmlformats.org/drawingml/2006/main" name="Power BI">
  <a:themeElements>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5.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
    <a:dk1>
      <a:sysClr val="windowText" lastClr="000000"/>
    </a:dk1>
    <a:lt1>
      <a:sysClr val="window" lastClr="FFFFFF"/>
    </a:lt1>
    <a:dk2>
      <a:srgbClr val="282828"/>
    </a:dk2>
    <a:lt2>
      <a:srgbClr val="F2F2F2"/>
    </a:lt2>
    <a:accent1>
      <a:srgbClr val="EDC30D"/>
    </a:accent1>
    <a:accent2>
      <a:srgbClr val="01B8AA"/>
    </a:accent2>
    <a:accent3>
      <a:srgbClr val="D9D9D9"/>
    </a:accent3>
    <a:accent4>
      <a:srgbClr val="FFC000"/>
    </a:accent4>
    <a:accent5>
      <a:srgbClr val="4472C4"/>
    </a:accent5>
    <a:accent6>
      <a:srgbClr val="70AD47"/>
    </a:accent6>
    <a:hlink>
      <a:srgbClr val="282828"/>
    </a:hlink>
    <a:folHlink>
      <a:srgbClr val="282828"/>
    </a:folHlink>
  </a:clrScheme>
</a:themeOverride>
</file>

<file path=docProps/app.xml><?xml version="1.0" encoding="utf-8"?>
<Properties xmlns="http://schemas.openxmlformats.org/officeDocument/2006/extended-properties" xmlns:vt="http://schemas.openxmlformats.org/officeDocument/2006/docPropsVTypes">
  <TotalTime>1655</TotalTime>
  <Words>1651</Words>
  <Application>Microsoft Office PowerPoint</Application>
  <PresentationFormat>Widescreen</PresentationFormat>
  <Paragraphs>291</Paragraphs>
  <Slides>24</Slides>
  <Notes>12</Notes>
  <HiddenSlides>5</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41" baseType="lpstr">
      <vt:lpstr>Arial</vt:lpstr>
      <vt:lpstr>Calibri</vt:lpstr>
      <vt:lpstr>Calibri Light</vt:lpstr>
      <vt:lpstr>Consolas</vt:lpstr>
      <vt:lpstr>Courier New</vt:lpstr>
      <vt:lpstr>Segoe UI</vt:lpstr>
      <vt:lpstr>Segoe UI Black</vt:lpstr>
      <vt:lpstr>Segoe UI Light</vt:lpstr>
      <vt:lpstr>Segoe UI Semibold</vt:lpstr>
      <vt:lpstr>Times New Roman</vt:lpstr>
      <vt:lpstr>Wingdings</vt:lpstr>
      <vt:lpstr>Office Theme</vt:lpstr>
      <vt:lpstr>STB Product Families 2013</vt:lpstr>
      <vt:lpstr>Power BI</vt:lpstr>
      <vt:lpstr>6-50001_WPC 2016 Breakout Template</vt:lpstr>
      <vt:lpstr>COLOR TEMPLATE</vt:lpstr>
      <vt:lpstr>think-cell Slide</vt:lpstr>
      <vt:lpstr>Microsoft Power BI</vt:lpstr>
      <vt:lpstr>PowerPoint Presentation</vt:lpstr>
      <vt:lpstr>PowerPoint Presentation</vt:lpstr>
      <vt:lpstr>PowerPoint Presentation</vt:lpstr>
      <vt:lpstr>PowerPoint Presentation</vt:lpstr>
      <vt:lpstr>PowerPoint Presentation</vt:lpstr>
      <vt:lpstr>PowerPoint Presentation</vt:lpstr>
      <vt:lpstr>Microsoft PowerBI.com</vt:lpstr>
      <vt:lpstr>DEMO</vt:lpstr>
      <vt:lpstr>Microsoft Power BI Desktop</vt:lpstr>
      <vt:lpstr>Prepare, Explore, Report and Collaborate  with Power BI Desktop</vt:lpstr>
      <vt:lpstr>Microsoft Power BI REST APIs</vt:lpstr>
      <vt:lpstr>PowerPoint Presentation</vt:lpstr>
      <vt:lpstr>PowerPoint Presentation</vt:lpstr>
      <vt:lpstr>Microsoft Power BI Embedded</vt:lpstr>
      <vt:lpstr>The evolution of embedded reporting From app info to app action—an end-user’s perspective</vt:lpstr>
      <vt:lpstr>PowerPoint Presentation</vt:lpstr>
      <vt:lpstr>DEMO</vt:lpstr>
      <vt:lpstr>Choose the right Power BI service</vt:lpstr>
      <vt:lpstr>PowerPoint Presentation</vt:lpstr>
      <vt:lpstr>PowerPoint Presentation</vt:lpstr>
      <vt:lpstr>PowerPoint Presentation</vt:lpstr>
      <vt:lpstr>What is Next?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sualisations: Microsoft Power BI</dc:title>
  <dc:creator>Amy Nicholson</dc:creator>
  <cp:lastModifiedBy>Amy Nicholson</cp:lastModifiedBy>
  <cp:revision>36</cp:revision>
  <dcterms:created xsi:type="dcterms:W3CDTF">2016-09-29T10:13:10Z</dcterms:created>
  <dcterms:modified xsi:type="dcterms:W3CDTF">2016-11-09T19:02:26Z</dcterms:modified>
</cp:coreProperties>
</file>